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
    <p:sldMasterId id="2147483693" r:id="rId2"/>
  </p:sldMasterIdLst>
  <p:notesMasterIdLst>
    <p:notesMasterId r:id="rId9"/>
  </p:notesMasterIdLst>
  <p:handoutMasterIdLst>
    <p:handoutMasterId r:id="rId10"/>
  </p:handoutMasterIdLst>
  <p:sldIdLst>
    <p:sldId id="900" r:id="rId3"/>
    <p:sldId id="913" r:id="rId4"/>
    <p:sldId id="917" r:id="rId5"/>
    <p:sldId id="911" r:id="rId6"/>
    <p:sldId id="902" r:id="rId7"/>
    <p:sldId id="912" r:id="rId8"/>
  </p:sldIdLst>
  <p:sldSz cx="9144000" cy="6858000" type="screen4x3"/>
  <p:notesSz cx="7099300" cy="10234613"/>
  <p:custDataLst>
    <p:tags r:id="rId11"/>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799">
          <p15:clr>
            <a:srgbClr val="A4A3A4"/>
          </p15:clr>
        </p15:guide>
        <p15:guide id="7" pos="340">
          <p15:clr>
            <a:srgbClr val="A4A3A4"/>
          </p15:clr>
        </p15:guide>
        <p15:guide id="8" pos="158">
          <p15:clr>
            <a:srgbClr val="A4A3A4"/>
          </p15:clr>
        </p15:guide>
        <p15:guide id="9" pos="2880">
          <p15:clr>
            <a:srgbClr val="A4A3A4"/>
          </p15:clr>
        </p15:guide>
        <p15:guide id="10" pos="2971">
          <p15:clr>
            <a:srgbClr val="A4A3A4"/>
          </p15:clr>
        </p15:guide>
        <p15:guide id="11" pos="5511">
          <p15:clr>
            <a:srgbClr val="A4A3A4"/>
          </p15:clr>
        </p15:guide>
        <p15:guide id="12" pos="4604">
          <p15:clr>
            <a:srgbClr val="A4A3A4"/>
          </p15:clr>
        </p15:guide>
        <p15:guide id="13" pos="3787">
          <p15:clr>
            <a:srgbClr val="A4A3A4"/>
          </p15:clr>
        </p15:guide>
        <p15:guide id="14" pos="3878">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6487"/>
    <a:srgbClr val="818066"/>
    <a:srgbClr val="D7D7CD"/>
    <a:srgbClr val="879BAA"/>
    <a:srgbClr val="ADBECB"/>
    <a:srgbClr val="233746"/>
    <a:srgbClr val="AFB9C3"/>
    <a:srgbClr val="646E78"/>
    <a:srgbClr val="505A64"/>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88" autoAdjust="0"/>
    <p:restoredTop sz="92114" autoAdjust="0"/>
  </p:normalViewPr>
  <p:slideViewPr>
    <p:cSldViewPr showGuides="1">
      <p:cViewPr varScale="1">
        <p:scale>
          <a:sx n="103" d="100"/>
          <a:sy n="103" d="100"/>
        </p:scale>
        <p:origin x="2088" y="114"/>
      </p:cViewPr>
      <p:guideLst>
        <p:guide orient="horz" pos="3884"/>
        <p:guide orient="horz" pos="618"/>
        <p:guide orient="horz" pos="2432"/>
        <p:guide orient="horz" pos="2341"/>
        <p:guide orient="horz" pos="890"/>
        <p:guide orient="horz" pos="799"/>
        <p:guide pos="340"/>
        <p:guide pos="158"/>
        <p:guide pos="2880"/>
        <p:guide pos="2971"/>
        <p:guide pos="5511"/>
        <p:guide pos="4604"/>
        <p:guide pos="3787"/>
        <p:guide pos="38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7" d="100"/>
        <a:sy n="137" d="100"/>
      </p:scale>
      <p:origin x="0" y="0"/>
    </p:cViewPr>
  </p:sorterViewPr>
  <p:notesViewPr>
    <p:cSldViewPr showGuides="1">
      <p:cViewPr varScale="1">
        <p:scale>
          <a:sx n="85" d="100"/>
          <a:sy n="85" d="100"/>
        </p:scale>
        <p:origin x="-852" y="-9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en-US"/>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38576" y="0"/>
            <a:ext cx="3260724"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38576" y="9682163"/>
            <a:ext cx="3260724"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smtClean="0">
                <a:latin typeface="Arial" pitchFamily="34" charset="0"/>
              </a:rPr>
              <a:t>Handout </a:t>
            </a:r>
            <a:fld id="{BFC713D8-7968-482B-A79F-9C586FE5053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14024480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992188" y="768350"/>
            <a:ext cx="511651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dirty="0" smtClean="0">
                <a:latin typeface="Arial" pitchFamily="34" charset="0"/>
              </a:rPr>
              <a:t>Notice </a:t>
            </a:r>
            <a:fld id="{AD141568-5488-4AC9-B82D-9F5CE1225E2A}" type="slidenum">
              <a:rPr lang="en-US" smtClean="0">
                <a:latin typeface="Arial" pitchFamily="34" charset="0"/>
              </a:rPr>
              <a:pPr/>
              <a:t>‹#›</a:t>
            </a:fld>
            <a:endParaRPr lang="en-US" dirty="0">
              <a:latin typeface="Arial" pitchFamily="34" charset="0"/>
            </a:endParaRPr>
          </a:p>
        </p:txBody>
      </p:sp>
    </p:spTree>
    <p:extLst>
      <p:ext uri="{BB962C8B-B14F-4D97-AF65-F5344CB8AC3E}">
        <p14:creationId xmlns:p14="http://schemas.microsoft.com/office/powerpoint/2010/main" val="24749292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_ftn1"/><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_ftnref1"/></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noFill/>
        </p:spPr>
      </p:sp>
      <p:sp>
        <p:nvSpPr>
          <p:cNvPr id="73731" name="Rectangle 3"/>
          <p:cNvSpPr>
            <a:spLocks noGrp="1" noChangeArrowheads="1"/>
          </p:cNvSpPr>
          <p:nvPr>
            <p:ph type="body" idx="1"/>
          </p:nvPr>
        </p:nvSpPr>
        <p:spPr/>
        <p:txBody>
          <a:bodyPr/>
          <a:lstStyle/>
          <a:p>
            <a:endParaRPr lang="en-US" dirty="0" smtClean="0"/>
          </a:p>
        </p:txBody>
      </p:sp>
    </p:spTree>
    <p:extLst>
      <p:ext uri="{BB962C8B-B14F-4D97-AF65-F5344CB8AC3E}">
        <p14:creationId xmlns:p14="http://schemas.microsoft.com/office/powerpoint/2010/main" val="1648295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2</a:t>
            </a:fld>
            <a:endParaRPr lang="en-US" dirty="0">
              <a:latin typeface="Arial" pitchFamily="34" charset="0"/>
            </a:endParaRPr>
          </a:p>
        </p:txBody>
      </p:sp>
    </p:spTree>
    <p:extLst>
      <p:ext uri="{BB962C8B-B14F-4D97-AF65-F5344CB8AC3E}">
        <p14:creationId xmlns:p14="http://schemas.microsoft.com/office/powerpoint/2010/main" val="4101813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https://commons.wikimedia.org/wiki/File:Tree_Sparrow_August_2007_Osaka_Japan.jpg</a:t>
            </a:r>
          </a:p>
          <a:p>
            <a:endParaRPr lang="de-DE" dirty="0" smtClean="0"/>
          </a:p>
          <a:p>
            <a:r>
              <a:rPr lang="en-GB" dirty="0" smtClean="0"/>
              <a:t>https://commons.wikimedia.org/wiki/File:Ostrich_and_chick.jpg</a:t>
            </a:r>
            <a:endParaRPr lang="en-GB" dirty="0"/>
          </a:p>
        </p:txBody>
      </p:sp>
      <p:sp>
        <p:nvSpPr>
          <p:cNvPr id="4" name="Foliennummernplatzhalt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3</a:t>
            </a:fld>
            <a:endParaRPr lang="en-US" dirty="0">
              <a:latin typeface="Arial" pitchFamily="34" charset="0"/>
            </a:endParaRPr>
          </a:p>
        </p:txBody>
      </p:sp>
    </p:spTree>
    <p:extLst>
      <p:ext uri="{BB962C8B-B14F-4D97-AF65-F5344CB8AC3E}">
        <p14:creationId xmlns:p14="http://schemas.microsoft.com/office/powerpoint/2010/main" val="438011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smtClean="0">
                <a:solidFill>
                  <a:schemeClr val="tx1"/>
                </a:solidFill>
                <a:effectLst/>
                <a:latin typeface="Arial" pitchFamily="34" charset="0"/>
                <a:ea typeface="ＭＳ Ｐゴシック" charset="-128"/>
                <a:cs typeface="+mn-cs"/>
              </a:rPr>
              <a:t>…</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The second key for us to remain competitive and profitable was to look at creative ways to broaden our offering to customers. In addition to building better products, we also had to get better at expanding into new markets. This means geographic markets like Northern Africa, the Middle East, and South America. But it also means broadening our existing markets; finding new ways to leverage our resources and add value. It wasn’t just our products that had to change, it was our thinking.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An article in the Harvard Business Review last year analyzed the concept of “ecosystem carryover.” That’s a fancy term for a fairly simply concept; it means using an existing market position to boost a position in a new market. For example, Apple using its iPod user base to launch the iPhone. The iPhone wasn’t that different from other phones - but there was an existing market of tens of millions of iPod users who all wanted to upgrade to the next generation device. It’s easy to forget that MP3 players and mobile phones were – until then – regarded as separate markets.</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Ecosystem carryover” is the ability to link separate markets – or what previously seemed like separate markets – into a single coherent opportunity. Some of you might be thinking, “But these are consumer electronics. Can this concept also apply to the energy business?” The answer is: Yes! Tesla, the electric car company, recently introduced the Powerwall, a battery-based power backup system for homes and businesses based on their electric car platform.</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At Harvard they would call this an “ecosystem strategy” rather than a “product-based strategy.” And at Siemens Wind Power, we’re working hard to do this. Instead of just selling a wind turbine and walking away, we’re offering customers a complete wind power value chain consisting of smart turbines, distribution grids, energy storage solutions, load management systems, integrated switching and measuring devices, and intelligent monitoring. And of course we work closely with other Siemens Divisions, like Energy Management and Power Generation and Building Technologies, to provide truly integrated end-to-end services all built on common technology platforms. Like IBM, we want to offer not just hardware but </a:t>
            </a:r>
            <a:r>
              <a:rPr lang="en-US" sz="1200" i="1" kern="1200" dirty="0" smtClean="0">
                <a:solidFill>
                  <a:schemeClr val="tx1"/>
                </a:solidFill>
                <a:effectLst/>
                <a:latin typeface="Arial" pitchFamily="34" charset="0"/>
                <a:ea typeface="ＭＳ Ｐゴシック" charset="-128"/>
                <a:cs typeface="+mn-cs"/>
              </a:rPr>
              <a:t>solutions</a:t>
            </a:r>
            <a:r>
              <a:rPr lang="en-US" sz="1200" kern="1200" dirty="0" smtClean="0">
                <a:solidFill>
                  <a:schemeClr val="tx1"/>
                </a:solidFill>
                <a:effectLst/>
                <a:latin typeface="Arial" pitchFamily="34" charset="0"/>
                <a:ea typeface="ＭＳ Ｐゴシック" charset="-128"/>
                <a:cs typeface="+mn-cs"/>
              </a:rPr>
              <a:t>.</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The telephone market is undergoing a remarkable transition. Customers no longer pay for airtime or ‘minutes,’ but only for bandwidth. In the energy industry, I believe a similar transformation is beginning to take place. With renewables – both wind and solar – the marginal cost of energy is extremely low. The only hard costs are capital costs. And soon this will be reflected in pricing and in business models.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Not surprisingly, digitalization is the key to many of these changes. Our goal, company-wide, is to become a truly digital company. We see tremendous business opportunities in vertical software, digital services, and digitally enhanced electrification and automation. And Siemens has a huge head start. Our strategy is to use our large installed base and deep industrial know-how to leverage these for profitable growth.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Wind turbines also generate a huge amount of data. Let me give you an example of how we’re using this digital data to offer better value and service. All of our customers want their turbines to run at peak capacity, producing power 24 hours a day, seven days a week. This reduces costs and produces the highest return on investment. To help achieve this, we created a Remote Diagnostics Center in Brande, Denmark, to collect this digital data from nearly 10,000 turbines in more than 30 countries. We gather information on more than 24 million parameters from our entire fleet. A generation ago this would have been inconceivable; today it’s not that difficult.</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But collecting the data isn’t the hard part – the hard part is figuring out what to do with it. Sometimes you can miss the forest for the trees. We’re not a data center or a library, we’re a business. We want to use this data to make our products and services more efficient and effective. That’s the only way we can remain profitable.</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So, to make sense of this huge volume of data, we developed algorithms to make it readable and to extract what’s most valuable. We’re now able to detect even the smallest deviations indicating potential problems long before they occur. Our technicians use processes like neural networks or digital twins which allow them to identify 98% of failures – things like gear tooth cracks or damage to main bearings – before any severe damage occurs. With 85% of expected outages, we can correct the problem and restart the turbine without a costly service team visit. And when we do have to send out a team, they receive remote support from the diagnostics center.</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Our wind turbines generate more than 72 terabytes of new data annually. And there could potentially be even more ways to use or monetize this data, for marine shipping or weather forecasting for example.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There’s an excellent example right here in Norway that demonstrates the value of this data. There is a very successful company based in Oslo that doesn’t build wind turbines or any components, but that uses this digital data to develop management systems for wind farms. Their business is built on the data alone, not on gears, cables or fiberglass.</a:t>
            </a:r>
            <a:r>
              <a:rPr lang="en-US" sz="1200" kern="1200" baseline="30000" dirty="0" smtClean="0">
                <a:solidFill>
                  <a:schemeClr val="tx1"/>
                </a:solidFill>
                <a:effectLst/>
                <a:latin typeface="Arial" pitchFamily="34" charset="0"/>
                <a:ea typeface="ＭＳ Ｐゴシック" charset="-128"/>
                <a:cs typeface="+mn-cs"/>
                <a:hlinkClick r:id="rId3" action="ppaction://hlinkfile"/>
              </a:rPr>
              <a:t>[1]</a:t>
            </a:r>
            <a:r>
              <a:rPr lang="en-US" sz="1200" kern="1200" dirty="0" smtClean="0">
                <a:solidFill>
                  <a:schemeClr val="tx1"/>
                </a:solidFill>
                <a:effectLst/>
                <a:latin typeface="Arial" pitchFamily="34" charset="0"/>
                <a:ea typeface="ＭＳ Ｐゴシック" charset="-128"/>
                <a:cs typeface="+mn-cs"/>
              </a:rPr>
              <a:t>  Spotify used digitalization to create a new model for the music industry. Uber did the same in the taxi business. Digital data is now creating similar opportunities in the wind power business – for those creative enough to recognize its potential.</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The next step is for our turbines to use this data themselves, to become truly “smart turbines” – turbines that automatically respond to changing situations and circumstances, maintaining peak efficiency without any human monitoring. That’s not a vision of the future, it’ something we’re already doing today. We are currently involved in a research project we call ALICE – this stands for “Autonomous Learning in Complex Environments”. It’s a project we’re working on together with a number of partners including the Technical University of Berlin. This research has already demonstrated that wind turbines can autonomously learn how to increase their power output by adjusting to weather conditions. And through a machine learning control loop, these self-optimizing wind turbines grow even smarter over time.</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 </a:t>
            </a:r>
            <a:endParaRPr lang="en-GB" sz="1200" kern="1200" dirty="0" smtClean="0">
              <a:solidFill>
                <a:schemeClr val="tx1"/>
              </a:solidFill>
              <a:effectLst/>
              <a:latin typeface="Arial" pitchFamily="34" charset="0"/>
              <a:ea typeface="ＭＳ Ｐゴシック" charset="-128"/>
              <a:cs typeface="+mn-cs"/>
            </a:endParaRPr>
          </a:p>
          <a:p>
            <a:r>
              <a:rPr lang="en-US" sz="1200" kern="1200" dirty="0" smtClean="0">
                <a:solidFill>
                  <a:schemeClr val="tx1"/>
                </a:solidFill>
                <a:effectLst/>
                <a:latin typeface="Arial" pitchFamily="34" charset="0"/>
                <a:ea typeface="ＭＳ Ｐゴシック" charset="-128"/>
                <a:cs typeface="+mn-cs"/>
              </a:rPr>
              <a:t>Another example how we’re using digitalization to be more efficient: we’re using our TC/NX platform to more effectively manage product data. We now have a system that allows our engineers to work on the same job from multiple locations simultaneously, allowing us to “go global” in product design. We’ve linked CAD models and documentation together to enhance efficiency and reduce duplication. We now have a system in place that integrates a wide range of functionalities and allows us to decrease the number of manual processes. And we’re now able to do Design Risk Assessment in a 3D environment before a product is actually manufactured, resulting not only in cost savings but in greater safety. It’s been demonstrated that these types of processes reduce the amount of required re-work by a factor of ten! That equals huge savings, of time, effort and money.</a:t>
            </a:r>
            <a:endParaRPr lang="en-GB" sz="1200" kern="1200" dirty="0" smtClean="0">
              <a:solidFill>
                <a:schemeClr val="tx1"/>
              </a:solidFill>
              <a:effectLst/>
              <a:latin typeface="Arial" pitchFamily="34" charset="0"/>
              <a:ea typeface="ＭＳ Ｐゴシック" charset="-128"/>
              <a:cs typeface="+mn-cs"/>
            </a:endParaRPr>
          </a:p>
          <a:p>
            <a:r>
              <a:rPr lang="en-US" sz="1200" kern="1200" baseline="30000" dirty="0" smtClean="0">
                <a:solidFill>
                  <a:schemeClr val="tx1"/>
                </a:solidFill>
                <a:effectLst/>
                <a:latin typeface="Arial" pitchFamily="34" charset="0"/>
                <a:ea typeface="ＭＳ Ｐゴシック" charset="-128"/>
                <a:cs typeface="+mn-cs"/>
                <a:hlinkClick r:id="rId4" action="ppaction://hlinkfile"/>
              </a:rPr>
              <a:t>[1]</a:t>
            </a:r>
            <a:r>
              <a:rPr lang="en-US" sz="1200" kern="1200" dirty="0" smtClean="0">
                <a:solidFill>
                  <a:schemeClr val="tx1"/>
                </a:solidFill>
                <a:effectLst/>
                <a:latin typeface="Arial" pitchFamily="34" charset="0"/>
                <a:ea typeface="ＭＳ Ｐゴシック" charset="-128"/>
                <a:cs typeface="+mn-cs"/>
              </a:rPr>
              <a:t> </a:t>
            </a:r>
            <a:r>
              <a:rPr lang="en-CA" sz="1200" kern="1200" dirty="0" err="1" smtClean="0">
                <a:solidFill>
                  <a:schemeClr val="tx1"/>
                </a:solidFill>
                <a:effectLst/>
                <a:latin typeface="Arial" pitchFamily="34" charset="0"/>
                <a:ea typeface="ＭＳ Ｐゴシック" charset="-128"/>
                <a:cs typeface="+mn-cs"/>
              </a:rPr>
              <a:t>Baze</a:t>
            </a:r>
            <a:r>
              <a:rPr lang="en-CA" sz="1200" kern="1200" dirty="0" smtClean="0">
                <a:solidFill>
                  <a:schemeClr val="tx1"/>
                </a:solidFill>
                <a:effectLst/>
                <a:latin typeface="Arial" pitchFamily="34" charset="0"/>
                <a:ea typeface="ＭＳ Ｐゴシック" charset="-128"/>
                <a:cs typeface="+mn-cs"/>
              </a:rPr>
              <a:t> Technology, Oslo</a:t>
            </a:r>
            <a:endParaRPr lang="en-GB" sz="1200" kern="1200" dirty="0" smtClean="0">
              <a:solidFill>
                <a:schemeClr val="tx1"/>
              </a:solidFill>
              <a:effectLst/>
              <a:latin typeface="Arial" pitchFamily="34" charset="0"/>
              <a:ea typeface="ＭＳ Ｐゴシック" charset="-128"/>
              <a:cs typeface="+mn-cs"/>
            </a:endParaRPr>
          </a:p>
          <a:p>
            <a:endParaRPr lang="en-GB" dirty="0"/>
          </a:p>
        </p:txBody>
      </p:sp>
      <p:sp>
        <p:nvSpPr>
          <p:cNvPr id="4" name="Foliennummernplatzhalter 3"/>
          <p:cNvSpPr>
            <a:spLocks noGrp="1"/>
          </p:cNvSpPr>
          <p:nvPr>
            <p:ph type="sldNum" sz="quarter" idx="10"/>
          </p:nvPr>
        </p:nvSpPr>
        <p:spPr/>
        <p:txBody>
          <a:bodyPr/>
          <a:lstStyle/>
          <a:p>
            <a:r>
              <a:rPr lang="en-US" smtClean="0">
                <a:latin typeface="Arial" pitchFamily="34" charset="0"/>
              </a:rPr>
              <a:t>Notice </a:t>
            </a:r>
            <a:fld id="{AD141568-5488-4AC9-B82D-9F5CE1225E2A}" type="slidenum">
              <a:rPr lang="en-US" smtClean="0">
                <a:latin typeface="Arial" pitchFamily="34" charset="0"/>
              </a:rPr>
              <a:pPr/>
              <a:t>5</a:t>
            </a:fld>
            <a:endParaRPr lang="en-US" dirty="0">
              <a:latin typeface="Arial" pitchFamily="34" charset="0"/>
            </a:endParaRPr>
          </a:p>
        </p:txBody>
      </p:sp>
    </p:spTree>
    <p:extLst>
      <p:ext uri="{BB962C8B-B14F-4D97-AF65-F5344CB8AC3E}">
        <p14:creationId xmlns:p14="http://schemas.microsoft.com/office/powerpoint/2010/main" val="10759522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Grp="1" noRot="1" noChangeAspect="1" noChangeArrowheads="1" noTextEdit="1"/>
          </p:cNvSpPr>
          <p:nvPr>
            <p:ph type="sldImg"/>
          </p:nvPr>
        </p:nvSpPr>
        <p:spPr>
          <a:noFill/>
        </p:spPr>
      </p:sp>
      <p:sp>
        <p:nvSpPr>
          <p:cNvPr id="190467" name="Rectangle 3"/>
          <p:cNvSpPr>
            <a:spLocks noGrp="1" noChangeArrowheads="1"/>
          </p:cNvSpPr>
          <p:nvPr>
            <p:ph type="body" idx="1"/>
          </p:nvPr>
        </p:nvSpPr>
        <p:spPr/>
        <p:txBody>
          <a:bodyPr/>
          <a:lstStyle/>
          <a:p>
            <a:endParaRPr lang="en-US" dirty="0" smtClean="0"/>
          </a:p>
        </p:txBody>
      </p:sp>
    </p:spTree>
    <p:extLst>
      <p:ext uri="{BB962C8B-B14F-4D97-AF65-F5344CB8AC3E}">
        <p14:creationId xmlns:p14="http://schemas.microsoft.com/office/powerpoint/2010/main" val="1803178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w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w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jpe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6146249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9" name="Picture 2" descr="C:\Users\NEEMA00C\Pictures\Background\Background.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0" y="1588"/>
            <a:ext cx="9144000" cy="5155628"/>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accent1"/>
                </a:solidFill>
              </a:rPr>
              <a:t>Confidential © Siemens AG 2015 All rights reserved.</a:t>
            </a:r>
          </a:p>
        </p:txBody>
      </p:sp>
      <p:sp>
        <p:nvSpPr>
          <p:cNvPr id="57350" name="Rectangle 115"/>
          <p:cNvSpPr>
            <a:spLocks noGrp="1" noChangeArrowheads="1"/>
          </p:cNvSpPr>
          <p:nvPr>
            <p:ph type="ctrTitle" hasCustomPrompt="1"/>
          </p:nvPr>
        </p:nvSpPr>
        <p:spPr bwMode="gray">
          <a:xfrm>
            <a:off x="250825" y="4151315"/>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375823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iemens.com/answers</a:t>
            </a:r>
            <a:endParaRPr lang="en-US" sz="1000" b="1" noProof="0" dirty="0">
              <a:solidFill>
                <a:schemeClr val="tx1"/>
              </a:solidFill>
            </a:endParaRPr>
          </a:p>
        </p:txBody>
      </p:sp>
      <p:pic>
        <p:nvPicPr>
          <p:cNvPr id="11" name="Grafik 10" descr="SIE_Logo_Layer_Petrol_RGB_A3_76mm.w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403225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4716463"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258762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271833" y="1412875"/>
            <a:ext cx="274003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6156325" y="1412875"/>
            <a:ext cx="2592388"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4032251" cy="2303464"/>
          </a:xfrm>
        </p:spPr>
        <p:txBody>
          <a:bodyPr/>
          <a:lstStyle>
            <a:lvl3pPr>
              <a:defRPr/>
            </a:lvl3pPr>
            <a:lvl4pPr>
              <a:defRPr/>
            </a:lvl4pPr>
            <a:lvl5pPr>
              <a:defRPr/>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4716463" y="1412875"/>
            <a:ext cx="403225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4716463"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4"/>
            <a:ext cx="3309936"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994149" y="1412875"/>
            <a:ext cx="3314702"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23458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0" name="Picture 2" descr="C:\Users\NEEMA00C\Pictures\Background\Background.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0" y="1588"/>
            <a:ext cx="9144000" cy="5155628"/>
          </a:xfrm>
          <a:prstGeom prst="rect">
            <a:avLst/>
          </a:prstGeom>
          <a:noFill/>
          <a:extLst>
            <a:ext uri="{909E8E84-426E-40DD-AFC4-6F175D3DCCD1}">
              <a14:hiddenFill xmlns:a14="http://schemas.microsoft.com/office/drawing/2010/main">
                <a:solidFill>
                  <a:srgbClr val="FFFFFF"/>
                </a:solidFill>
              </a14:hiddenFill>
            </a:ext>
          </a:extLst>
        </p:spPr>
      </p:pic>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
        <p:nvSpPr>
          <p:cNvPr id="12"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accent1"/>
                </a:solidFill>
              </a:rPr>
              <a:t>Confidential © Siemens AG 2015 All rights reserved.</a:t>
            </a:r>
          </a:p>
        </p:txBody>
      </p:sp>
      <p:sp>
        <p:nvSpPr>
          <p:cNvPr id="13"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iemens.com/answers</a:t>
            </a:r>
            <a:endParaRPr lang="en-US" sz="1000" b="1" noProof="0" dirty="0">
              <a:solidFill>
                <a:schemeClr val="tx1"/>
              </a:solidFill>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5"/>
            <a:ext cx="3309936"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3309934"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3994149" y="1412875"/>
            <a:ext cx="331470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3994149" y="3860800"/>
            <a:ext cx="331470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platzhalter 13"/>
          <p:cNvSpPr>
            <a:spLocks noGrp="1"/>
          </p:cNvSpPr>
          <p:nvPr>
            <p:ph type="body" sz="quarter" idx="16"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3137307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055" name="Picture 31" descr="C:\Users\NEEMA00C\Pictures\Background\Westwind.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b="21927"/>
          <a:stretch/>
        </p:blipFill>
        <p:spPr bwMode="auto">
          <a:xfrm>
            <a:off x="0" y="3259"/>
            <a:ext cx="9144000" cy="5153957"/>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879BAA"/>
                </a:solidFill>
              </a:rPr>
              <a:t>Unrestricted © Siemens AG 2016 All rights reserved.</a:t>
            </a:r>
          </a:p>
        </p:txBody>
      </p:sp>
      <p:sp>
        <p:nvSpPr>
          <p:cNvPr id="57350" name="Rectangle 115"/>
          <p:cNvSpPr>
            <a:spLocks noGrp="1" noChangeArrowheads="1"/>
          </p:cNvSpPr>
          <p:nvPr>
            <p:ph type="ctrTitle" hasCustomPrompt="1"/>
          </p:nvPr>
        </p:nvSpPr>
        <p:spPr bwMode="gray">
          <a:xfrm>
            <a:off x="250825" y="4151315"/>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375823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sp>
        <p:nvSpPr>
          <p:cNvPr id="2"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dirty="0" smtClean="0">
                <a:solidFill>
                  <a:srgbClr val="000000"/>
                </a:solidFill>
              </a:rPr>
              <a:t>siemens.com/answers</a:t>
            </a:r>
            <a:endParaRPr lang="en-US" sz="1000" b="1" dirty="0">
              <a:solidFill>
                <a:srgbClr val="000000"/>
              </a:solidFill>
            </a:endParaRPr>
          </a:p>
        </p:txBody>
      </p:sp>
      <p:pic>
        <p:nvPicPr>
          <p:cNvPr id="11" name="Grafik 10" descr="SIE_Logo_Layer_Petrol_RGB_A3_76mm.w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Tree>
    <p:extLst>
      <p:ext uri="{BB962C8B-B14F-4D97-AF65-F5344CB8AC3E}">
        <p14:creationId xmlns:p14="http://schemas.microsoft.com/office/powerpoint/2010/main" val="2398467377"/>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8662218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pic>
        <p:nvPicPr>
          <p:cNvPr id="10" name="Picture 2" descr="C:\Users\NEEMA00C\Pictures\Background\Background.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0" y="1588"/>
            <a:ext cx="9144000" cy="5155628"/>
          </a:xfrm>
          <a:prstGeom prst="rect">
            <a:avLst/>
          </a:prstGeom>
          <a:noFill/>
          <a:extLst>
            <a:ext uri="{909E8E84-426E-40DD-AFC4-6F175D3DCCD1}">
              <a14:hiddenFill xmlns:a14="http://schemas.microsoft.com/office/drawing/2010/main">
                <a:solidFill>
                  <a:srgbClr val="FFFFFF"/>
                </a:solidFill>
              </a14:hiddenFill>
            </a:ext>
          </a:extLst>
        </p:spPr>
      </p:pic>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
        <p:nvSpPr>
          <p:cNvPr id="12"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879BAA"/>
                </a:solidFill>
              </a:rPr>
              <a:t>Confidential © Siemens AG 2015 All rights reserved.</a:t>
            </a:r>
          </a:p>
        </p:txBody>
      </p:sp>
      <p:sp>
        <p:nvSpPr>
          <p:cNvPr id="13"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dirty="0" smtClean="0">
                <a:solidFill>
                  <a:srgbClr val="000000"/>
                </a:solidFill>
              </a:rPr>
              <a:t>siemens.com/answers</a:t>
            </a:r>
            <a:endParaRPr lang="en-US" sz="1000" b="1" dirty="0">
              <a:solidFill>
                <a:srgbClr val="000000"/>
              </a:solidFill>
            </a:endParaRPr>
          </a:p>
        </p:txBody>
      </p:sp>
    </p:spTree>
    <p:extLst>
      <p:ext uri="{BB962C8B-B14F-4D97-AF65-F5344CB8AC3E}">
        <p14:creationId xmlns:p14="http://schemas.microsoft.com/office/powerpoint/2010/main" val="289197765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9" name="Rectangle 15"/>
          <p:cNvSpPr>
            <a:spLocks noChangeArrowheads="1"/>
          </p:cNvSpPr>
          <p:nvPr userDrawn="1"/>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a:solidFill>
                <a:srgbClr val="ADBECB"/>
              </a:solidFill>
            </a:endParaRPr>
          </a:p>
        </p:txBody>
      </p:sp>
      <p:sp>
        <p:nvSpPr>
          <p:cNvPr id="57350" name="Rectangle 115"/>
          <p:cNvSpPr>
            <a:spLocks noGrp="1" noChangeArrowheads="1"/>
          </p:cNvSpPr>
          <p:nvPr>
            <p:ph type="ctrTitle" hasCustomPrompt="1"/>
          </p:nvPr>
        </p:nvSpPr>
        <p:spPr bwMode="ltGray">
          <a:xfrm>
            <a:off x="250825" y="2376000"/>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250825" y="3859200"/>
            <a:ext cx="8893175" cy="399144"/>
          </a:xfrm>
          <a:solidFill>
            <a:srgbClr val="233746">
              <a:alpha val="65000"/>
            </a:srgbClr>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
        <p:nvSpPr>
          <p:cNvPr id="12"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000000"/>
                </a:solidFill>
              </a:rPr>
              <a:t>Confidential © Siemens AG 2015 All rights reserved.</a:t>
            </a:r>
          </a:p>
        </p:txBody>
      </p:sp>
      <p:sp>
        <p:nvSpPr>
          <p:cNvPr id="13"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dirty="0" smtClean="0">
                <a:solidFill>
                  <a:srgbClr val="000000"/>
                </a:solidFill>
              </a:rPr>
              <a:t>siemens.com/answers</a:t>
            </a:r>
            <a:endParaRPr lang="en-US" sz="1000" b="1" dirty="0">
              <a:solidFill>
                <a:srgbClr val="000000"/>
              </a:solidFill>
            </a:endParaRPr>
          </a:p>
        </p:txBody>
      </p:sp>
    </p:spTree>
    <p:extLst>
      <p:ext uri="{BB962C8B-B14F-4D97-AF65-F5344CB8AC3E}">
        <p14:creationId xmlns:p14="http://schemas.microsoft.com/office/powerpoint/2010/main" val="3069289737"/>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57359" name="Rectangle 15"/>
          <p:cNvSpPr>
            <a:spLocks noChangeArrowheads="1"/>
          </p:cNvSpPr>
          <p:nvPr userDrawn="1"/>
        </p:nvSpPr>
        <p:spPr bwMode="gray">
          <a:xfrm>
            <a:off x="0" y="0"/>
            <a:ext cx="9144000" cy="4149725"/>
          </a:xfrm>
          <a:prstGeom prst="rect">
            <a:avLst/>
          </a:prstGeom>
          <a:solidFill>
            <a:srgbClr val="D7D7CD"/>
          </a:solidFill>
          <a:ln w="9525">
            <a:noFill/>
            <a:miter lim="800000"/>
            <a:headEnd/>
            <a:tailEnd/>
          </a:ln>
          <a:effectLst/>
        </p:spPr>
        <p:txBody>
          <a:bodyPr wrap="none" anchor="ctr"/>
          <a:lstStyle/>
          <a:p>
            <a:endParaRPr lang="en-US">
              <a:solidFill>
                <a:srgbClr val="ADBECB"/>
              </a:solidFill>
            </a:endParaRPr>
          </a:p>
        </p:txBody>
      </p:sp>
      <p:sp>
        <p:nvSpPr>
          <p:cNvPr id="14"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879BAA"/>
                </a:solidFill>
              </a:rPr>
              <a:t>Confidential © Siemens AG 2015 All rights reserved.</a:t>
            </a:r>
          </a:p>
        </p:txBody>
      </p:sp>
      <p:sp>
        <p:nvSpPr>
          <p:cNvPr id="57350" name="Rectangle 115"/>
          <p:cNvSpPr>
            <a:spLocks noGrp="1" noChangeArrowheads="1"/>
          </p:cNvSpPr>
          <p:nvPr>
            <p:ph type="ctrTitle" hasCustomPrompt="1"/>
          </p:nvPr>
        </p:nvSpPr>
        <p:spPr bwMode="gray">
          <a:xfrm>
            <a:off x="250825" y="4149726"/>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375664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8" name="Picture 7" descr="sie_logo_layer_petrol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308850" y="0"/>
            <a:ext cx="1439863" cy="804863"/>
          </a:xfrm>
          <a:prstGeom prst="rect">
            <a:avLst/>
          </a:prstGeom>
          <a:noFill/>
        </p:spPr>
      </p:pic>
      <p:sp>
        <p:nvSpPr>
          <p:cNvPr id="12" name="Textfeld 11"/>
          <p:cNvSpPr txBox="1"/>
          <p:nvPr userDrawn="1"/>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dirty="0" smtClean="0">
                <a:solidFill>
                  <a:srgbClr val="000000"/>
                </a:solidFill>
              </a:rPr>
              <a:t>June 27, 2015</a:t>
            </a:r>
          </a:p>
        </p:txBody>
      </p:sp>
      <p:sp>
        <p:nvSpPr>
          <p:cNvPr id="13" name="Textfeld 12"/>
          <p:cNvSpPr txBox="1"/>
          <p:nvPr userDrawn="1"/>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dirty="0" smtClean="0">
                <a:solidFill>
                  <a:srgbClr val="000000"/>
                </a:solidFill>
              </a:rPr>
              <a:t>Page </a:t>
            </a:r>
            <a:fld id="{91E7552C-A157-4A4F-8E99-698C0325FC94}" type="slidenum">
              <a:rPr lang="en-US" sz="1000" smtClean="0">
                <a:solidFill>
                  <a:srgbClr val="000000"/>
                </a:solidFill>
              </a:rPr>
              <a:pPr>
                <a:lnSpc>
                  <a:spcPct val="110000"/>
                </a:lnSpc>
                <a:spcBef>
                  <a:spcPts val="0"/>
                </a:spcBef>
              </a:pPr>
              <a:t>‹#›</a:t>
            </a:fld>
            <a:endParaRPr lang="en-US" sz="1000" dirty="0" smtClean="0">
              <a:solidFill>
                <a:srgbClr val="000000"/>
              </a:solidFill>
            </a:endParaRPr>
          </a:p>
        </p:txBody>
      </p:sp>
      <p:sp>
        <p:nvSpPr>
          <p:cNvPr id="15" name="Textfeld 14"/>
          <p:cNvSpPr txBox="1"/>
          <p:nvPr userDrawn="1"/>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dirty="0" smtClean="0">
                <a:solidFill>
                  <a:srgbClr val="000000"/>
                </a:solidFill>
              </a:rPr>
              <a:t>Author / Department</a:t>
            </a:r>
          </a:p>
        </p:txBody>
      </p:sp>
    </p:spTree>
    <p:extLst>
      <p:ext uri="{BB962C8B-B14F-4D97-AF65-F5344CB8AC3E}">
        <p14:creationId xmlns:p14="http://schemas.microsoft.com/office/powerpoint/2010/main" val="293020716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Chapter title (big bar up)" type="title" preserve="1">
  <p:cSld name="Chapter title (big bar up)">
    <p:spTree>
      <p:nvGrpSpPr>
        <p:cNvPr id="1" name=""/>
        <p:cNvGrpSpPr/>
        <p:nvPr/>
      </p:nvGrpSpPr>
      <p:grpSpPr>
        <a:xfrm>
          <a:off x="0" y="0"/>
          <a:ext cx="0" cy="0"/>
          <a:chOff x="0" y="0"/>
          <a:chExt cx="0" cy="0"/>
        </a:xfrm>
      </p:grpSpPr>
      <p:sp>
        <p:nvSpPr>
          <p:cNvPr id="8" name="Rectangle 15"/>
          <p:cNvSpPr>
            <a:spLocks noChangeArrowheads="1"/>
          </p:cNvSpPr>
          <p:nvPr userDrawn="1"/>
        </p:nvSpPr>
        <p:spPr bwMode="gray">
          <a:xfrm>
            <a:off x="0" y="0"/>
            <a:ext cx="9144000" cy="5162556"/>
          </a:xfrm>
          <a:prstGeom prst="rect">
            <a:avLst/>
          </a:prstGeom>
          <a:solidFill>
            <a:srgbClr val="D7D7CD"/>
          </a:solidFill>
          <a:ln w="9525">
            <a:noFill/>
            <a:miter lim="800000"/>
            <a:headEnd/>
            <a:tailEnd/>
          </a:ln>
          <a:effectLst/>
        </p:spPr>
        <p:txBody>
          <a:bodyPr wrap="none" anchor="ctr"/>
          <a:lstStyle/>
          <a:p>
            <a:endParaRPr lang="en-US">
              <a:solidFill>
                <a:srgbClr val="ADBECB"/>
              </a:solidFill>
            </a:endParaRPr>
          </a:p>
        </p:txBody>
      </p:sp>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2" name="Picture 7" descr="sie_logo_layer_petrol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308850" y="0"/>
            <a:ext cx="1439863" cy="804863"/>
          </a:xfrm>
          <a:prstGeom prst="rect">
            <a:avLst/>
          </a:prstGeom>
          <a:noFill/>
        </p:spPr>
      </p:pic>
      <p:sp>
        <p:nvSpPr>
          <p:cNvPr id="13" name="Textfeld 12"/>
          <p:cNvSpPr txBox="1"/>
          <p:nvPr userDrawn="1"/>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dirty="0" smtClean="0">
                <a:solidFill>
                  <a:srgbClr val="000000"/>
                </a:solidFill>
              </a:rPr>
              <a:t>June 27, 2015</a:t>
            </a:r>
          </a:p>
        </p:txBody>
      </p:sp>
      <p:sp>
        <p:nvSpPr>
          <p:cNvPr id="15" name="Textfeld 14"/>
          <p:cNvSpPr txBox="1"/>
          <p:nvPr userDrawn="1"/>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dirty="0" smtClean="0">
                <a:solidFill>
                  <a:srgbClr val="000000"/>
                </a:solidFill>
              </a:rPr>
              <a:t>Page </a:t>
            </a:r>
            <a:fld id="{91E7552C-A157-4A4F-8E99-698C0325FC94}" type="slidenum">
              <a:rPr lang="en-US" sz="1000" smtClean="0">
                <a:solidFill>
                  <a:srgbClr val="000000"/>
                </a:solidFill>
              </a:rPr>
              <a:pPr>
                <a:lnSpc>
                  <a:spcPct val="110000"/>
                </a:lnSpc>
                <a:spcBef>
                  <a:spcPts val="0"/>
                </a:spcBef>
              </a:pPr>
              <a:t>‹#›</a:t>
            </a:fld>
            <a:endParaRPr lang="en-US" sz="1000" dirty="0" smtClean="0">
              <a:solidFill>
                <a:srgbClr val="000000"/>
              </a:solidFill>
            </a:endParaRPr>
          </a:p>
        </p:txBody>
      </p:sp>
      <p:sp>
        <p:nvSpPr>
          <p:cNvPr id="16" name="Textfeld 15"/>
          <p:cNvSpPr txBox="1"/>
          <p:nvPr userDrawn="1"/>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dirty="0" smtClean="0">
                <a:solidFill>
                  <a:srgbClr val="000000"/>
                </a:solidFill>
              </a:rPr>
              <a:t>Author / Department</a:t>
            </a:r>
          </a:p>
        </p:txBody>
      </p:sp>
      <p:sp>
        <p:nvSpPr>
          <p:cNvPr id="10"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879BAA"/>
                </a:solidFill>
              </a:rPr>
              <a:t>Confidential © Siemens AG 2015 All rights reserved.</a:t>
            </a:r>
          </a:p>
        </p:txBody>
      </p:sp>
    </p:spTree>
    <p:extLst>
      <p:ext uri="{BB962C8B-B14F-4D97-AF65-F5344CB8AC3E}">
        <p14:creationId xmlns:p14="http://schemas.microsoft.com/office/powerpoint/2010/main" val="268881435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5" name="Textplatzhalter 12"/>
          <p:cNvSpPr>
            <a:spLocks noGrp="1"/>
          </p:cNvSpPr>
          <p:nvPr>
            <p:ph type="body" sz="quarter" idx="14" hasCustomPrompt="1"/>
          </p:nvPr>
        </p:nvSpPr>
        <p:spPr bwMode="auto">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pic>
        <p:nvPicPr>
          <p:cNvPr id="7" name="Picture 2" descr="http://www.siemens.com/press/pool/de/pressebilder/photonews/pn200826/300dpi/pn200826-02_300dpi.jpg"/>
          <p:cNvPicPr>
            <a:picLocks noChangeAspect="1" noChangeArrowheads="1"/>
          </p:cNvPicPr>
          <p:nvPr userDrawn="1">
            <p:custDataLst>
              <p:tags r:id="rId1"/>
            </p:custDataLst>
          </p:nvPr>
        </p:nvPicPr>
        <p:blipFill rotWithShape="1">
          <a:blip r:embed="rId3" cstate="print">
            <a:extLst>
              <a:ext uri="{28A0092B-C50C-407E-A947-70E740481C1C}">
                <a14:useLocalDpi xmlns:a14="http://schemas.microsoft.com/office/drawing/2010/main"/>
              </a:ext>
            </a:extLst>
          </a:blip>
          <a:srcRect/>
          <a:stretch/>
        </p:blipFill>
        <p:spPr bwMode="auto">
          <a:xfrm>
            <a:off x="539749" y="1409137"/>
            <a:ext cx="4032251" cy="47562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6826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auto">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539750"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9165091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extLst>
      <p:ext uri="{BB962C8B-B14F-4D97-AF65-F5344CB8AC3E}">
        <p14:creationId xmlns:p14="http://schemas.microsoft.com/office/powerpoint/2010/main" val="32250312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29922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9" name="Rectangle 15"/>
          <p:cNvSpPr>
            <a:spLocks noChangeArrowheads="1"/>
          </p:cNvSpPr>
          <p:nvPr userDrawn="1"/>
        </p:nvSpPr>
        <p:spPr bwMode="auto">
          <a:xfrm>
            <a:off x="0" y="0"/>
            <a:ext cx="9144000" cy="6858000"/>
          </a:xfrm>
          <a:prstGeom prst="rect">
            <a:avLst/>
          </a:prstGeom>
          <a:solidFill>
            <a:srgbClr val="D7D7CD"/>
          </a:solidFill>
          <a:ln w="9525">
            <a:noFill/>
            <a:miter lim="800000"/>
            <a:headEnd/>
            <a:tailEnd/>
          </a:ln>
          <a:effectLst/>
        </p:spPr>
        <p:txBody>
          <a:bodyPr wrap="none" anchor="ctr"/>
          <a:lstStyle/>
          <a:p>
            <a:endParaRPr lang="en-US" noProof="0"/>
          </a:p>
        </p:txBody>
      </p:sp>
      <p:sp>
        <p:nvSpPr>
          <p:cNvPr id="57350" name="Rectangle 115"/>
          <p:cNvSpPr>
            <a:spLocks noGrp="1" noChangeArrowheads="1"/>
          </p:cNvSpPr>
          <p:nvPr>
            <p:ph type="ctrTitle" hasCustomPrompt="1"/>
          </p:nvPr>
        </p:nvSpPr>
        <p:spPr bwMode="ltGray">
          <a:xfrm>
            <a:off x="250825" y="2376000"/>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title</a:t>
            </a:r>
          </a:p>
        </p:txBody>
      </p:sp>
      <p:sp>
        <p:nvSpPr>
          <p:cNvPr id="57351" name="Rectangle 116"/>
          <p:cNvSpPr>
            <a:spLocks noGrp="1" noChangeArrowheads="1"/>
          </p:cNvSpPr>
          <p:nvPr>
            <p:ph type="subTitle" idx="1" hasCustomPrompt="1"/>
          </p:nvPr>
        </p:nvSpPr>
        <p:spPr bwMode="ltGray">
          <a:xfrm>
            <a:off x="250825" y="3859200"/>
            <a:ext cx="8893175" cy="399144"/>
          </a:xfrm>
          <a:solidFill>
            <a:srgbClr val="233746">
              <a:alpha val="65000"/>
            </a:srgbClr>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1" name="Grafik 10" descr="SIE_Logo_Layer_Petrol_RGB_A3_76mm.w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50" y="-4"/>
            <a:ext cx="1728000" cy="967833"/>
          </a:xfrm>
          <a:prstGeom prst="rect">
            <a:avLst/>
          </a:prstGeom>
        </p:spPr>
      </p:pic>
      <p:sp>
        <p:nvSpPr>
          <p:cNvPr id="12"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tx1"/>
                </a:solidFill>
              </a:rPr>
              <a:t>Confidential © Siemens AG 2015 All rights reserved.</a:t>
            </a:r>
          </a:p>
        </p:txBody>
      </p:sp>
      <p:sp>
        <p:nvSpPr>
          <p:cNvPr id="13" name="Text Box 133"/>
          <p:cNvSpPr txBox="1">
            <a:spLocks noChangeArrowheads="1"/>
          </p:cNvSpPr>
          <p:nvPr userDrawn="1"/>
        </p:nvSpPr>
        <p:spPr bwMode="auto">
          <a:xfrm>
            <a:off x="6156326" y="6165851"/>
            <a:ext cx="2987674" cy="431800"/>
          </a:xfrm>
          <a:prstGeom prst="rect">
            <a:avLst/>
          </a:prstGeom>
          <a:noFill/>
          <a:ln w="9525">
            <a:noFill/>
            <a:miter lim="800000"/>
            <a:headEnd/>
            <a:tailEnd/>
          </a:ln>
          <a:effectLst/>
        </p:spPr>
        <p:txBody>
          <a:bodyPr lIns="0" tIns="144000" rIns="396000" bIns="0" anchor="ctr"/>
          <a:lstStyle/>
          <a:p>
            <a:pPr algn="r"/>
            <a:r>
              <a:rPr lang="en-US" sz="1000" b="1" noProof="0" dirty="0" smtClean="0">
                <a:solidFill>
                  <a:schemeClr val="tx1"/>
                </a:solidFill>
              </a:rPr>
              <a:t>siemens.com/answers</a:t>
            </a:r>
            <a:endParaRPr lang="en-US" sz="1000" b="1" noProof="0" dirty="0">
              <a:solidFill>
                <a:schemeClr val="tx1"/>
              </a:solidFill>
            </a:endParaRP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232796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403225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4716463"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5794346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5301272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258762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271833" y="1412875"/>
            <a:ext cx="274003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6156325" y="1412875"/>
            <a:ext cx="2592388"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672068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4032251" cy="2303464"/>
          </a:xfrm>
        </p:spPr>
        <p:txBody>
          <a:bodyPr/>
          <a:lstStyle>
            <a:lvl3pPr>
              <a:defRPr/>
            </a:lvl3pPr>
            <a:lvl4pPr>
              <a:defRPr/>
            </a:lvl4pPr>
            <a:lvl5pPr>
              <a:defRPr/>
            </a:lvl5p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4716463" y="1412875"/>
            <a:ext cx="4032250"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4716463" y="3860800"/>
            <a:ext cx="403225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085187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954604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4"/>
            <a:ext cx="6769101"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4" name="Textplatzhalter 13"/>
          <p:cNvSpPr>
            <a:spLocks noGrp="1"/>
          </p:cNvSpPr>
          <p:nvPr>
            <p:ph type="body" sz="quarter" idx="13"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29674881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4"/>
            <a:ext cx="3309936"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3994149" y="1412875"/>
            <a:ext cx="3314702"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114206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49" y="1412875"/>
            <a:ext cx="6769101"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6769100"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platzhalter 13"/>
          <p:cNvSpPr>
            <a:spLocks noGrp="1"/>
          </p:cNvSpPr>
          <p:nvPr>
            <p:ph type="body" sz="quarter" idx="14"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341676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3" name="Inhaltsplatzhalter 2"/>
          <p:cNvSpPr>
            <a:spLocks noGrp="1"/>
          </p:cNvSpPr>
          <p:nvPr>
            <p:ph idx="1" hasCustomPrompt="1"/>
          </p:nvPr>
        </p:nvSpPr>
        <p:spPr>
          <a:xfrm>
            <a:off x="539750" y="1412875"/>
            <a:ext cx="3309936" cy="2303464"/>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3" name="Inhaltsplatzhalter 12"/>
          <p:cNvSpPr>
            <a:spLocks noGrp="1"/>
          </p:cNvSpPr>
          <p:nvPr>
            <p:ph sz="quarter" idx="13" hasCustomPrompt="1"/>
          </p:nvPr>
        </p:nvSpPr>
        <p:spPr>
          <a:xfrm>
            <a:off x="539751" y="3860800"/>
            <a:ext cx="3309934"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Inhaltsplatzhalter 11"/>
          <p:cNvSpPr>
            <a:spLocks noGrp="1"/>
          </p:cNvSpPr>
          <p:nvPr>
            <p:ph sz="quarter" idx="14" hasCustomPrompt="1"/>
          </p:nvPr>
        </p:nvSpPr>
        <p:spPr>
          <a:xfrm>
            <a:off x="3994149" y="1412875"/>
            <a:ext cx="3314702" cy="2303463"/>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Inhaltsplatzhalter 14"/>
          <p:cNvSpPr>
            <a:spLocks noGrp="1"/>
          </p:cNvSpPr>
          <p:nvPr>
            <p:ph sz="quarter" idx="15" hasCustomPrompt="1"/>
          </p:nvPr>
        </p:nvSpPr>
        <p:spPr>
          <a:xfrm>
            <a:off x="3994149" y="3860800"/>
            <a:ext cx="3314702" cy="2305050"/>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platzhalter 13"/>
          <p:cNvSpPr>
            <a:spLocks noGrp="1"/>
          </p:cNvSpPr>
          <p:nvPr>
            <p:ph type="body" sz="quarter" idx="16" hasCustomPrompt="1"/>
          </p:nvPr>
        </p:nvSpPr>
        <p:spPr>
          <a:xfrm>
            <a:off x="7452713" y="1412875"/>
            <a:ext cx="1296000"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chemeClr val="accent1"/>
                </a:solidFill>
              </a:defRPr>
            </a:lvl1pPr>
            <a:lvl2pPr marL="144000" indent="-144000">
              <a:lnSpc>
                <a:spcPct val="100000"/>
              </a:lnSpc>
              <a:spcBef>
                <a:spcPts val="400"/>
              </a:spcBef>
              <a:spcAft>
                <a:spcPts val="400"/>
              </a:spcAft>
              <a:buClrTx/>
              <a:buSzPct val="70000"/>
              <a:buFont typeface="Arial" pitchFamily="34" charset="0"/>
              <a:buChar char="►"/>
              <a:defRPr sz="1200">
                <a:solidFill>
                  <a:schemeClr val="accent4"/>
                </a:solidFill>
              </a:defRPr>
            </a:lvl2pPr>
            <a:lvl3pPr marL="288000" indent="-144000">
              <a:lnSpc>
                <a:spcPct val="100000"/>
              </a:lnSpc>
              <a:spcBef>
                <a:spcPts val="300"/>
              </a:spcBef>
              <a:spcAft>
                <a:spcPts val="300"/>
              </a:spcAft>
              <a:buSzPct val="70000"/>
              <a:buFont typeface="Arial" pitchFamily="34" charset="0"/>
              <a:buChar char="►"/>
              <a:defRPr sz="1000">
                <a:solidFill>
                  <a:schemeClr val="accent1"/>
                </a:solidFill>
              </a:defRPr>
            </a:lvl3pPr>
            <a:lvl4pPr marL="288000" indent="-144000">
              <a:lnSpc>
                <a:spcPct val="100000"/>
              </a:lnSpc>
              <a:spcBef>
                <a:spcPts val="300"/>
              </a:spcBef>
              <a:spcAft>
                <a:spcPts val="300"/>
              </a:spcAft>
              <a:buClrTx/>
              <a:buSzPct val="70000"/>
              <a:buFont typeface="Arial" pitchFamily="34" charset="0"/>
              <a:buChar char="►"/>
              <a:defRPr sz="1000">
                <a:solidFill>
                  <a:schemeClr val="accent4"/>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smtClean="0"/>
              <a:t>Click the style sheet to edit the navigation</a:t>
            </a:r>
          </a:p>
          <a:p>
            <a:pPr lvl="1"/>
            <a:r>
              <a:rPr lang="en-US" noProof="0" dirty="0" smtClean="0"/>
              <a:t>active chapter</a:t>
            </a:r>
          </a:p>
          <a:p>
            <a:pPr lvl="2"/>
            <a:r>
              <a:rPr lang="en-US" noProof="0" dirty="0" smtClean="0"/>
              <a:t>subchapter</a:t>
            </a:r>
          </a:p>
          <a:p>
            <a:pPr lvl="3"/>
            <a:r>
              <a:rPr lang="en-US" noProof="0" dirty="0" smtClean="0"/>
              <a:t>active subchapter</a:t>
            </a:r>
          </a:p>
          <a:p>
            <a:pPr lvl="4"/>
            <a:r>
              <a:rPr lang="en-US" noProof="0" dirty="0" smtClean="0"/>
              <a:t>subchapter</a:t>
            </a:r>
          </a:p>
          <a:p>
            <a:pPr lvl="5"/>
            <a:r>
              <a:rPr lang="en-US" noProof="0" dirty="0" smtClean="0"/>
              <a:t>active subchapter</a:t>
            </a:r>
            <a:endParaRPr lang="en-US" noProof="0" dirty="0"/>
          </a:p>
        </p:txBody>
      </p:sp>
    </p:spTree>
    <p:extLst>
      <p:ext uri="{BB962C8B-B14F-4D97-AF65-F5344CB8AC3E}">
        <p14:creationId xmlns:p14="http://schemas.microsoft.com/office/powerpoint/2010/main" val="35510257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Chapter title (big bar down)" type="title" preserve="1">
  <p:cSld name="Chapter title (big bar down)">
    <p:spTree>
      <p:nvGrpSpPr>
        <p:cNvPr id="1" name=""/>
        <p:cNvGrpSpPr/>
        <p:nvPr/>
      </p:nvGrpSpPr>
      <p:grpSpPr>
        <a:xfrm>
          <a:off x="0" y="0"/>
          <a:ext cx="0" cy="0"/>
          <a:chOff x="0" y="0"/>
          <a:chExt cx="0" cy="0"/>
        </a:xfrm>
      </p:grpSpPr>
      <p:sp>
        <p:nvSpPr>
          <p:cNvPr id="57359" name="Rectangle 15"/>
          <p:cNvSpPr>
            <a:spLocks noChangeArrowheads="1"/>
          </p:cNvSpPr>
          <p:nvPr userDrawn="1"/>
        </p:nvSpPr>
        <p:spPr bwMode="gray">
          <a:xfrm>
            <a:off x="0" y="0"/>
            <a:ext cx="9144000" cy="4149725"/>
          </a:xfrm>
          <a:prstGeom prst="rect">
            <a:avLst/>
          </a:prstGeom>
          <a:solidFill>
            <a:srgbClr val="D7D7CD"/>
          </a:solidFill>
          <a:ln w="9525">
            <a:noFill/>
            <a:miter lim="800000"/>
            <a:headEnd/>
            <a:tailEnd/>
          </a:ln>
          <a:effectLst/>
        </p:spPr>
        <p:txBody>
          <a:bodyPr wrap="none" anchor="ctr"/>
          <a:lstStyle/>
          <a:p>
            <a:endParaRPr lang="en-US" noProof="0"/>
          </a:p>
        </p:txBody>
      </p:sp>
      <p:sp>
        <p:nvSpPr>
          <p:cNvPr id="14"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accent1"/>
                </a:solidFill>
              </a:rPr>
              <a:t>Confidential © Siemens AG 2015 All rights reserved.</a:t>
            </a:r>
          </a:p>
        </p:txBody>
      </p:sp>
      <p:sp>
        <p:nvSpPr>
          <p:cNvPr id="57350" name="Rectangle 115"/>
          <p:cNvSpPr>
            <a:spLocks noGrp="1" noChangeArrowheads="1"/>
          </p:cNvSpPr>
          <p:nvPr>
            <p:ph type="ctrTitle" hasCustomPrompt="1"/>
          </p:nvPr>
        </p:nvSpPr>
        <p:spPr bwMode="gray">
          <a:xfrm>
            <a:off x="250825" y="4149726"/>
            <a:ext cx="8893175" cy="1485567"/>
          </a:xfrm>
          <a:solidFill>
            <a:srgbClr val="879BAA"/>
          </a:solidFill>
        </p:spPr>
        <p:txBody>
          <a:bodyPr wrap="square" lIns="270000" tIns="144000" rIns="370800" bIns="108000" anchor="t">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3756643"/>
            <a:ext cx="8893175" cy="393082"/>
          </a:xfrm>
          <a:solidFill>
            <a:srgbClr val="233746">
              <a:alpha val="65000"/>
            </a:srgbClr>
          </a:solidFill>
        </p:spPr>
        <p:txBody>
          <a:bodyPr wrap="square" lIns="270000" tIns="18000" bIns="36000" anchor="b">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8" name="Picture 7" descr="sie_logo_layer_petrol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308850" y="0"/>
            <a:ext cx="1439863" cy="804863"/>
          </a:xfrm>
          <a:prstGeom prst="rect">
            <a:avLst/>
          </a:prstGeom>
          <a:noFill/>
        </p:spPr>
      </p:pic>
      <p:sp>
        <p:nvSpPr>
          <p:cNvPr id="12" name="Textfeld 11"/>
          <p:cNvSpPr txBox="1"/>
          <p:nvPr userDrawn="1"/>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June 27, 2015</a:t>
            </a:r>
          </a:p>
        </p:txBody>
      </p:sp>
      <p:sp>
        <p:nvSpPr>
          <p:cNvPr id="13" name="Textfeld 12"/>
          <p:cNvSpPr txBox="1"/>
          <p:nvPr userDrawn="1"/>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5" name="Textfeld 14"/>
          <p:cNvSpPr txBox="1"/>
          <p:nvPr userDrawn="1"/>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Author / Department</a:t>
            </a: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607239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GB"/>
          </a:p>
        </p:txBody>
      </p:sp>
    </p:spTree>
    <p:extLst>
      <p:ext uri="{BB962C8B-B14F-4D97-AF65-F5344CB8AC3E}">
        <p14:creationId xmlns:p14="http://schemas.microsoft.com/office/powerpoint/2010/main" val="41246455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Chapter title (big bar up)" type="title" preserve="1">
  <p:cSld name="Chapter title (big bar up)">
    <p:spTree>
      <p:nvGrpSpPr>
        <p:cNvPr id="1" name=""/>
        <p:cNvGrpSpPr/>
        <p:nvPr/>
      </p:nvGrpSpPr>
      <p:grpSpPr>
        <a:xfrm>
          <a:off x="0" y="0"/>
          <a:ext cx="0" cy="0"/>
          <a:chOff x="0" y="0"/>
          <a:chExt cx="0" cy="0"/>
        </a:xfrm>
      </p:grpSpPr>
      <p:sp>
        <p:nvSpPr>
          <p:cNvPr id="8" name="Rectangle 15"/>
          <p:cNvSpPr>
            <a:spLocks noChangeArrowheads="1"/>
          </p:cNvSpPr>
          <p:nvPr userDrawn="1"/>
        </p:nvSpPr>
        <p:spPr bwMode="gray">
          <a:xfrm>
            <a:off x="0" y="0"/>
            <a:ext cx="9144000" cy="5162556"/>
          </a:xfrm>
          <a:prstGeom prst="rect">
            <a:avLst/>
          </a:prstGeom>
          <a:solidFill>
            <a:srgbClr val="D7D7CD"/>
          </a:solidFill>
          <a:ln w="9525">
            <a:noFill/>
            <a:miter lim="800000"/>
            <a:headEnd/>
            <a:tailEnd/>
          </a:ln>
          <a:effectLst/>
        </p:spPr>
        <p:txBody>
          <a:bodyPr wrap="none" anchor="ctr"/>
          <a:lstStyle/>
          <a:p>
            <a:endParaRPr lang="en-US" noProof="0"/>
          </a:p>
        </p:txBody>
      </p:sp>
      <p:sp>
        <p:nvSpPr>
          <p:cNvPr id="57350" name="Rectangle 115"/>
          <p:cNvSpPr>
            <a:spLocks noGrp="1" noChangeArrowheads="1"/>
          </p:cNvSpPr>
          <p:nvPr>
            <p:ph type="ctrTitle" hasCustomPrompt="1"/>
          </p:nvPr>
        </p:nvSpPr>
        <p:spPr bwMode="gray">
          <a:xfrm>
            <a:off x="250825" y="3676989"/>
            <a:ext cx="8893175" cy="1485567"/>
          </a:xfrm>
          <a:solidFill>
            <a:srgbClr val="233746">
              <a:alpha val="65000"/>
            </a:srgbClr>
          </a:solidFill>
        </p:spPr>
        <p:txBody>
          <a:bodyPr wrap="square" lIns="270000" tIns="144000" rIns="370800" bIns="108000" anchor="b" anchorCtr="0">
            <a:spAutoFit/>
          </a:bodyPr>
          <a:lstStyle>
            <a:lvl1pPr>
              <a:defRPr sz="4000" smtClean="0">
                <a:solidFill>
                  <a:schemeClr val="bg1"/>
                </a:solidFill>
                <a:latin typeface="Arial" pitchFamily="34" charset="0"/>
              </a:defRPr>
            </a:lvl1pPr>
          </a:lstStyle>
          <a:p>
            <a:r>
              <a:rPr lang="en-US" noProof="0" dirty="0" smtClean="0"/>
              <a:t>Click the style sheet to edit the chapter title</a:t>
            </a:r>
          </a:p>
        </p:txBody>
      </p:sp>
      <p:sp>
        <p:nvSpPr>
          <p:cNvPr id="57351" name="Rectangle 116"/>
          <p:cNvSpPr>
            <a:spLocks noGrp="1" noChangeArrowheads="1"/>
          </p:cNvSpPr>
          <p:nvPr>
            <p:ph type="subTitle" idx="1" hasCustomPrompt="1"/>
          </p:nvPr>
        </p:nvSpPr>
        <p:spPr bwMode="gray">
          <a:xfrm>
            <a:off x="250825" y="5162557"/>
            <a:ext cx="8893175" cy="393082"/>
          </a:xfrm>
          <a:solidFill>
            <a:srgbClr val="879BAA"/>
          </a:solidFill>
        </p:spPr>
        <p:txBody>
          <a:bodyPr wrap="square" lIns="270000" tIns="18000" bIns="36000" anchor="t" anchorCtr="0">
            <a:noAutofit/>
          </a:bodyPr>
          <a:lstStyle>
            <a:lvl1pPr>
              <a:defRPr sz="2000" smtClean="0">
                <a:solidFill>
                  <a:schemeClr val="bg1"/>
                </a:solidFill>
                <a:latin typeface="Arial" pitchFamily="34" charset="0"/>
              </a:defRPr>
            </a:lvl1pPr>
          </a:lstStyle>
          <a:p>
            <a:r>
              <a:rPr lang="en-US" noProof="0" dirty="0" smtClean="0"/>
              <a:t>Click the style sheet to edit the subhead</a:t>
            </a:r>
          </a:p>
        </p:txBody>
      </p:sp>
      <p:pic>
        <p:nvPicPr>
          <p:cNvPr id="12" name="Picture 7" descr="sie_logo_layer_petrol_rgb"/>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308850" y="0"/>
            <a:ext cx="1439863" cy="804863"/>
          </a:xfrm>
          <a:prstGeom prst="rect">
            <a:avLst/>
          </a:prstGeom>
          <a:noFill/>
        </p:spPr>
      </p:pic>
      <p:sp>
        <p:nvSpPr>
          <p:cNvPr id="13" name="Textfeld 12"/>
          <p:cNvSpPr txBox="1"/>
          <p:nvPr userDrawn="1"/>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r>
              <a:rPr lang="en-US" sz="1000" noProof="0" dirty="0" smtClean="0">
                <a:solidFill>
                  <a:schemeClr val="tx1"/>
                </a:solidFill>
              </a:rPr>
              <a:t>June 27, 2015</a:t>
            </a:r>
          </a:p>
        </p:txBody>
      </p:sp>
      <p:sp>
        <p:nvSpPr>
          <p:cNvPr id="15" name="Textfeld 14"/>
          <p:cNvSpPr txBox="1"/>
          <p:nvPr userDrawn="1"/>
        </p:nvSpPr>
        <p:spPr>
          <a:xfrm>
            <a:off x="0" y="6598800"/>
            <a:ext cx="1249351" cy="250814"/>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6" name="Textfeld 15"/>
          <p:cNvSpPr txBox="1"/>
          <p:nvPr userDrawn="1"/>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Author / Department</a:t>
            </a:r>
          </a:p>
        </p:txBody>
      </p:sp>
      <p:sp>
        <p:nvSpPr>
          <p:cNvPr id="10" name="Text Box 133"/>
          <p:cNvSpPr txBox="1">
            <a:spLocks noChangeArrowheads="1"/>
          </p:cNvSpPr>
          <p:nvPr userDrawn="1"/>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smtClean="0">
                <a:solidFill>
                  <a:schemeClr val="accent1"/>
                </a:solidFill>
              </a:rPr>
              <a:t>Confidential © Siemens AG 2015 All rights reserved.</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56823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5" name="Textplatzhalter 12"/>
          <p:cNvSpPr>
            <a:spLocks noGrp="1"/>
          </p:cNvSpPr>
          <p:nvPr>
            <p:ph type="body" sz="quarter" idx="14" hasCustomPrompt="1"/>
          </p:nvPr>
        </p:nvSpPr>
        <p:spPr bwMode="auto">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pic>
        <p:nvPicPr>
          <p:cNvPr id="6" name="Picture 5" descr="C:\Users\i-pointing.I-POINTING.000\Desktop\24873_dpi150.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6930" t="2696" r="31097" b="5351"/>
          <a:stretch/>
        </p:blipFill>
        <p:spPr bwMode="gray">
          <a:xfrm>
            <a:off x="539749" y="1407680"/>
            <a:ext cx="4032251" cy="475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1_Image + Index/Contac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94252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074" name="Picture 2" descr="C:\Users\NEEMA00C\Pictures\Background\BlackLaw Windfarm.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7811" r="30935"/>
          <a:stretch/>
        </p:blipFill>
        <p:spPr bwMode="auto">
          <a:xfrm>
            <a:off x="539749" y="1412876"/>
            <a:ext cx="4032251" cy="475246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5" name="Textplatzhalter 12"/>
          <p:cNvSpPr>
            <a:spLocks noGrp="1"/>
          </p:cNvSpPr>
          <p:nvPr>
            <p:ph type="body" sz="quarter" idx="14" hasCustomPrompt="1"/>
          </p:nvPr>
        </p:nvSpPr>
        <p:spPr bwMode="auto">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Tree>
    <p:extLst>
      <p:ext uri="{BB962C8B-B14F-4D97-AF65-F5344CB8AC3E}">
        <p14:creationId xmlns:p14="http://schemas.microsoft.com/office/powerpoint/2010/main" val="4050713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11" name="Textplatzhalter 12"/>
          <p:cNvSpPr>
            <a:spLocks noGrp="1"/>
          </p:cNvSpPr>
          <p:nvPr>
            <p:ph type="body" sz="quarter" idx="14" hasCustomPrompt="1"/>
          </p:nvPr>
        </p:nvSpPr>
        <p:spPr bwMode="auto">
          <a:xfrm>
            <a:off x="4716463" y="1412875"/>
            <a:ext cx="4427537" cy="4752975"/>
          </a:xfrm>
          <a:solidFill>
            <a:srgbClr val="D7D7CD"/>
          </a:solidFill>
        </p:spPr>
        <p:txBody>
          <a:bodyPr lIns="252000" tIns="144000" rIns="396000" bIns="144000"/>
          <a:lstStyle>
            <a:lvl1pPr marL="0" indent="0">
              <a:lnSpc>
                <a:spcPct val="100000"/>
              </a:lnSpc>
              <a:spcBef>
                <a:spcPts val="500"/>
              </a:spcBef>
              <a:spcAft>
                <a:spcPts val="500"/>
              </a:spcAft>
              <a:buClr>
                <a:schemeClr val="bg2"/>
              </a:buClr>
              <a:buFont typeface="Arial" pitchFamily="34" charset="0"/>
              <a:buNone/>
              <a:tabLst>
                <a:tab pos="3787775" algn="r"/>
              </a:tabLst>
              <a:defRPr/>
            </a:lvl1pPr>
            <a:lvl2pPr marL="179388" indent="-177800">
              <a:lnSpc>
                <a:spcPct val="100000"/>
              </a:lnSpc>
              <a:spcBef>
                <a:spcPts val="500"/>
              </a:spcBef>
              <a:spcAft>
                <a:spcPts val="500"/>
              </a:spcAft>
              <a:buFont typeface="Arial" pitchFamily="34" charset="0"/>
              <a:buChar char="•"/>
              <a:tabLst>
                <a:tab pos="3787775" algn="r"/>
              </a:tabLst>
              <a:defRPr b="0"/>
            </a:lvl2pPr>
            <a:lvl3pPr marL="177800" indent="-177800">
              <a:lnSpc>
                <a:spcPct val="100000"/>
              </a:lnSpc>
              <a:spcBef>
                <a:spcPts val="500"/>
              </a:spcBef>
              <a:spcAft>
                <a:spcPts val="500"/>
              </a:spcAft>
              <a:tabLst>
                <a:tab pos="3787775" algn="r"/>
              </a:tabLst>
              <a:defRPr b="1"/>
            </a:lvl3pPr>
            <a:lvl4pPr marL="360363" indent="-179388">
              <a:lnSpc>
                <a:spcPct val="100000"/>
              </a:lnSpc>
              <a:spcBef>
                <a:spcPts val="500"/>
              </a:spcBef>
              <a:spcAft>
                <a:spcPts val="500"/>
              </a:spcAft>
              <a:tabLst>
                <a:tab pos="3787775" algn="r"/>
              </a:tabLst>
              <a:defRPr b="0"/>
            </a:lvl4pPr>
            <a:lvl5pPr marL="357188" indent="-177800">
              <a:lnSpc>
                <a:spcPct val="100000"/>
              </a:lnSpc>
              <a:spcBef>
                <a:spcPts val="500"/>
              </a:spcBef>
              <a:spcAft>
                <a:spcPts val="500"/>
              </a:spcAft>
              <a:tabLst>
                <a:tab pos="3787775" algn="r"/>
              </a:tabLst>
              <a:defRPr b="1" baseline="0"/>
            </a:lvl5pPr>
            <a:lvl6pPr marL="360363" indent="-180975">
              <a:lnSpc>
                <a:spcPct val="100000"/>
              </a:lnSpc>
              <a:spcBef>
                <a:spcPts val="500"/>
              </a:spcBef>
              <a:spcAft>
                <a:spcPts val="500"/>
              </a:spcAft>
              <a:buFont typeface="Arial" pitchFamily="34" charset="0"/>
              <a:buChar char="•"/>
              <a:tabLst>
                <a:tab pos="3787775" algn="r"/>
              </a:tabLst>
              <a:defRPr b="1"/>
            </a:lvl6pPr>
          </a:lstStyle>
          <a:p>
            <a:pPr lvl="0"/>
            <a:r>
              <a:rPr lang="en-US" noProof="0" dirty="0" smtClean="0"/>
              <a:t>Click the style sheet to edit the </a:t>
            </a:r>
            <a:r>
              <a:rPr lang="en-US" noProof="0" dirty="0" err="1" smtClean="0"/>
              <a:t>toc</a:t>
            </a:r>
            <a:r>
              <a:rPr lang="en-US" noProof="0" dirty="0" smtClean="0"/>
              <a:t>/contact</a:t>
            </a:r>
          </a:p>
          <a:p>
            <a:pPr lvl="1"/>
            <a:r>
              <a:rPr lang="en-US" noProof="0" dirty="0" smtClean="0"/>
              <a:t>chapter</a:t>
            </a:r>
          </a:p>
          <a:p>
            <a:pPr lvl="2"/>
            <a:r>
              <a:rPr lang="en-US" noProof="0" dirty="0" smtClean="0"/>
              <a:t>active chapter</a:t>
            </a:r>
          </a:p>
          <a:p>
            <a:pPr lvl="3"/>
            <a:r>
              <a:rPr lang="en-US" noProof="0" dirty="0" smtClean="0"/>
              <a:t>subchapter</a:t>
            </a:r>
          </a:p>
          <a:p>
            <a:pPr lvl="4"/>
            <a:r>
              <a:rPr lang="en-US" noProof="0" dirty="0" smtClean="0"/>
              <a:t>active subchapter</a:t>
            </a:r>
            <a:endParaRPr lang="en-US" noProof="0" dirty="0"/>
          </a:p>
        </p:txBody>
      </p:sp>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
        <p:nvSpPr>
          <p:cNvPr id="13" name="Textplatzhalter 12"/>
          <p:cNvSpPr>
            <a:spLocks noGrp="1"/>
          </p:cNvSpPr>
          <p:nvPr>
            <p:ph type="body" sz="quarter" idx="13" hasCustomPrompt="1"/>
          </p:nvPr>
        </p:nvSpPr>
        <p:spPr>
          <a:xfrm>
            <a:off x="539750" y="1412875"/>
            <a:ext cx="4032250" cy="4752975"/>
          </a:xfrm>
        </p:spPr>
        <p:txBody>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he style sheet to edit the title</a:t>
            </a:r>
            <a:endParaRPr lang="en-US"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w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2.wmf"/><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3"/>
            </p:custDataLst>
            <p:extLst>
              <p:ext uri="{D42A27DB-BD31-4B8C-83A1-F6EECF244321}">
                <p14:modId xmlns:p14="http://schemas.microsoft.com/office/powerpoint/2010/main" val="24817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6" name="think-cell Folie" r:id="rId24" imgW="270" imgH="270" progId="TCLayout.ActiveDocument.1">
                  <p:embed/>
                </p:oleObj>
              </mc:Choice>
              <mc:Fallback>
                <p:oleObj name="think-cell Foli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3" name="Textfeld 12"/>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fld id="{27631F3A-DF55-4E4C-98A6-5A587DE4860F}" type="datetime3">
              <a:rPr lang="en-GB" sz="1000" noProof="0" smtClean="0">
                <a:solidFill>
                  <a:schemeClr val="tx1"/>
                </a:solidFill>
              </a:rPr>
              <a:t>19 May, 2016</a:t>
            </a:fld>
            <a:endParaRPr lang="en-US" sz="1000" noProof="0" dirty="0" smtClean="0">
              <a:solidFill>
                <a:schemeClr val="tx1"/>
              </a:solidFill>
            </a:endParaRPr>
          </a:p>
        </p:txBody>
      </p:sp>
      <p:sp>
        <p:nvSpPr>
          <p:cNvPr id="9"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noProof="0" dirty="0" err="1" smtClean="0">
                <a:solidFill>
                  <a:schemeClr val="accent1"/>
                </a:solidFill>
              </a:rPr>
              <a:t>Unrestrictedl</a:t>
            </a:r>
            <a:r>
              <a:rPr lang="en-US" sz="1000" b="1" noProof="0" dirty="0" smtClean="0">
                <a:solidFill>
                  <a:schemeClr val="accent1"/>
                </a:solidFill>
              </a:rPr>
              <a:t> © Siemens AG 2016 All rights reserved.</a:t>
            </a:r>
          </a:p>
        </p:txBody>
      </p:sp>
      <p:sp>
        <p:nvSpPr>
          <p:cNvPr id="7" name="Rectangle 12"/>
          <p:cNvSpPr>
            <a:spLocks noChangeArrowheads="1"/>
          </p:cNvSpPr>
          <p:nvPr/>
        </p:nvSpPr>
        <p:spPr bwMode="gray">
          <a:xfrm>
            <a:off x="0" y="0"/>
            <a:ext cx="9144000" cy="1268413"/>
          </a:xfrm>
          <a:prstGeom prst="rect">
            <a:avLst/>
          </a:prstGeom>
          <a:solidFill>
            <a:schemeClr val="bg2"/>
          </a:solidFill>
          <a:ln w="9525">
            <a:noFill/>
            <a:miter lim="800000"/>
            <a:headEnd/>
            <a:tailEnd/>
          </a:ln>
          <a:effectLst/>
        </p:spPr>
        <p:txBody>
          <a:bodyPr wrap="none" anchor="ctr"/>
          <a:lstStyle/>
          <a:p>
            <a:endParaRPr lang="en-US" noProof="0"/>
          </a:p>
        </p:txBody>
      </p:sp>
      <p:sp>
        <p:nvSpPr>
          <p:cNvPr id="3078" name="Rectangle 115"/>
          <p:cNvSpPr>
            <a:spLocks noGrp="1" noChangeArrowheads="1"/>
          </p:cNvSpPr>
          <p:nvPr>
            <p:ph type="title"/>
          </p:nvPr>
        </p:nvSpPr>
        <p:spPr bwMode="auto">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539749" y="1412874"/>
            <a:ext cx="8208963"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p:nvSpPr>
        <p:spPr>
          <a:xfrm>
            <a:off x="0" y="6598800"/>
            <a:ext cx="1249351" cy="259200"/>
          </a:xfrm>
          <a:prstGeom prst="rect">
            <a:avLst/>
          </a:prstGeom>
          <a:noFill/>
        </p:spPr>
        <p:txBody>
          <a:bodyPr wrap="square" lIns="540000" tIns="0" rIns="0" bIns="115200" rtlCol="0" anchor="t" anchorCtr="0">
            <a:noAutofit/>
          </a:bodyPr>
          <a:lstStyle/>
          <a:p>
            <a:pPr>
              <a:lnSpc>
                <a:spcPct val="110000"/>
              </a:lnSpc>
              <a:spcBef>
                <a:spcPts val="0"/>
              </a:spcBef>
            </a:pPr>
            <a:r>
              <a:rPr lang="en-US" sz="1000" noProof="0" dirty="0" smtClean="0">
                <a:solidFill>
                  <a:schemeClr val="tx1"/>
                </a:solidFill>
              </a:rPr>
              <a:t>Page </a:t>
            </a:r>
            <a:fld id="{91E7552C-A157-4A4F-8E99-698C0325FC94}" type="slidenum">
              <a:rPr lang="en-US" sz="1000" noProof="0" smtClean="0">
                <a:solidFill>
                  <a:schemeClr val="tx1"/>
                </a:solidFill>
              </a:rPr>
              <a:pPr>
                <a:lnSpc>
                  <a:spcPct val="110000"/>
                </a:lnSpc>
                <a:spcBef>
                  <a:spcPts val="0"/>
                </a:spcBef>
              </a:pPr>
              <a:t>‹#›</a:t>
            </a:fld>
            <a:endParaRPr lang="en-US" sz="1000" noProof="0" dirty="0" smtClean="0">
              <a:solidFill>
                <a:schemeClr val="tx1"/>
              </a:solidFill>
            </a:endParaRPr>
          </a:p>
        </p:txBody>
      </p:sp>
      <p:sp>
        <p:nvSpPr>
          <p:cNvPr id="14" name="Textfeld 13"/>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noProof="0" dirty="0" smtClean="0">
                <a:solidFill>
                  <a:schemeClr val="tx1"/>
                </a:solidFill>
              </a:rPr>
              <a:t>Christoph Neemann / WP TI TM</a:t>
            </a:r>
          </a:p>
        </p:txBody>
      </p:sp>
      <p:pic>
        <p:nvPicPr>
          <p:cNvPr id="11" name="Grafik 10" descr="SIE_Logo_Layer_Petrol_RGB_A3_76mm.wmf"/>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308713" y="0"/>
            <a:ext cx="1440000" cy="806529"/>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4" r:id="rId3"/>
    <p:sldLayoutId id="2147483676" r:id="rId4"/>
    <p:sldLayoutId id="2147483677" r:id="rId5"/>
    <p:sldLayoutId id="2147483678" r:id="rId6"/>
    <p:sldLayoutId id="2147483715" r:id="rId7"/>
    <p:sldLayoutId id="2147483679" r:id="rId8"/>
    <p:sldLayoutId id="2147483689" r:id="rId9"/>
    <p:sldLayoutId id="2147483692" r:id="rId10"/>
    <p:sldLayoutId id="2147483670" r:id="rId11"/>
    <p:sldLayoutId id="2147483680" r:id="rId12"/>
    <p:sldLayoutId id="2147483683" r:id="rId13"/>
    <p:sldLayoutId id="2147483681" r:id="rId14"/>
    <p:sldLayoutId id="2147483682" r:id="rId15"/>
    <p:sldLayoutId id="2147483691" r:id="rId16"/>
    <p:sldLayoutId id="2147483684" r:id="rId17"/>
    <p:sldLayoutId id="2147483685" r:id="rId18"/>
    <p:sldLayoutId id="2147483686" r:id="rId19"/>
    <p:sldLayoutId id="2147483688" r:id="rId20"/>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000" b="1">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Clr>
          <a:srgbClr val="879BAA"/>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3" name="Textfeld 12"/>
          <p:cNvSpPr txBox="1"/>
          <p:nvPr/>
        </p:nvSpPr>
        <p:spPr>
          <a:xfrm>
            <a:off x="0" y="6598800"/>
            <a:ext cx="2549518" cy="259200"/>
          </a:xfrm>
          <a:prstGeom prst="rect">
            <a:avLst/>
          </a:prstGeom>
          <a:noFill/>
        </p:spPr>
        <p:txBody>
          <a:bodyPr wrap="square" lIns="1476000" tIns="0" rIns="0" bIns="115200" rtlCol="0">
            <a:noAutofit/>
          </a:bodyPr>
          <a:lstStyle/>
          <a:p>
            <a:pPr>
              <a:lnSpc>
                <a:spcPct val="110000"/>
              </a:lnSpc>
              <a:spcBef>
                <a:spcPts val="0"/>
              </a:spcBef>
            </a:pPr>
            <a:fld id="{9BA21F0A-56B1-4F33-8ABC-3FFB48F22493}" type="datetime3">
              <a:rPr lang="en-GB" sz="1000" smtClean="0">
                <a:solidFill>
                  <a:srgbClr val="000000"/>
                </a:solidFill>
              </a:rPr>
              <a:t>19 May, 2016</a:t>
            </a:fld>
            <a:endParaRPr lang="en-US" sz="1000" dirty="0" smtClean="0">
              <a:solidFill>
                <a:srgbClr val="000000"/>
              </a:solidFill>
            </a:endParaRPr>
          </a:p>
        </p:txBody>
      </p:sp>
      <p:sp>
        <p:nvSpPr>
          <p:cNvPr id="9" name="Text Box 133"/>
          <p:cNvSpPr txBox="1">
            <a:spLocks noChangeArrowheads="1"/>
          </p:cNvSpPr>
          <p:nvPr/>
        </p:nvSpPr>
        <p:spPr bwMode="auto">
          <a:xfrm>
            <a:off x="0" y="6165851"/>
            <a:ext cx="9144000" cy="431800"/>
          </a:xfrm>
          <a:prstGeom prst="rect">
            <a:avLst/>
          </a:prstGeom>
          <a:noFill/>
          <a:ln w="9525">
            <a:noFill/>
            <a:miter lim="800000"/>
            <a:headEnd/>
            <a:tailEnd/>
          </a:ln>
          <a:effectLst/>
        </p:spPr>
        <p:txBody>
          <a:bodyPr lIns="540000" tIns="144000" rIns="2124000" bIns="0" anchor="ctr"/>
          <a:lstStyle/>
          <a:p>
            <a:r>
              <a:rPr lang="en-US" sz="1000" b="1" dirty="0" smtClean="0">
                <a:solidFill>
                  <a:srgbClr val="879BAA"/>
                </a:solidFill>
              </a:rPr>
              <a:t>Confidential © Siemens AG 2015 All rights reserved.</a:t>
            </a:r>
          </a:p>
        </p:txBody>
      </p:sp>
      <p:sp>
        <p:nvSpPr>
          <p:cNvPr id="7" name="Rectangle 12"/>
          <p:cNvSpPr>
            <a:spLocks noChangeArrowheads="1"/>
          </p:cNvSpPr>
          <p:nvPr/>
        </p:nvSpPr>
        <p:spPr bwMode="gray">
          <a:xfrm>
            <a:off x="0" y="0"/>
            <a:ext cx="9144000" cy="1268413"/>
          </a:xfrm>
          <a:prstGeom prst="rect">
            <a:avLst/>
          </a:prstGeom>
          <a:solidFill>
            <a:schemeClr val="bg2"/>
          </a:solidFill>
          <a:ln w="9525">
            <a:noFill/>
            <a:miter lim="800000"/>
            <a:headEnd/>
            <a:tailEnd/>
          </a:ln>
          <a:effectLst/>
        </p:spPr>
        <p:txBody>
          <a:bodyPr wrap="none" anchor="ctr"/>
          <a:lstStyle/>
          <a:p>
            <a:endParaRPr lang="en-US">
              <a:solidFill>
                <a:srgbClr val="ADBECB"/>
              </a:solidFill>
            </a:endParaRPr>
          </a:p>
        </p:txBody>
      </p:sp>
      <p:sp>
        <p:nvSpPr>
          <p:cNvPr id="3078" name="Rectangle 115"/>
          <p:cNvSpPr>
            <a:spLocks noGrp="1" noChangeArrowheads="1"/>
          </p:cNvSpPr>
          <p:nvPr>
            <p:ph type="title"/>
          </p:nvPr>
        </p:nvSpPr>
        <p:spPr bwMode="auto">
          <a:xfrm>
            <a:off x="0" y="0"/>
            <a:ext cx="9144000" cy="1262055"/>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noProof="0" dirty="0" smtClean="0"/>
              <a:t>Click the style sheet to edit the title</a:t>
            </a:r>
          </a:p>
        </p:txBody>
      </p:sp>
      <p:sp>
        <p:nvSpPr>
          <p:cNvPr id="3079" name="Rectangle 116"/>
          <p:cNvSpPr>
            <a:spLocks noGrp="1" noChangeArrowheads="1"/>
          </p:cNvSpPr>
          <p:nvPr>
            <p:ph type="body" idx="1"/>
          </p:nvPr>
        </p:nvSpPr>
        <p:spPr bwMode="auto">
          <a:xfrm>
            <a:off x="539749" y="1412874"/>
            <a:ext cx="8208963"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he style sheet to edit the copy</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Textfeld 11"/>
          <p:cNvSpPr txBox="1"/>
          <p:nvPr/>
        </p:nvSpPr>
        <p:spPr>
          <a:xfrm>
            <a:off x="0" y="6598800"/>
            <a:ext cx="1249351" cy="259200"/>
          </a:xfrm>
          <a:prstGeom prst="rect">
            <a:avLst/>
          </a:prstGeom>
          <a:noFill/>
        </p:spPr>
        <p:txBody>
          <a:bodyPr wrap="square" lIns="540000" tIns="0" rIns="0" bIns="115200" rtlCol="0" anchor="t" anchorCtr="0">
            <a:noAutofit/>
          </a:bodyPr>
          <a:lstStyle/>
          <a:p>
            <a:pPr>
              <a:lnSpc>
                <a:spcPct val="110000"/>
              </a:lnSpc>
              <a:spcBef>
                <a:spcPts val="0"/>
              </a:spcBef>
            </a:pPr>
            <a:r>
              <a:rPr lang="en-US" sz="1000" dirty="0" smtClean="0">
                <a:solidFill>
                  <a:srgbClr val="000000"/>
                </a:solidFill>
              </a:rPr>
              <a:t>Page </a:t>
            </a:r>
            <a:fld id="{91E7552C-A157-4A4F-8E99-698C0325FC94}" type="slidenum">
              <a:rPr lang="en-US" sz="1000" smtClean="0">
                <a:solidFill>
                  <a:srgbClr val="000000"/>
                </a:solidFill>
              </a:rPr>
              <a:pPr>
                <a:lnSpc>
                  <a:spcPct val="110000"/>
                </a:lnSpc>
                <a:spcBef>
                  <a:spcPts val="0"/>
                </a:spcBef>
              </a:pPr>
              <a:t>‹#›</a:t>
            </a:fld>
            <a:endParaRPr lang="en-US" sz="1000" dirty="0" smtClean="0">
              <a:solidFill>
                <a:srgbClr val="000000"/>
              </a:solidFill>
            </a:endParaRPr>
          </a:p>
        </p:txBody>
      </p:sp>
      <p:sp>
        <p:nvSpPr>
          <p:cNvPr id="14" name="Textfeld 13"/>
          <p:cNvSpPr txBox="1"/>
          <p:nvPr/>
        </p:nvSpPr>
        <p:spPr>
          <a:xfrm>
            <a:off x="2693980" y="6598800"/>
            <a:ext cx="6450019" cy="259200"/>
          </a:xfrm>
          <a:prstGeom prst="rect">
            <a:avLst/>
          </a:prstGeom>
          <a:noFill/>
        </p:spPr>
        <p:txBody>
          <a:bodyPr wrap="square" lIns="0" tIns="0" rIns="370800" bIns="115200" rtlCol="0">
            <a:noAutofit/>
          </a:bodyPr>
          <a:lstStyle/>
          <a:p>
            <a:pPr algn="r">
              <a:lnSpc>
                <a:spcPct val="110000"/>
              </a:lnSpc>
              <a:spcBef>
                <a:spcPts val="0"/>
              </a:spcBef>
            </a:pPr>
            <a:r>
              <a:rPr lang="en-US" sz="1000" dirty="0" smtClean="0">
                <a:solidFill>
                  <a:srgbClr val="000000"/>
                </a:solidFill>
              </a:rPr>
              <a:t>Christoph Neemann / E W ST SCC</a:t>
            </a:r>
          </a:p>
        </p:txBody>
      </p:sp>
      <p:pic>
        <p:nvPicPr>
          <p:cNvPr id="11" name="Grafik 10" descr="SIE_Logo_Layer_Petrol_RGB_A3_76mm.wmf"/>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7308713" y="0"/>
            <a:ext cx="1440000" cy="806529"/>
          </a:xfrm>
          <a:prstGeom prst="rect">
            <a:avLst/>
          </a:prstGeom>
        </p:spPr>
      </p:pic>
    </p:spTree>
    <p:extLst>
      <p:ext uri="{BB962C8B-B14F-4D97-AF65-F5344CB8AC3E}">
        <p14:creationId xmlns:p14="http://schemas.microsoft.com/office/powerpoint/2010/main" val="153668591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Lst>
  <p:hf sldNum="0" hdr="0" ftr="0" dt="0"/>
  <p:txStyles>
    <p:titleStyle>
      <a:lvl1pPr algn="l" rtl="0" eaLnBrk="1" fontAlgn="base" hangingPunct="1">
        <a:spcBef>
          <a:spcPct val="0"/>
        </a:spcBef>
        <a:spcAft>
          <a:spcPct val="0"/>
        </a:spcAft>
        <a:defRPr sz="2000" b="1">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algn="l" rtl="0" eaLnBrk="1" fontAlgn="base" hangingPunct="1">
        <a:lnSpc>
          <a:spcPct val="110000"/>
        </a:lnSpc>
        <a:spcBef>
          <a:spcPct val="0"/>
        </a:spcBef>
        <a:spcAft>
          <a:spcPct val="0"/>
        </a:spcAft>
        <a:buClr>
          <a:srgbClr val="879BAA"/>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0.xml"/><Relationship Id="rId7" Type="http://schemas.openxmlformats.org/officeDocument/2006/relationships/image" Target="../media/image11.jpe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14.jpeg"/><Relationship Id="rId4" Type="http://schemas.openxmlformats.org/officeDocument/2006/relationships/notesSlide" Target="../notesSlides/notesSlide3.xml"/><Relationship Id="rId9" Type="http://schemas.openxmlformats.org/officeDocument/2006/relationships/image" Target="../media/image13.jpeg"/></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0.xml"/><Relationship Id="rId7" Type="http://schemas.openxmlformats.org/officeDocument/2006/relationships/image" Target="../media/image16.jpe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5.jpg"/><Relationship Id="rId5" Type="http://schemas.openxmlformats.org/officeDocument/2006/relationships/image" Target="../media/image1.emf"/><Relationship Id="rId10" Type="http://schemas.openxmlformats.org/officeDocument/2006/relationships/image" Target="../media/image19.jpeg"/><Relationship Id="rId4" Type="http://schemas.openxmlformats.org/officeDocument/2006/relationships/oleObject" Target="../embeddings/oleObject10.bin"/><Relationship Id="rId9" Type="http://schemas.openxmlformats.org/officeDocument/2006/relationships/image" Target="../media/image18.jpeg"/></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1.jpg"/></Relationships>
</file>

<file path=ppt/slides/_rels/slide6.xml.rels><?xml version="1.0" encoding="UTF-8" standalone="yes"?>
<Relationships xmlns="http://schemas.openxmlformats.org/package/2006/relationships"><Relationship Id="rId117" Type="http://schemas.openxmlformats.org/officeDocument/2006/relationships/tags" Target="../tags/tag129.xml"/><Relationship Id="rId21" Type="http://schemas.openxmlformats.org/officeDocument/2006/relationships/tags" Target="../tags/tag33.xml"/><Relationship Id="rId63" Type="http://schemas.openxmlformats.org/officeDocument/2006/relationships/tags" Target="../tags/tag75.xml"/><Relationship Id="rId159" Type="http://schemas.openxmlformats.org/officeDocument/2006/relationships/tags" Target="../tags/tag171.xml"/><Relationship Id="rId170" Type="http://schemas.openxmlformats.org/officeDocument/2006/relationships/tags" Target="../tags/tag182.xml"/><Relationship Id="rId191" Type="http://schemas.openxmlformats.org/officeDocument/2006/relationships/tags" Target="../tags/tag203.xml"/><Relationship Id="rId205" Type="http://schemas.openxmlformats.org/officeDocument/2006/relationships/tags" Target="../tags/tag217.xml"/><Relationship Id="rId226" Type="http://schemas.openxmlformats.org/officeDocument/2006/relationships/tags" Target="../tags/tag238.xml"/><Relationship Id="rId247" Type="http://schemas.openxmlformats.org/officeDocument/2006/relationships/tags" Target="../tags/tag259.xml"/><Relationship Id="rId107" Type="http://schemas.openxmlformats.org/officeDocument/2006/relationships/tags" Target="../tags/tag119.xml"/><Relationship Id="rId11" Type="http://schemas.openxmlformats.org/officeDocument/2006/relationships/tags" Target="../tags/tag23.xml"/><Relationship Id="rId32" Type="http://schemas.openxmlformats.org/officeDocument/2006/relationships/tags" Target="../tags/tag44.xml"/><Relationship Id="rId53" Type="http://schemas.openxmlformats.org/officeDocument/2006/relationships/tags" Target="../tags/tag65.xml"/><Relationship Id="rId74" Type="http://schemas.openxmlformats.org/officeDocument/2006/relationships/tags" Target="../tags/tag86.xml"/><Relationship Id="rId128" Type="http://schemas.openxmlformats.org/officeDocument/2006/relationships/tags" Target="../tags/tag140.xml"/><Relationship Id="rId149" Type="http://schemas.openxmlformats.org/officeDocument/2006/relationships/tags" Target="../tags/tag161.xml"/><Relationship Id="rId5" Type="http://schemas.openxmlformats.org/officeDocument/2006/relationships/tags" Target="../tags/tag17.xml"/><Relationship Id="rId95" Type="http://schemas.openxmlformats.org/officeDocument/2006/relationships/tags" Target="../tags/tag107.xml"/><Relationship Id="rId160" Type="http://schemas.openxmlformats.org/officeDocument/2006/relationships/tags" Target="../tags/tag172.xml"/><Relationship Id="rId181" Type="http://schemas.openxmlformats.org/officeDocument/2006/relationships/tags" Target="../tags/tag193.xml"/><Relationship Id="rId216" Type="http://schemas.openxmlformats.org/officeDocument/2006/relationships/tags" Target="../tags/tag228.xml"/><Relationship Id="rId237" Type="http://schemas.openxmlformats.org/officeDocument/2006/relationships/tags" Target="../tags/tag249.xml"/><Relationship Id="rId258" Type="http://schemas.openxmlformats.org/officeDocument/2006/relationships/tags" Target="../tags/tag270.xml"/><Relationship Id="rId22" Type="http://schemas.openxmlformats.org/officeDocument/2006/relationships/tags" Target="../tags/tag34.xml"/><Relationship Id="rId43" Type="http://schemas.openxmlformats.org/officeDocument/2006/relationships/tags" Target="../tags/tag55.xml"/><Relationship Id="rId64" Type="http://schemas.openxmlformats.org/officeDocument/2006/relationships/tags" Target="../tags/tag76.xml"/><Relationship Id="rId118" Type="http://schemas.openxmlformats.org/officeDocument/2006/relationships/tags" Target="../tags/tag130.xml"/><Relationship Id="rId139" Type="http://schemas.openxmlformats.org/officeDocument/2006/relationships/tags" Target="../tags/tag151.xml"/><Relationship Id="rId85" Type="http://schemas.openxmlformats.org/officeDocument/2006/relationships/tags" Target="../tags/tag97.xml"/><Relationship Id="rId150" Type="http://schemas.openxmlformats.org/officeDocument/2006/relationships/tags" Target="../tags/tag162.xml"/><Relationship Id="rId171" Type="http://schemas.openxmlformats.org/officeDocument/2006/relationships/tags" Target="../tags/tag183.xml"/><Relationship Id="rId192" Type="http://schemas.openxmlformats.org/officeDocument/2006/relationships/tags" Target="../tags/tag204.xml"/><Relationship Id="rId206" Type="http://schemas.openxmlformats.org/officeDocument/2006/relationships/tags" Target="../tags/tag218.xml"/><Relationship Id="rId227" Type="http://schemas.openxmlformats.org/officeDocument/2006/relationships/tags" Target="../tags/tag239.xml"/><Relationship Id="rId248" Type="http://schemas.openxmlformats.org/officeDocument/2006/relationships/tags" Target="../tags/tag260.xml"/><Relationship Id="rId12" Type="http://schemas.openxmlformats.org/officeDocument/2006/relationships/tags" Target="../tags/tag24.xml"/><Relationship Id="rId33" Type="http://schemas.openxmlformats.org/officeDocument/2006/relationships/tags" Target="../tags/tag45.xml"/><Relationship Id="rId108" Type="http://schemas.openxmlformats.org/officeDocument/2006/relationships/tags" Target="../tags/tag120.xml"/><Relationship Id="rId129" Type="http://schemas.openxmlformats.org/officeDocument/2006/relationships/tags" Target="../tags/tag141.xml"/><Relationship Id="rId54" Type="http://schemas.openxmlformats.org/officeDocument/2006/relationships/tags" Target="../tags/tag66.xml"/><Relationship Id="rId75" Type="http://schemas.openxmlformats.org/officeDocument/2006/relationships/tags" Target="../tags/tag87.xml"/><Relationship Id="rId96" Type="http://schemas.openxmlformats.org/officeDocument/2006/relationships/tags" Target="../tags/tag108.xml"/><Relationship Id="rId140" Type="http://schemas.openxmlformats.org/officeDocument/2006/relationships/tags" Target="../tags/tag152.xml"/><Relationship Id="rId161" Type="http://schemas.openxmlformats.org/officeDocument/2006/relationships/tags" Target="../tags/tag173.xml"/><Relationship Id="rId182" Type="http://schemas.openxmlformats.org/officeDocument/2006/relationships/tags" Target="../tags/tag194.xml"/><Relationship Id="rId217" Type="http://schemas.openxmlformats.org/officeDocument/2006/relationships/tags" Target="../tags/tag229.xml"/><Relationship Id="rId6" Type="http://schemas.openxmlformats.org/officeDocument/2006/relationships/tags" Target="../tags/tag18.xml"/><Relationship Id="rId238" Type="http://schemas.openxmlformats.org/officeDocument/2006/relationships/tags" Target="../tags/tag250.xml"/><Relationship Id="rId259" Type="http://schemas.openxmlformats.org/officeDocument/2006/relationships/tags" Target="../tags/tag271.xml"/><Relationship Id="rId23" Type="http://schemas.openxmlformats.org/officeDocument/2006/relationships/tags" Target="../tags/tag35.xml"/><Relationship Id="rId119" Type="http://schemas.openxmlformats.org/officeDocument/2006/relationships/tags" Target="../tags/tag131.xml"/><Relationship Id="rId44" Type="http://schemas.openxmlformats.org/officeDocument/2006/relationships/tags" Target="../tags/tag56.xml"/><Relationship Id="rId65" Type="http://schemas.openxmlformats.org/officeDocument/2006/relationships/tags" Target="../tags/tag77.xml"/><Relationship Id="rId86" Type="http://schemas.openxmlformats.org/officeDocument/2006/relationships/tags" Target="../tags/tag98.xml"/><Relationship Id="rId130" Type="http://schemas.openxmlformats.org/officeDocument/2006/relationships/tags" Target="../tags/tag142.xml"/><Relationship Id="rId151" Type="http://schemas.openxmlformats.org/officeDocument/2006/relationships/tags" Target="../tags/tag163.xml"/><Relationship Id="rId172" Type="http://schemas.openxmlformats.org/officeDocument/2006/relationships/tags" Target="../tags/tag184.xml"/><Relationship Id="rId193" Type="http://schemas.openxmlformats.org/officeDocument/2006/relationships/tags" Target="../tags/tag205.xml"/><Relationship Id="rId207" Type="http://schemas.openxmlformats.org/officeDocument/2006/relationships/tags" Target="../tags/tag219.xml"/><Relationship Id="rId228" Type="http://schemas.openxmlformats.org/officeDocument/2006/relationships/tags" Target="../tags/tag240.xml"/><Relationship Id="rId249" Type="http://schemas.openxmlformats.org/officeDocument/2006/relationships/tags" Target="../tags/tag261.xml"/><Relationship Id="rId13" Type="http://schemas.openxmlformats.org/officeDocument/2006/relationships/tags" Target="../tags/tag25.xml"/><Relationship Id="rId109" Type="http://schemas.openxmlformats.org/officeDocument/2006/relationships/tags" Target="../tags/tag121.xml"/><Relationship Id="rId260" Type="http://schemas.openxmlformats.org/officeDocument/2006/relationships/slideLayout" Target="../slideLayouts/slideLayout10.xml"/><Relationship Id="rId34" Type="http://schemas.openxmlformats.org/officeDocument/2006/relationships/tags" Target="../tags/tag46.xml"/><Relationship Id="rId55" Type="http://schemas.openxmlformats.org/officeDocument/2006/relationships/tags" Target="../tags/tag67.xml"/><Relationship Id="rId76" Type="http://schemas.openxmlformats.org/officeDocument/2006/relationships/tags" Target="../tags/tag88.xml"/><Relationship Id="rId97" Type="http://schemas.openxmlformats.org/officeDocument/2006/relationships/tags" Target="../tags/tag109.xml"/><Relationship Id="rId120" Type="http://schemas.openxmlformats.org/officeDocument/2006/relationships/tags" Target="../tags/tag132.xml"/><Relationship Id="rId141" Type="http://schemas.openxmlformats.org/officeDocument/2006/relationships/tags" Target="../tags/tag153.xml"/><Relationship Id="rId7" Type="http://schemas.openxmlformats.org/officeDocument/2006/relationships/tags" Target="../tags/tag19.xml"/><Relationship Id="rId162" Type="http://schemas.openxmlformats.org/officeDocument/2006/relationships/tags" Target="../tags/tag174.xml"/><Relationship Id="rId183" Type="http://schemas.openxmlformats.org/officeDocument/2006/relationships/tags" Target="../tags/tag195.xml"/><Relationship Id="rId218" Type="http://schemas.openxmlformats.org/officeDocument/2006/relationships/tags" Target="../tags/tag230.xml"/><Relationship Id="rId239" Type="http://schemas.openxmlformats.org/officeDocument/2006/relationships/tags" Target="../tags/tag251.xml"/><Relationship Id="rId250" Type="http://schemas.openxmlformats.org/officeDocument/2006/relationships/tags" Target="../tags/tag262.xml"/><Relationship Id="rId24" Type="http://schemas.openxmlformats.org/officeDocument/2006/relationships/tags" Target="../tags/tag36.xml"/><Relationship Id="rId45" Type="http://schemas.openxmlformats.org/officeDocument/2006/relationships/tags" Target="../tags/tag57.xml"/><Relationship Id="rId66" Type="http://schemas.openxmlformats.org/officeDocument/2006/relationships/tags" Target="../tags/tag78.xml"/><Relationship Id="rId87" Type="http://schemas.openxmlformats.org/officeDocument/2006/relationships/tags" Target="../tags/tag99.xml"/><Relationship Id="rId110" Type="http://schemas.openxmlformats.org/officeDocument/2006/relationships/tags" Target="../tags/tag122.xml"/><Relationship Id="rId131" Type="http://schemas.openxmlformats.org/officeDocument/2006/relationships/tags" Target="../tags/tag143.xml"/><Relationship Id="rId152" Type="http://schemas.openxmlformats.org/officeDocument/2006/relationships/tags" Target="../tags/tag164.xml"/><Relationship Id="rId173" Type="http://schemas.openxmlformats.org/officeDocument/2006/relationships/tags" Target="../tags/tag185.xml"/><Relationship Id="rId194" Type="http://schemas.openxmlformats.org/officeDocument/2006/relationships/tags" Target="../tags/tag206.xml"/><Relationship Id="rId208" Type="http://schemas.openxmlformats.org/officeDocument/2006/relationships/tags" Target="../tags/tag220.xml"/><Relationship Id="rId229" Type="http://schemas.openxmlformats.org/officeDocument/2006/relationships/tags" Target="../tags/tag241.xml"/><Relationship Id="rId240" Type="http://schemas.openxmlformats.org/officeDocument/2006/relationships/tags" Target="../tags/tag252.xml"/><Relationship Id="rId261" Type="http://schemas.openxmlformats.org/officeDocument/2006/relationships/notesSlide" Target="../notesSlides/notesSlide5.xml"/><Relationship Id="rId14" Type="http://schemas.openxmlformats.org/officeDocument/2006/relationships/tags" Target="../tags/tag26.xml"/><Relationship Id="rId35" Type="http://schemas.openxmlformats.org/officeDocument/2006/relationships/tags" Target="../tags/tag47.xml"/><Relationship Id="rId56" Type="http://schemas.openxmlformats.org/officeDocument/2006/relationships/tags" Target="../tags/tag68.xml"/><Relationship Id="rId77" Type="http://schemas.openxmlformats.org/officeDocument/2006/relationships/tags" Target="../tags/tag89.xml"/><Relationship Id="rId100" Type="http://schemas.openxmlformats.org/officeDocument/2006/relationships/tags" Target="../tags/tag112.xml"/><Relationship Id="rId8" Type="http://schemas.openxmlformats.org/officeDocument/2006/relationships/tags" Target="../tags/tag20.xml"/><Relationship Id="rId98" Type="http://schemas.openxmlformats.org/officeDocument/2006/relationships/tags" Target="../tags/tag110.xml"/><Relationship Id="rId121" Type="http://schemas.openxmlformats.org/officeDocument/2006/relationships/tags" Target="../tags/tag133.xml"/><Relationship Id="rId142" Type="http://schemas.openxmlformats.org/officeDocument/2006/relationships/tags" Target="../tags/tag154.xml"/><Relationship Id="rId163" Type="http://schemas.openxmlformats.org/officeDocument/2006/relationships/tags" Target="../tags/tag175.xml"/><Relationship Id="rId184" Type="http://schemas.openxmlformats.org/officeDocument/2006/relationships/tags" Target="../tags/tag196.xml"/><Relationship Id="rId219" Type="http://schemas.openxmlformats.org/officeDocument/2006/relationships/tags" Target="../tags/tag231.xml"/><Relationship Id="rId230" Type="http://schemas.openxmlformats.org/officeDocument/2006/relationships/tags" Target="../tags/tag242.xml"/><Relationship Id="rId251" Type="http://schemas.openxmlformats.org/officeDocument/2006/relationships/tags" Target="../tags/tag263.xml"/><Relationship Id="rId25" Type="http://schemas.openxmlformats.org/officeDocument/2006/relationships/tags" Target="../tags/tag37.xml"/><Relationship Id="rId46" Type="http://schemas.openxmlformats.org/officeDocument/2006/relationships/tags" Target="../tags/tag58.xml"/><Relationship Id="rId67" Type="http://schemas.openxmlformats.org/officeDocument/2006/relationships/tags" Target="../tags/tag79.xml"/><Relationship Id="rId88" Type="http://schemas.openxmlformats.org/officeDocument/2006/relationships/tags" Target="../tags/tag100.xml"/><Relationship Id="rId111" Type="http://schemas.openxmlformats.org/officeDocument/2006/relationships/tags" Target="../tags/tag123.xml"/><Relationship Id="rId132" Type="http://schemas.openxmlformats.org/officeDocument/2006/relationships/tags" Target="../tags/tag144.xml"/><Relationship Id="rId153" Type="http://schemas.openxmlformats.org/officeDocument/2006/relationships/tags" Target="../tags/tag165.xml"/><Relationship Id="rId174" Type="http://schemas.openxmlformats.org/officeDocument/2006/relationships/tags" Target="../tags/tag186.xml"/><Relationship Id="rId195" Type="http://schemas.openxmlformats.org/officeDocument/2006/relationships/tags" Target="../tags/tag207.xml"/><Relationship Id="rId209" Type="http://schemas.openxmlformats.org/officeDocument/2006/relationships/tags" Target="../tags/tag221.xml"/><Relationship Id="rId220" Type="http://schemas.openxmlformats.org/officeDocument/2006/relationships/tags" Target="../tags/tag232.xml"/><Relationship Id="rId241" Type="http://schemas.openxmlformats.org/officeDocument/2006/relationships/tags" Target="../tags/tag253.xml"/><Relationship Id="rId15" Type="http://schemas.openxmlformats.org/officeDocument/2006/relationships/tags" Target="../tags/tag27.xml"/><Relationship Id="rId36" Type="http://schemas.openxmlformats.org/officeDocument/2006/relationships/tags" Target="../tags/tag48.xml"/><Relationship Id="rId57" Type="http://schemas.openxmlformats.org/officeDocument/2006/relationships/tags" Target="../tags/tag69.xml"/><Relationship Id="rId262" Type="http://schemas.openxmlformats.org/officeDocument/2006/relationships/image" Target="../media/image22.png"/><Relationship Id="rId78" Type="http://schemas.openxmlformats.org/officeDocument/2006/relationships/tags" Target="../tags/tag90.xml"/><Relationship Id="rId99" Type="http://schemas.openxmlformats.org/officeDocument/2006/relationships/tags" Target="../tags/tag111.xml"/><Relationship Id="rId101" Type="http://schemas.openxmlformats.org/officeDocument/2006/relationships/tags" Target="../tags/tag113.xml"/><Relationship Id="rId122" Type="http://schemas.openxmlformats.org/officeDocument/2006/relationships/tags" Target="../tags/tag134.xml"/><Relationship Id="rId143" Type="http://schemas.openxmlformats.org/officeDocument/2006/relationships/tags" Target="../tags/tag155.xml"/><Relationship Id="rId164" Type="http://schemas.openxmlformats.org/officeDocument/2006/relationships/tags" Target="../tags/tag176.xml"/><Relationship Id="rId185" Type="http://schemas.openxmlformats.org/officeDocument/2006/relationships/tags" Target="../tags/tag197.xml"/><Relationship Id="rId9" Type="http://schemas.openxmlformats.org/officeDocument/2006/relationships/tags" Target="../tags/tag21.xml"/><Relationship Id="rId210" Type="http://schemas.openxmlformats.org/officeDocument/2006/relationships/tags" Target="../tags/tag222.xml"/><Relationship Id="rId26" Type="http://schemas.openxmlformats.org/officeDocument/2006/relationships/tags" Target="../tags/tag38.xml"/><Relationship Id="rId231" Type="http://schemas.openxmlformats.org/officeDocument/2006/relationships/tags" Target="../tags/tag243.xml"/><Relationship Id="rId252" Type="http://schemas.openxmlformats.org/officeDocument/2006/relationships/tags" Target="../tags/tag264.xml"/><Relationship Id="rId47" Type="http://schemas.openxmlformats.org/officeDocument/2006/relationships/tags" Target="../tags/tag59.xml"/><Relationship Id="rId68" Type="http://schemas.openxmlformats.org/officeDocument/2006/relationships/tags" Target="../tags/tag80.xml"/><Relationship Id="rId89" Type="http://schemas.openxmlformats.org/officeDocument/2006/relationships/tags" Target="../tags/tag101.xml"/><Relationship Id="rId112" Type="http://schemas.openxmlformats.org/officeDocument/2006/relationships/tags" Target="../tags/tag124.xml"/><Relationship Id="rId133" Type="http://schemas.openxmlformats.org/officeDocument/2006/relationships/tags" Target="../tags/tag145.xml"/><Relationship Id="rId154" Type="http://schemas.openxmlformats.org/officeDocument/2006/relationships/tags" Target="../tags/tag166.xml"/><Relationship Id="rId175" Type="http://schemas.openxmlformats.org/officeDocument/2006/relationships/tags" Target="../tags/tag187.xml"/><Relationship Id="rId196" Type="http://schemas.openxmlformats.org/officeDocument/2006/relationships/tags" Target="../tags/tag208.xml"/><Relationship Id="rId200" Type="http://schemas.openxmlformats.org/officeDocument/2006/relationships/tags" Target="../tags/tag212.xml"/><Relationship Id="rId16" Type="http://schemas.openxmlformats.org/officeDocument/2006/relationships/tags" Target="../tags/tag28.xml"/><Relationship Id="rId221" Type="http://schemas.openxmlformats.org/officeDocument/2006/relationships/tags" Target="../tags/tag233.xml"/><Relationship Id="rId242" Type="http://schemas.openxmlformats.org/officeDocument/2006/relationships/tags" Target="../tags/tag254.xml"/><Relationship Id="rId263" Type="http://schemas.openxmlformats.org/officeDocument/2006/relationships/image" Target="../media/image23.png"/><Relationship Id="rId37" Type="http://schemas.openxmlformats.org/officeDocument/2006/relationships/tags" Target="../tags/tag49.xml"/><Relationship Id="rId58" Type="http://schemas.openxmlformats.org/officeDocument/2006/relationships/tags" Target="../tags/tag70.xml"/><Relationship Id="rId79" Type="http://schemas.openxmlformats.org/officeDocument/2006/relationships/tags" Target="../tags/tag91.xml"/><Relationship Id="rId102" Type="http://schemas.openxmlformats.org/officeDocument/2006/relationships/tags" Target="../tags/tag114.xml"/><Relationship Id="rId123" Type="http://schemas.openxmlformats.org/officeDocument/2006/relationships/tags" Target="../tags/tag135.xml"/><Relationship Id="rId144" Type="http://schemas.openxmlformats.org/officeDocument/2006/relationships/tags" Target="../tags/tag156.xml"/><Relationship Id="rId90" Type="http://schemas.openxmlformats.org/officeDocument/2006/relationships/tags" Target="../tags/tag102.xml"/><Relationship Id="rId165" Type="http://schemas.openxmlformats.org/officeDocument/2006/relationships/tags" Target="../tags/tag177.xml"/><Relationship Id="rId186" Type="http://schemas.openxmlformats.org/officeDocument/2006/relationships/tags" Target="../tags/tag198.xml"/><Relationship Id="rId211" Type="http://schemas.openxmlformats.org/officeDocument/2006/relationships/tags" Target="../tags/tag223.xml"/><Relationship Id="rId232" Type="http://schemas.openxmlformats.org/officeDocument/2006/relationships/tags" Target="../tags/tag244.xml"/><Relationship Id="rId253" Type="http://schemas.openxmlformats.org/officeDocument/2006/relationships/tags" Target="../tags/tag265.xml"/><Relationship Id="rId27" Type="http://schemas.openxmlformats.org/officeDocument/2006/relationships/tags" Target="../tags/tag39.xml"/><Relationship Id="rId48" Type="http://schemas.openxmlformats.org/officeDocument/2006/relationships/tags" Target="../tags/tag60.xml"/><Relationship Id="rId69" Type="http://schemas.openxmlformats.org/officeDocument/2006/relationships/tags" Target="../tags/tag81.xml"/><Relationship Id="rId113" Type="http://schemas.openxmlformats.org/officeDocument/2006/relationships/tags" Target="../tags/tag125.xml"/><Relationship Id="rId134" Type="http://schemas.openxmlformats.org/officeDocument/2006/relationships/tags" Target="../tags/tag146.xml"/><Relationship Id="rId80" Type="http://schemas.openxmlformats.org/officeDocument/2006/relationships/tags" Target="../tags/tag92.xml"/><Relationship Id="rId155" Type="http://schemas.openxmlformats.org/officeDocument/2006/relationships/tags" Target="../tags/tag167.xml"/><Relationship Id="rId176" Type="http://schemas.openxmlformats.org/officeDocument/2006/relationships/tags" Target="../tags/tag188.xml"/><Relationship Id="rId197" Type="http://schemas.openxmlformats.org/officeDocument/2006/relationships/tags" Target="../tags/tag209.xml"/><Relationship Id="rId201" Type="http://schemas.openxmlformats.org/officeDocument/2006/relationships/tags" Target="../tags/tag213.xml"/><Relationship Id="rId222" Type="http://schemas.openxmlformats.org/officeDocument/2006/relationships/tags" Target="../tags/tag234.xml"/><Relationship Id="rId243" Type="http://schemas.openxmlformats.org/officeDocument/2006/relationships/tags" Target="../tags/tag255.xml"/><Relationship Id="rId264" Type="http://schemas.openxmlformats.org/officeDocument/2006/relationships/image" Target="../media/image24.png"/><Relationship Id="rId17" Type="http://schemas.openxmlformats.org/officeDocument/2006/relationships/tags" Target="../tags/tag29.xml"/><Relationship Id="rId38" Type="http://schemas.openxmlformats.org/officeDocument/2006/relationships/tags" Target="../tags/tag50.xml"/><Relationship Id="rId59" Type="http://schemas.openxmlformats.org/officeDocument/2006/relationships/tags" Target="../tags/tag71.xml"/><Relationship Id="rId103" Type="http://schemas.openxmlformats.org/officeDocument/2006/relationships/tags" Target="../tags/tag115.xml"/><Relationship Id="rId124" Type="http://schemas.openxmlformats.org/officeDocument/2006/relationships/tags" Target="../tags/tag136.xml"/><Relationship Id="rId70" Type="http://schemas.openxmlformats.org/officeDocument/2006/relationships/tags" Target="../tags/tag82.xml"/><Relationship Id="rId91" Type="http://schemas.openxmlformats.org/officeDocument/2006/relationships/tags" Target="../tags/tag103.xml"/><Relationship Id="rId145" Type="http://schemas.openxmlformats.org/officeDocument/2006/relationships/tags" Target="../tags/tag157.xml"/><Relationship Id="rId166" Type="http://schemas.openxmlformats.org/officeDocument/2006/relationships/tags" Target="../tags/tag178.xml"/><Relationship Id="rId187" Type="http://schemas.openxmlformats.org/officeDocument/2006/relationships/tags" Target="../tags/tag199.xml"/><Relationship Id="rId1" Type="http://schemas.openxmlformats.org/officeDocument/2006/relationships/tags" Target="../tags/tag13.xml"/><Relationship Id="rId212" Type="http://schemas.openxmlformats.org/officeDocument/2006/relationships/tags" Target="../tags/tag224.xml"/><Relationship Id="rId233" Type="http://schemas.openxmlformats.org/officeDocument/2006/relationships/tags" Target="../tags/tag245.xml"/><Relationship Id="rId254" Type="http://schemas.openxmlformats.org/officeDocument/2006/relationships/tags" Target="../tags/tag266.xml"/><Relationship Id="rId28" Type="http://schemas.openxmlformats.org/officeDocument/2006/relationships/tags" Target="../tags/tag40.xml"/><Relationship Id="rId49" Type="http://schemas.openxmlformats.org/officeDocument/2006/relationships/tags" Target="../tags/tag61.xml"/><Relationship Id="rId114" Type="http://schemas.openxmlformats.org/officeDocument/2006/relationships/tags" Target="../tags/tag126.xml"/><Relationship Id="rId60" Type="http://schemas.openxmlformats.org/officeDocument/2006/relationships/tags" Target="../tags/tag72.xml"/><Relationship Id="rId81" Type="http://schemas.openxmlformats.org/officeDocument/2006/relationships/tags" Target="../tags/tag93.xml"/><Relationship Id="rId135" Type="http://schemas.openxmlformats.org/officeDocument/2006/relationships/tags" Target="../tags/tag147.xml"/><Relationship Id="rId156" Type="http://schemas.openxmlformats.org/officeDocument/2006/relationships/tags" Target="../tags/tag168.xml"/><Relationship Id="rId177" Type="http://schemas.openxmlformats.org/officeDocument/2006/relationships/tags" Target="../tags/tag189.xml"/><Relationship Id="rId198" Type="http://schemas.openxmlformats.org/officeDocument/2006/relationships/tags" Target="../tags/tag210.xml"/><Relationship Id="rId202" Type="http://schemas.openxmlformats.org/officeDocument/2006/relationships/tags" Target="../tags/tag214.xml"/><Relationship Id="rId223" Type="http://schemas.openxmlformats.org/officeDocument/2006/relationships/tags" Target="../tags/tag235.xml"/><Relationship Id="rId244" Type="http://schemas.openxmlformats.org/officeDocument/2006/relationships/tags" Target="../tags/tag256.xml"/><Relationship Id="rId18" Type="http://schemas.openxmlformats.org/officeDocument/2006/relationships/tags" Target="../tags/tag30.xml"/><Relationship Id="rId39" Type="http://schemas.openxmlformats.org/officeDocument/2006/relationships/tags" Target="../tags/tag51.xml"/><Relationship Id="rId50" Type="http://schemas.openxmlformats.org/officeDocument/2006/relationships/tags" Target="../tags/tag62.xml"/><Relationship Id="rId104" Type="http://schemas.openxmlformats.org/officeDocument/2006/relationships/tags" Target="../tags/tag116.xml"/><Relationship Id="rId125" Type="http://schemas.openxmlformats.org/officeDocument/2006/relationships/tags" Target="../tags/tag137.xml"/><Relationship Id="rId146" Type="http://schemas.openxmlformats.org/officeDocument/2006/relationships/tags" Target="../tags/tag158.xml"/><Relationship Id="rId167" Type="http://schemas.openxmlformats.org/officeDocument/2006/relationships/tags" Target="../tags/tag179.xml"/><Relationship Id="rId188" Type="http://schemas.openxmlformats.org/officeDocument/2006/relationships/tags" Target="../tags/tag200.xml"/><Relationship Id="rId71" Type="http://schemas.openxmlformats.org/officeDocument/2006/relationships/tags" Target="../tags/tag83.xml"/><Relationship Id="rId92" Type="http://schemas.openxmlformats.org/officeDocument/2006/relationships/tags" Target="../tags/tag104.xml"/><Relationship Id="rId213" Type="http://schemas.openxmlformats.org/officeDocument/2006/relationships/tags" Target="../tags/tag225.xml"/><Relationship Id="rId234" Type="http://schemas.openxmlformats.org/officeDocument/2006/relationships/tags" Target="../tags/tag246.xml"/><Relationship Id="rId2" Type="http://schemas.openxmlformats.org/officeDocument/2006/relationships/tags" Target="../tags/tag14.xml"/><Relationship Id="rId29" Type="http://schemas.openxmlformats.org/officeDocument/2006/relationships/tags" Target="../tags/tag41.xml"/><Relationship Id="rId255" Type="http://schemas.openxmlformats.org/officeDocument/2006/relationships/tags" Target="../tags/tag267.xml"/><Relationship Id="rId40" Type="http://schemas.openxmlformats.org/officeDocument/2006/relationships/tags" Target="../tags/tag52.xml"/><Relationship Id="rId115" Type="http://schemas.openxmlformats.org/officeDocument/2006/relationships/tags" Target="../tags/tag127.xml"/><Relationship Id="rId136" Type="http://schemas.openxmlformats.org/officeDocument/2006/relationships/tags" Target="../tags/tag148.xml"/><Relationship Id="rId157" Type="http://schemas.openxmlformats.org/officeDocument/2006/relationships/tags" Target="../tags/tag169.xml"/><Relationship Id="rId178" Type="http://schemas.openxmlformats.org/officeDocument/2006/relationships/tags" Target="../tags/tag190.xml"/><Relationship Id="rId61" Type="http://schemas.openxmlformats.org/officeDocument/2006/relationships/tags" Target="../tags/tag73.xml"/><Relationship Id="rId82" Type="http://schemas.openxmlformats.org/officeDocument/2006/relationships/tags" Target="../tags/tag94.xml"/><Relationship Id="rId199" Type="http://schemas.openxmlformats.org/officeDocument/2006/relationships/tags" Target="../tags/tag211.xml"/><Relationship Id="rId203" Type="http://schemas.openxmlformats.org/officeDocument/2006/relationships/tags" Target="../tags/tag215.xml"/><Relationship Id="rId19" Type="http://schemas.openxmlformats.org/officeDocument/2006/relationships/tags" Target="../tags/tag31.xml"/><Relationship Id="rId224" Type="http://schemas.openxmlformats.org/officeDocument/2006/relationships/tags" Target="../tags/tag236.xml"/><Relationship Id="rId245" Type="http://schemas.openxmlformats.org/officeDocument/2006/relationships/tags" Target="../tags/tag257.xml"/><Relationship Id="rId30" Type="http://schemas.openxmlformats.org/officeDocument/2006/relationships/tags" Target="../tags/tag42.xml"/><Relationship Id="rId105" Type="http://schemas.openxmlformats.org/officeDocument/2006/relationships/tags" Target="../tags/tag117.xml"/><Relationship Id="rId126" Type="http://schemas.openxmlformats.org/officeDocument/2006/relationships/tags" Target="../tags/tag138.xml"/><Relationship Id="rId147" Type="http://schemas.openxmlformats.org/officeDocument/2006/relationships/tags" Target="../tags/tag159.xml"/><Relationship Id="rId168" Type="http://schemas.openxmlformats.org/officeDocument/2006/relationships/tags" Target="../tags/tag180.xml"/><Relationship Id="rId51" Type="http://schemas.openxmlformats.org/officeDocument/2006/relationships/tags" Target="../tags/tag63.xml"/><Relationship Id="rId72" Type="http://schemas.openxmlformats.org/officeDocument/2006/relationships/tags" Target="../tags/tag84.xml"/><Relationship Id="rId93" Type="http://schemas.openxmlformats.org/officeDocument/2006/relationships/tags" Target="../tags/tag105.xml"/><Relationship Id="rId189" Type="http://schemas.openxmlformats.org/officeDocument/2006/relationships/tags" Target="../tags/tag201.xml"/><Relationship Id="rId3" Type="http://schemas.openxmlformats.org/officeDocument/2006/relationships/tags" Target="../tags/tag15.xml"/><Relationship Id="rId214" Type="http://schemas.openxmlformats.org/officeDocument/2006/relationships/tags" Target="../tags/tag226.xml"/><Relationship Id="rId235" Type="http://schemas.openxmlformats.org/officeDocument/2006/relationships/tags" Target="../tags/tag247.xml"/><Relationship Id="rId256" Type="http://schemas.openxmlformats.org/officeDocument/2006/relationships/tags" Target="../tags/tag268.xml"/><Relationship Id="rId116" Type="http://schemas.openxmlformats.org/officeDocument/2006/relationships/tags" Target="../tags/tag128.xml"/><Relationship Id="rId137" Type="http://schemas.openxmlformats.org/officeDocument/2006/relationships/tags" Target="../tags/tag149.xml"/><Relationship Id="rId158" Type="http://schemas.openxmlformats.org/officeDocument/2006/relationships/tags" Target="../tags/tag170.xml"/><Relationship Id="rId20" Type="http://schemas.openxmlformats.org/officeDocument/2006/relationships/tags" Target="../tags/tag32.xml"/><Relationship Id="rId41" Type="http://schemas.openxmlformats.org/officeDocument/2006/relationships/tags" Target="../tags/tag53.xml"/><Relationship Id="rId62" Type="http://schemas.openxmlformats.org/officeDocument/2006/relationships/tags" Target="../tags/tag74.xml"/><Relationship Id="rId83" Type="http://schemas.openxmlformats.org/officeDocument/2006/relationships/tags" Target="../tags/tag95.xml"/><Relationship Id="rId179" Type="http://schemas.openxmlformats.org/officeDocument/2006/relationships/tags" Target="../tags/tag191.xml"/><Relationship Id="rId190" Type="http://schemas.openxmlformats.org/officeDocument/2006/relationships/tags" Target="../tags/tag202.xml"/><Relationship Id="rId204" Type="http://schemas.openxmlformats.org/officeDocument/2006/relationships/tags" Target="../tags/tag216.xml"/><Relationship Id="rId225" Type="http://schemas.openxmlformats.org/officeDocument/2006/relationships/tags" Target="../tags/tag237.xml"/><Relationship Id="rId246" Type="http://schemas.openxmlformats.org/officeDocument/2006/relationships/tags" Target="../tags/tag258.xml"/><Relationship Id="rId106" Type="http://schemas.openxmlformats.org/officeDocument/2006/relationships/tags" Target="../tags/tag118.xml"/><Relationship Id="rId127" Type="http://schemas.openxmlformats.org/officeDocument/2006/relationships/tags" Target="../tags/tag139.xml"/><Relationship Id="rId10" Type="http://schemas.openxmlformats.org/officeDocument/2006/relationships/tags" Target="../tags/tag22.xml"/><Relationship Id="rId31" Type="http://schemas.openxmlformats.org/officeDocument/2006/relationships/tags" Target="../tags/tag43.xml"/><Relationship Id="rId52" Type="http://schemas.openxmlformats.org/officeDocument/2006/relationships/tags" Target="../tags/tag64.xml"/><Relationship Id="rId73" Type="http://schemas.openxmlformats.org/officeDocument/2006/relationships/tags" Target="../tags/tag85.xml"/><Relationship Id="rId94" Type="http://schemas.openxmlformats.org/officeDocument/2006/relationships/tags" Target="../tags/tag106.xml"/><Relationship Id="rId148" Type="http://schemas.openxmlformats.org/officeDocument/2006/relationships/tags" Target="../tags/tag160.xml"/><Relationship Id="rId169" Type="http://schemas.openxmlformats.org/officeDocument/2006/relationships/tags" Target="../tags/tag181.xml"/><Relationship Id="rId4" Type="http://schemas.openxmlformats.org/officeDocument/2006/relationships/tags" Target="../tags/tag16.xml"/><Relationship Id="rId180" Type="http://schemas.openxmlformats.org/officeDocument/2006/relationships/tags" Target="../tags/tag192.xml"/><Relationship Id="rId215" Type="http://schemas.openxmlformats.org/officeDocument/2006/relationships/tags" Target="../tags/tag227.xml"/><Relationship Id="rId236" Type="http://schemas.openxmlformats.org/officeDocument/2006/relationships/tags" Target="../tags/tag248.xml"/><Relationship Id="rId257" Type="http://schemas.openxmlformats.org/officeDocument/2006/relationships/tags" Target="../tags/tag269.xml"/><Relationship Id="rId42" Type="http://schemas.openxmlformats.org/officeDocument/2006/relationships/tags" Target="../tags/tag54.xml"/><Relationship Id="rId84" Type="http://schemas.openxmlformats.org/officeDocument/2006/relationships/tags" Target="../tags/tag96.xml"/><Relationship Id="rId138" Type="http://schemas.openxmlformats.org/officeDocument/2006/relationships/tags" Target="../tags/tag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2" name="Rectangle 12"/>
          <p:cNvSpPr>
            <a:spLocks noGrp="1" noChangeArrowheads="1"/>
          </p:cNvSpPr>
          <p:nvPr>
            <p:ph type="ctrTitle"/>
          </p:nvPr>
        </p:nvSpPr>
        <p:spPr>
          <a:xfrm>
            <a:off x="250825" y="4151315"/>
            <a:ext cx="8893175" cy="2101120"/>
          </a:xfrm>
        </p:spPr>
        <p:txBody>
          <a:bodyPr/>
          <a:lstStyle/>
          <a:p>
            <a:r>
              <a:rPr lang="en-US" dirty="0" smtClean="0"/>
              <a:t>The road ahead in wind power:</a:t>
            </a:r>
            <a:br>
              <a:rPr lang="en-US" dirty="0" smtClean="0"/>
            </a:br>
            <a:r>
              <a:rPr lang="en-US" dirty="0" smtClean="0"/>
              <a:t>Innovation today </a:t>
            </a:r>
            <a:br>
              <a:rPr lang="en-US" dirty="0" smtClean="0"/>
            </a:br>
            <a:r>
              <a:rPr lang="en-US" dirty="0" smtClean="0"/>
              <a:t>for tomorrow’s challenges</a:t>
            </a:r>
            <a:endParaRPr lang="en-US" dirty="0"/>
          </a:p>
        </p:txBody>
      </p:sp>
      <p:sp>
        <p:nvSpPr>
          <p:cNvPr id="20493" name="Rectangle 13"/>
          <p:cNvSpPr>
            <a:spLocks noGrp="1" noChangeArrowheads="1"/>
          </p:cNvSpPr>
          <p:nvPr>
            <p:ph type="subTitle" idx="1"/>
          </p:nvPr>
        </p:nvSpPr>
        <p:spPr>
          <a:xfrm>
            <a:off x="250825" y="3429000"/>
            <a:ext cx="8893175" cy="722315"/>
          </a:xfrm>
        </p:spPr>
        <p:txBody>
          <a:bodyPr/>
          <a:lstStyle/>
          <a:p>
            <a:r>
              <a:rPr lang="en-US" dirty="0" smtClean="0"/>
              <a:t>Dr. Christoph </a:t>
            </a:r>
            <a:r>
              <a:rPr lang="en-US" dirty="0" err="1" smtClean="0"/>
              <a:t>Neemann</a:t>
            </a:r>
            <a:r>
              <a:rPr lang="en-US" dirty="0" smtClean="0"/>
              <a:t>, Head of Technology Management &amp; Programs</a:t>
            </a:r>
            <a:br>
              <a:rPr lang="en-US" dirty="0" smtClean="0"/>
            </a:br>
            <a:r>
              <a:rPr lang="en-US" dirty="0" smtClean="0"/>
              <a:t>Siemens AG, Wind Power &amp; Renewables Division</a:t>
            </a:r>
            <a:endParaRPr lang="en-US" dirty="0"/>
          </a:p>
        </p:txBody>
      </p:sp>
    </p:spTree>
    <p:extLst>
      <p:ext uri="{BB962C8B-B14F-4D97-AF65-F5344CB8AC3E}">
        <p14:creationId xmlns:p14="http://schemas.microsoft.com/office/powerpoint/2010/main" val="28273283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535" name="Objekt 13534" hidden="1"/>
          <p:cNvGraphicFramePr>
            <a:graphicFrameLocks noChangeAspect="1"/>
          </p:cNvGraphicFramePr>
          <p:nvPr>
            <p:custDataLst>
              <p:tags r:id="rId2"/>
            </p:custDataLst>
            <p:extLst>
              <p:ext uri="{D42A27DB-BD31-4B8C-83A1-F6EECF244321}">
                <p14:modId xmlns:p14="http://schemas.microsoft.com/office/powerpoint/2010/main" val="2739918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3534" name="Gruppieren 13533"/>
          <p:cNvGrpSpPr/>
          <p:nvPr/>
        </p:nvGrpSpPr>
        <p:grpSpPr>
          <a:xfrm>
            <a:off x="974725" y="4879976"/>
            <a:ext cx="6742113" cy="1117562"/>
            <a:chOff x="974725" y="4879976"/>
            <a:chExt cx="6742113" cy="1117562"/>
          </a:xfrm>
        </p:grpSpPr>
        <p:sp>
          <p:nvSpPr>
            <p:cNvPr id="13438" name="Freeform 159"/>
            <p:cNvSpPr>
              <a:spLocks/>
            </p:cNvSpPr>
            <p:nvPr/>
          </p:nvSpPr>
          <p:spPr bwMode="auto">
            <a:xfrm>
              <a:off x="974725" y="4879976"/>
              <a:ext cx="6742113" cy="234950"/>
            </a:xfrm>
            <a:custGeom>
              <a:avLst/>
              <a:gdLst>
                <a:gd name="T0" fmla="*/ 86 w 4247"/>
                <a:gd name="T1" fmla="*/ 82 h 148"/>
                <a:gd name="T2" fmla="*/ 255 w 4247"/>
                <a:gd name="T3" fmla="*/ 82 h 148"/>
                <a:gd name="T4" fmla="*/ 425 w 4247"/>
                <a:gd name="T5" fmla="*/ 82 h 148"/>
                <a:gd name="T6" fmla="*/ 595 w 4247"/>
                <a:gd name="T7" fmla="*/ 82 h 148"/>
                <a:gd name="T8" fmla="*/ 765 w 4247"/>
                <a:gd name="T9" fmla="*/ 82 h 148"/>
                <a:gd name="T10" fmla="*/ 935 w 4247"/>
                <a:gd name="T11" fmla="*/ 82 h 148"/>
                <a:gd name="T12" fmla="*/ 1104 w 4247"/>
                <a:gd name="T13" fmla="*/ 82 h 148"/>
                <a:gd name="T14" fmla="*/ 1274 w 4247"/>
                <a:gd name="T15" fmla="*/ 82 h 148"/>
                <a:gd name="T16" fmla="*/ 1444 w 4247"/>
                <a:gd name="T17" fmla="*/ 82 h 148"/>
                <a:gd name="T18" fmla="*/ 1614 w 4247"/>
                <a:gd name="T19" fmla="*/ 82 h 148"/>
                <a:gd name="T20" fmla="*/ 1784 w 4247"/>
                <a:gd name="T21" fmla="*/ 82 h 148"/>
                <a:gd name="T22" fmla="*/ 1954 w 4247"/>
                <a:gd name="T23" fmla="*/ 82 h 148"/>
                <a:gd name="T24" fmla="*/ 2124 w 4247"/>
                <a:gd name="T25" fmla="*/ 82 h 148"/>
                <a:gd name="T26" fmla="*/ 2294 w 4247"/>
                <a:gd name="T27" fmla="*/ 82 h 148"/>
                <a:gd name="T28" fmla="*/ 2463 w 4247"/>
                <a:gd name="T29" fmla="*/ 82 h 148"/>
                <a:gd name="T30" fmla="*/ 2633 w 4247"/>
                <a:gd name="T31" fmla="*/ 76 h 148"/>
                <a:gd name="T32" fmla="*/ 2803 w 4247"/>
                <a:gd name="T33" fmla="*/ 71 h 148"/>
                <a:gd name="T34" fmla="*/ 2973 w 4247"/>
                <a:gd name="T35" fmla="*/ 67 h 148"/>
                <a:gd name="T36" fmla="*/ 3143 w 4247"/>
                <a:gd name="T37" fmla="*/ 79 h 148"/>
                <a:gd name="T38" fmla="*/ 3313 w 4247"/>
                <a:gd name="T39" fmla="*/ 92 h 148"/>
                <a:gd name="T40" fmla="*/ 3483 w 4247"/>
                <a:gd name="T41" fmla="*/ 79 h 148"/>
                <a:gd name="T42" fmla="*/ 3653 w 4247"/>
                <a:gd name="T43" fmla="*/ 40 h 148"/>
                <a:gd name="T44" fmla="*/ 3822 w 4247"/>
                <a:gd name="T45" fmla="*/ 0 h 148"/>
                <a:gd name="T46" fmla="*/ 3992 w 4247"/>
                <a:gd name="T47" fmla="*/ 1 h 148"/>
                <a:gd name="T48" fmla="*/ 4162 w 4247"/>
                <a:gd name="T49" fmla="*/ 2 h 148"/>
                <a:gd name="T50" fmla="*/ 4247 w 4247"/>
                <a:gd name="T51" fmla="*/ 61 h 148"/>
                <a:gd name="T52" fmla="*/ 4077 w 4247"/>
                <a:gd name="T53" fmla="*/ 70 h 148"/>
                <a:gd name="T54" fmla="*/ 3907 w 4247"/>
                <a:gd name="T55" fmla="*/ 78 h 148"/>
                <a:gd name="T56" fmla="*/ 3737 w 4247"/>
                <a:gd name="T57" fmla="*/ 88 h 148"/>
                <a:gd name="T58" fmla="*/ 3567 w 4247"/>
                <a:gd name="T59" fmla="*/ 98 h 148"/>
                <a:gd name="T60" fmla="*/ 3398 w 4247"/>
                <a:gd name="T61" fmla="*/ 108 h 148"/>
                <a:gd name="T62" fmla="*/ 3228 w 4247"/>
                <a:gd name="T63" fmla="*/ 124 h 148"/>
                <a:gd name="T64" fmla="*/ 3058 w 4247"/>
                <a:gd name="T65" fmla="*/ 140 h 148"/>
                <a:gd name="T66" fmla="*/ 2888 w 4247"/>
                <a:gd name="T67" fmla="*/ 135 h 148"/>
                <a:gd name="T68" fmla="*/ 2718 w 4247"/>
                <a:gd name="T69" fmla="*/ 108 h 148"/>
                <a:gd name="T70" fmla="*/ 2548 w 4247"/>
                <a:gd name="T71" fmla="*/ 82 h 148"/>
                <a:gd name="T72" fmla="*/ 2379 w 4247"/>
                <a:gd name="T73" fmla="*/ 82 h 148"/>
                <a:gd name="T74" fmla="*/ 2209 w 4247"/>
                <a:gd name="T75" fmla="*/ 82 h 148"/>
                <a:gd name="T76" fmla="*/ 2039 w 4247"/>
                <a:gd name="T77" fmla="*/ 82 h 148"/>
                <a:gd name="T78" fmla="*/ 1869 w 4247"/>
                <a:gd name="T79" fmla="*/ 82 h 148"/>
                <a:gd name="T80" fmla="*/ 1699 w 4247"/>
                <a:gd name="T81" fmla="*/ 82 h 148"/>
                <a:gd name="T82" fmla="*/ 1529 w 4247"/>
                <a:gd name="T83" fmla="*/ 82 h 148"/>
                <a:gd name="T84" fmla="*/ 1359 w 4247"/>
                <a:gd name="T85" fmla="*/ 82 h 148"/>
                <a:gd name="T86" fmla="*/ 1190 w 4247"/>
                <a:gd name="T87" fmla="*/ 82 h 148"/>
                <a:gd name="T88" fmla="*/ 1020 w 4247"/>
                <a:gd name="T89" fmla="*/ 82 h 148"/>
                <a:gd name="T90" fmla="*/ 850 w 4247"/>
                <a:gd name="T91" fmla="*/ 82 h 148"/>
                <a:gd name="T92" fmla="*/ 680 w 4247"/>
                <a:gd name="T93" fmla="*/ 82 h 148"/>
                <a:gd name="T94" fmla="*/ 510 w 4247"/>
                <a:gd name="T95" fmla="*/ 82 h 148"/>
                <a:gd name="T96" fmla="*/ 340 w 4247"/>
                <a:gd name="T97" fmla="*/ 82 h 148"/>
                <a:gd name="T98" fmla="*/ 170 w 4247"/>
                <a:gd name="T99" fmla="*/ 82 h 148"/>
                <a:gd name="T100" fmla="*/ 0 w 4247"/>
                <a:gd name="T101" fmla="*/ 8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47" h="148">
                  <a:moveTo>
                    <a:pt x="0" y="82"/>
                  </a:moveTo>
                  <a:lnTo>
                    <a:pt x="86" y="82"/>
                  </a:lnTo>
                  <a:lnTo>
                    <a:pt x="170" y="82"/>
                  </a:lnTo>
                  <a:lnTo>
                    <a:pt x="255" y="82"/>
                  </a:lnTo>
                  <a:lnTo>
                    <a:pt x="340" y="82"/>
                  </a:lnTo>
                  <a:lnTo>
                    <a:pt x="425" y="82"/>
                  </a:lnTo>
                  <a:lnTo>
                    <a:pt x="510" y="82"/>
                  </a:lnTo>
                  <a:lnTo>
                    <a:pt x="595" y="82"/>
                  </a:lnTo>
                  <a:lnTo>
                    <a:pt x="680" y="82"/>
                  </a:lnTo>
                  <a:lnTo>
                    <a:pt x="765" y="82"/>
                  </a:lnTo>
                  <a:lnTo>
                    <a:pt x="850" y="82"/>
                  </a:lnTo>
                  <a:lnTo>
                    <a:pt x="935" y="82"/>
                  </a:lnTo>
                  <a:lnTo>
                    <a:pt x="1020" y="82"/>
                  </a:lnTo>
                  <a:lnTo>
                    <a:pt x="1104" y="82"/>
                  </a:lnTo>
                  <a:lnTo>
                    <a:pt x="1190" y="82"/>
                  </a:lnTo>
                  <a:lnTo>
                    <a:pt x="1274" y="82"/>
                  </a:lnTo>
                  <a:lnTo>
                    <a:pt x="1359" y="82"/>
                  </a:lnTo>
                  <a:lnTo>
                    <a:pt x="1444" y="82"/>
                  </a:lnTo>
                  <a:lnTo>
                    <a:pt x="1529" y="82"/>
                  </a:lnTo>
                  <a:lnTo>
                    <a:pt x="1614" y="82"/>
                  </a:lnTo>
                  <a:lnTo>
                    <a:pt x="1699" y="82"/>
                  </a:lnTo>
                  <a:lnTo>
                    <a:pt x="1784" y="82"/>
                  </a:lnTo>
                  <a:lnTo>
                    <a:pt x="1869" y="82"/>
                  </a:lnTo>
                  <a:lnTo>
                    <a:pt x="1954" y="82"/>
                  </a:lnTo>
                  <a:lnTo>
                    <a:pt x="2039" y="82"/>
                  </a:lnTo>
                  <a:lnTo>
                    <a:pt x="2124" y="82"/>
                  </a:lnTo>
                  <a:lnTo>
                    <a:pt x="2209" y="82"/>
                  </a:lnTo>
                  <a:lnTo>
                    <a:pt x="2294" y="82"/>
                  </a:lnTo>
                  <a:lnTo>
                    <a:pt x="2379" y="82"/>
                  </a:lnTo>
                  <a:lnTo>
                    <a:pt x="2463" y="82"/>
                  </a:lnTo>
                  <a:lnTo>
                    <a:pt x="2548" y="78"/>
                  </a:lnTo>
                  <a:lnTo>
                    <a:pt x="2633" y="76"/>
                  </a:lnTo>
                  <a:lnTo>
                    <a:pt x="2718" y="74"/>
                  </a:lnTo>
                  <a:lnTo>
                    <a:pt x="2803" y="71"/>
                  </a:lnTo>
                  <a:lnTo>
                    <a:pt x="2888" y="69"/>
                  </a:lnTo>
                  <a:lnTo>
                    <a:pt x="2973" y="67"/>
                  </a:lnTo>
                  <a:lnTo>
                    <a:pt x="3058" y="73"/>
                  </a:lnTo>
                  <a:lnTo>
                    <a:pt x="3143" y="79"/>
                  </a:lnTo>
                  <a:lnTo>
                    <a:pt x="3228" y="86"/>
                  </a:lnTo>
                  <a:lnTo>
                    <a:pt x="3313" y="92"/>
                  </a:lnTo>
                  <a:lnTo>
                    <a:pt x="3398" y="98"/>
                  </a:lnTo>
                  <a:lnTo>
                    <a:pt x="3483" y="79"/>
                  </a:lnTo>
                  <a:lnTo>
                    <a:pt x="3567" y="59"/>
                  </a:lnTo>
                  <a:lnTo>
                    <a:pt x="3653" y="40"/>
                  </a:lnTo>
                  <a:lnTo>
                    <a:pt x="3737" y="20"/>
                  </a:lnTo>
                  <a:lnTo>
                    <a:pt x="3822" y="0"/>
                  </a:lnTo>
                  <a:lnTo>
                    <a:pt x="3907" y="1"/>
                  </a:lnTo>
                  <a:lnTo>
                    <a:pt x="3992" y="1"/>
                  </a:lnTo>
                  <a:lnTo>
                    <a:pt x="4077" y="1"/>
                  </a:lnTo>
                  <a:lnTo>
                    <a:pt x="4162" y="2"/>
                  </a:lnTo>
                  <a:lnTo>
                    <a:pt x="4247" y="2"/>
                  </a:lnTo>
                  <a:lnTo>
                    <a:pt x="4247" y="61"/>
                  </a:lnTo>
                  <a:lnTo>
                    <a:pt x="4162" y="65"/>
                  </a:lnTo>
                  <a:lnTo>
                    <a:pt x="4077" y="70"/>
                  </a:lnTo>
                  <a:lnTo>
                    <a:pt x="3992" y="74"/>
                  </a:lnTo>
                  <a:lnTo>
                    <a:pt x="3907" y="78"/>
                  </a:lnTo>
                  <a:lnTo>
                    <a:pt x="3822" y="82"/>
                  </a:lnTo>
                  <a:lnTo>
                    <a:pt x="3737" y="88"/>
                  </a:lnTo>
                  <a:lnTo>
                    <a:pt x="3653" y="93"/>
                  </a:lnTo>
                  <a:lnTo>
                    <a:pt x="3567" y="98"/>
                  </a:lnTo>
                  <a:lnTo>
                    <a:pt x="3483" y="103"/>
                  </a:lnTo>
                  <a:lnTo>
                    <a:pt x="3398" y="108"/>
                  </a:lnTo>
                  <a:lnTo>
                    <a:pt x="3313" y="116"/>
                  </a:lnTo>
                  <a:lnTo>
                    <a:pt x="3228" y="124"/>
                  </a:lnTo>
                  <a:lnTo>
                    <a:pt x="3143" y="132"/>
                  </a:lnTo>
                  <a:lnTo>
                    <a:pt x="3058" y="140"/>
                  </a:lnTo>
                  <a:lnTo>
                    <a:pt x="2973" y="148"/>
                  </a:lnTo>
                  <a:lnTo>
                    <a:pt x="2888" y="135"/>
                  </a:lnTo>
                  <a:lnTo>
                    <a:pt x="2803" y="122"/>
                  </a:lnTo>
                  <a:lnTo>
                    <a:pt x="2718" y="108"/>
                  </a:lnTo>
                  <a:lnTo>
                    <a:pt x="2633" y="95"/>
                  </a:lnTo>
                  <a:lnTo>
                    <a:pt x="2548" y="82"/>
                  </a:lnTo>
                  <a:lnTo>
                    <a:pt x="2463" y="82"/>
                  </a:lnTo>
                  <a:lnTo>
                    <a:pt x="2379" y="82"/>
                  </a:lnTo>
                  <a:lnTo>
                    <a:pt x="2294" y="82"/>
                  </a:lnTo>
                  <a:lnTo>
                    <a:pt x="2209" y="82"/>
                  </a:lnTo>
                  <a:lnTo>
                    <a:pt x="2124" y="82"/>
                  </a:lnTo>
                  <a:lnTo>
                    <a:pt x="2039" y="82"/>
                  </a:lnTo>
                  <a:lnTo>
                    <a:pt x="1954" y="82"/>
                  </a:lnTo>
                  <a:lnTo>
                    <a:pt x="1869" y="82"/>
                  </a:lnTo>
                  <a:lnTo>
                    <a:pt x="1784" y="82"/>
                  </a:lnTo>
                  <a:lnTo>
                    <a:pt x="1699" y="82"/>
                  </a:lnTo>
                  <a:lnTo>
                    <a:pt x="1614" y="82"/>
                  </a:lnTo>
                  <a:lnTo>
                    <a:pt x="1529" y="82"/>
                  </a:lnTo>
                  <a:lnTo>
                    <a:pt x="1444" y="82"/>
                  </a:lnTo>
                  <a:lnTo>
                    <a:pt x="1359" y="82"/>
                  </a:lnTo>
                  <a:lnTo>
                    <a:pt x="1274" y="82"/>
                  </a:lnTo>
                  <a:lnTo>
                    <a:pt x="1190" y="82"/>
                  </a:lnTo>
                  <a:lnTo>
                    <a:pt x="1104" y="82"/>
                  </a:lnTo>
                  <a:lnTo>
                    <a:pt x="1020" y="82"/>
                  </a:lnTo>
                  <a:lnTo>
                    <a:pt x="935" y="82"/>
                  </a:lnTo>
                  <a:lnTo>
                    <a:pt x="850" y="82"/>
                  </a:lnTo>
                  <a:lnTo>
                    <a:pt x="765" y="82"/>
                  </a:lnTo>
                  <a:lnTo>
                    <a:pt x="680" y="82"/>
                  </a:lnTo>
                  <a:lnTo>
                    <a:pt x="595" y="82"/>
                  </a:lnTo>
                  <a:lnTo>
                    <a:pt x="510" y="82"/>
                  </a:lnTo>
                  <a:lnTo>
                    <a:pt x="425" y="82"/>
                  </a:lnTo>
                  <a:lnTo>
                    <a:pt x="340" y="82"/>
                  </a:lnTo>
                  <a:lnTo>
                    <a:pt x="255" y="82"/>
                  </a:lnTo>
                  <a:lnTo>
                    <a:pt x="170" y="82"/>
                  </a:lnTo>
                  <a:lnTo>
                    <a:pt x="86" y="82"/>
                  </a:lnTo>
                  <a:lnTo>
                    <a:pt x="0" y="82"/>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Textfeld 248"/>
            <p:cNvSpPr txBox="1"/>
            <p:nvPr/>
          </p:nvSpPr>
          <p:spPr>
            <a:xfrm>
              <a:off x="6372200" y="5083138"/>
              <a:ext cx="914400" cy="914400"/>
            </a:xfrm>
            <a:prstGeom prst="rect">
              <a:avLst/>
            </a:prstGeom>
            <a:noFill/>
          </p:spPr>
          <p:txBody>
            <a:bodyPr wrap="none" lIns="0" tIns="0" rIns="0" bIns="0" rtlCol="0">
              <a:noAutofit/>
            </a:bodyPr>
            <a:lstStyle/>
            <a:p>
              <a:pPr>
                <a:lnSpc>
                  <a:spcPct val="110000"/>
                </a:lnSpc>
                <a:spcBef>
                  <a:spcPts val="0"/>
                </a:spcBef>
              </a:pPr>
              <a:r>
                <a:rPr lang="de-DE" sz="1200" b="1" dirty="0" smtClean="0">
                  <a:solidFill>
                    <a:srgbClr val="818066"/>
                  </a:solidFill>
                </a:rPr>
                <a:t>Variable </a:t>
              </a:r>
              <a:r>
                <a:rPr lang="de-DE" sz="1200" b="1" dirty="0" err="1" smtClean="0">
                  <a:solidFill>
                    <a:srgbClr val="818066"/>
                  </a:solidFill>
                </a:rPr>
                <a:t>costs</a:t>
              </a:r>
              <a:r>
                <a:rPr lang="de-DE" sz="1200" b="1" dirty="0" smtClean="0">
                  <a:solidFill>
                    <a:srgbClr val="818066"/>
                  </a:solidFill>
                </a:rPr>
                <a:t> fossil </a:t>
              </a:r>
              <a:r>
                <a:rPr lang="de-DE" sz="1200" b="1" dirty="0" err="1" smtClean="0">
                  <a:solidFill>
                    <a:srgbClr val="818066"/>
                  </a:solidFill>
                </a:rPr>
                <a:t>fuels</a:t>
              </a:r>
              <a:r>
                <a:rPr lang="de-DE" sz="1200" b="1" dirty="0" smtClean="0">
                  <a:solidFill>
                    <a:srgbClr val="818066"/>
                  </a:solidFill>
                </a:rPr>
                <a:t> (</a:t>
              </a:r>
              <a:r>
                <a:rPr lang="de-DE" sz="1200" b="1" dirty="0" err="1" smtClean="0">
                  <a:solidFill>
                    <a:srgbClr val="818066"/>
                  </a:solidFill>
                </a:rPr>
                <a:t>coal</a:t>
              </a:r>
              <a:r>
                <a:rPr lang="de-DE" sz="1200" b="1" dirty="0" smtClean="0">
                  <a:solidFill>
                    <a:srgbClr val="818066"/>
                  </a:solidFill>
                </a:rPr>
                <a:t> gas)</a:t>
              </a:r>
              <a:endParaRPr lang="en-GB" sz="1200" b="1" dirty="0" err="1" smtClean="0">
                <a:solidFill>
                  <a:srgbClr val="818066"/>
                </a:solidFill>
              </a:endParaRPr>
            </a:p>
          </p:txBody>
        </p:sp>
        <p:cxnSp>
          <p:nvCxnSpPr>
            <p:cNvPr id="13531" name="Gerade Verbindung 13530"/>
            <p:cNvCxnSpPr/>
            <p:nvPr/>
          </p:nvCxnSpPr>
          <p:spPr bwMode="auto">
            <a:xfrm>
              <a:off x="6889750" y="4978401"/>
              <a:ext cx="58514" cy="112712"/>
            </a:xfrm>
            <a:prstGeom prst="line">
              <a:avLst/>
            </a:prstGeom>
            <a:solidFill>
              <a:schemeClr val="tx2"/>
            </a:solidFill>
            <a:ln w="9525" cap="flat" cmpd="sng" algn="ctr">
              <a:solidFill>
                <a:srgbClr val="81806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3533" name="Gruppieren 13532"/>
          <p:cNvGrpSpPr/>
          <p:nvPr/>
        </p:nvGrpSpPr>
        <p:grpSpPr>
          <a:xfrm>
            <a:off x="976313" y="4386808"/>
            <a:ext cx="6745288" cy="491580"/>
            <a:chOff x="976313" y="4386808"/>
            <a:chExt cx="6745288" cy="491580"/>
          </a:xfrm>
        </p:grpSpPr>
        <p:sp>
          <p:nvSpPr>
            <p:cNvPr id="13416" name="Freeform 137"/>
            <p:cNvSpPr>
              <a:spLocks/>
            </p:cNvSpPr>
            <p:nvPr/>
          </p:nvSpPr>
          <p:spPr bwMode="auto">
            <a:xfrm>
              <a:off x="976313" y="4649788"/>
              <a:ext cx="6745288" cy="228600"/>
            </a:xfrm>
            <a:custGeom>
              <a:avLst/>
              <a:gdLst>
                <a:gd name="T0" fmla="*/ 85 w 4249"/>
                <a:gd name="T1" fmla="*/ 123 h 144"/>
                <a:gd name="T2" fmla="*/ 255 w 4249"/>
                <a:gd name="T3" fmla="*/ 123 h 144"/>
                <a:gd name="T4" fmla="*/ 425 w 4249"/>
                <a:gd name="T5" fmla="*/ 123 h 144"/>
                <a:gd name="T6" fmla="*/ 594 w 4249"/>
                <a:gd name="T7" fmla="*/ 123 h 144"/>
                <a:gd name="T8" fmla="*/ 765 w 4249"/>
                <a:gd name="T9" fmla="*/ 123 h 144"/>
                <a:gd name="T10" fmla="*/ 935 w 4249"/>
                <a:gd name="T11" fmla="*/ 123 h 144"/>
                <a:gd name="T12" fmla="*/ 1104 w 4249"/>
                <a:gd name="T13" fmla="*/ 123 h 144"/>
                <a:gd name="T14" fmla="*/ 1275 w 4249"/>
                <a:gd name="T15" fmla="*/ 123 h 144"/>
                <a:gd name="T16" fmla="*/ 1444 w 4249"/>
                <a:gd name="T17" fmla="*/ 123 h 144"/>
                <a:gd name="T18" fmla="*/ 1614 w 4249"/>
                <a:gd name="T19" fmla="*/ 123 h 144"/>
                <a:gd name="T20" fmla="*/ 1784 w 4249"/>
                <a:gd name="T21" fmla="*/ 123 h 144"/>
                <a:gd name="T22" fmla="*/ 1954 w 4249"/>
                <a:gd name="T23" fmla="*/ 123 h 144"/>
                <a:gd name="T24" fmla="*/ 2124 w 4249"/>
                <a:gd name="T25" fmla="*/ 123 h 144"/>
                <a:gd name="T26" fmla="*/ 2294 w 4249"/>
                <a:gd name="T27" fmla="*/ 123 h 144"/>
                <a:gd name="T28" fmla="*/ 2464 w 4249"/>
                <a:gd name="T29" fmla="*/ 123 h 144"/>
                <a:gd name="T30" fmla="*/ 2634 w 4249"/>
                <a:gd name="T31" fmla="*/ 34 h 144"/>
                <a:gd name="T32" fmla="*/ 2804 w 4249"/>
                <a:gd name="T33" fmla="*/ 61 h 144"/>
                <a:gd name="T34" fmla="*/ 2974 w 4249"/>
                <a:gd name="T35" fmla="*/ 87 h 144"/>
                <a:gd name="T36" fmla="*/ 3144 w 4249"/>
                <a:gd name="T37" fmla="*/ 71 h 144"/>
                <a:gd name="T38" fmla="*/ 3314 w 4249"/>
                <a:gd name="T39" fmla="*/ 56 h 144"/>
                <a:gd name="T40" fmla="*/ 3484 w 4249"/>
                <a:gd name="T41" fmla="*/ 42 h 144"/>
                <a:gd name="T42" fmla="*/ 3654 w 4249"/>
                <a:gd name="T43" fmla="*/ 32 h 144"/>
                <a:gd name="T44" fmla="*/ 3824 w 4249"/>
                <a:gd name="T45" fmla="*/ 22 h 144"/>
                <a:gd name="T46" fmla="*/ 3994 w 4249"/>
                <a:gd name="T47" fmla="*/ 13 h 144"/>
                <a:gd name="T48" fmla="*/ 4164 w 4249"/>
                <a:gd name="T49" fmla="*/ 4 h 144"/>
                <a:gd name="T50" fmla="*/ 4249 w 4249"/>
                <a:gd name="T51" fmla="*/ 48 h 144"/>
                <a:gd name="T52" fmla="*/ 4079 w 4249"/>
                <a:gd name="T53" fmla="*/ 47 h 144"/>
                <a:gd name="T54" fmla="*/ 3909 w 4249"/>
                <a:gd name="T55" fmla="*/ 46 h 144"/>
                <a:gd name="T56" fmla="*/ 3739 w 4249"/>
                <a:gd name="T57" fmla="*/ 65 h 144"/>
                <a:gd name="T58" fmla="*/ 3569 w 4249"/>
                <a:gd name="T59" fmla="*/ 104 h 144"/>
                <a:gd name="T60" fmla="*/ 3399 w 4249"/>
                <a:gd name="T61" fmla="*/ 144 h 144"/>
                <a:gd name="T62" fmla="*/ 3229 w 4249"/>
                <a:gd name="T63" fmla="*/ 131 h 144"/>
                <a:gd name="T64" fmla="*/ 3059 w 4249"/>
                <a:gd name="T65" fmla="*/ 119 h 144"/>
                <a:gd name="T66" fmla="*/ 2889 w 4249"/>
                <a:gd name="T67" fmla="*/ 114 h 144"/>
                <a:gd name="T68" fmla="*/ 2719 w 4249"/>
                <a:gd name="T69" fmla="*/ 119 h 144"/>
                <a:gd name="T70" fmla="*/ 2549 w 4249"/>
                <a:gd name="T71" fmla="*/ 123 h 144"/>
                <a:gd name="T72" fmla="*/ 2379 w 4249"/>
                <a:gd name="T73" fmla="*/ 123 h 144"/>
                <a:gd name="T74" fmla="*/ 2209 w 4249"/>
                <a:gd name="T75" fmla="*/ 123 h 144"/>
                <a:gd name="T76" fmla="*/ 2039 w 4249"/>
                <a:gd name="T77" fmla="*/ 123 h 144"/>
                <a:gd name="T78" fmla="*/ 1869 w 4249"/>
                <a:gd name="T79" fmla="*/ 123 h 144"/>
                <a:gd name="T80" fmla="*/ 1699 w 4249"/>
                <a:gd name="T81" fmla="*/ 123 h 144"/>
                <a:gd name="T82" fmla="*/ 1530 w 4249"/>
                <a:gd name="T83" fmla="*/ 123 h 144"/>
                <a:gd name="T84" fmla="*/ 1359 w 4249"/>
                <a:gd name="T85" fmla="*/ 123 h 144"/>
                <a:gd name="T86" fmla="*/ 1189 w 4249"/>
                <a:gd name="T87" fmla="*/ 123 h 144"/>
                <a:gd name="T88" fmla="*/ 1020 w 4249"/>
                <a:gd name="T89" fmla="*/ 123 h 144"/>
                <a:gd name="T90" fmla="*/ 849 w 4249"/>
                <a:gd name="T91" fmla="*/ 123 h 144"/>
                <a:gd name="T92" fmla="*/ 680 w 4249"/>
                <a:gd name="T93" fmla="*/ 123 h 144"/>
                <a:gd name="T94" fmla="*/ 510 w 4249"/>
                <a:gd name="T95" fmla="*/ 123 h 144"/>
                <a:gd name="T96" fmla="*/ 339 w 4249"/>
                <a:gd name="T97" fmla="*/ 123 h 144"/>
                <a:gd name="T98" fmla="*/ 170 w 4249"/>
                <a:gd name="T99" fmla="*/ 123 h 144"/>
                <a:gd name="T100" fmla="*/ 0 w 4249"/>
                <a:gd name="T101" fmla="*/ 12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49" h="144">
                  <a:moveTo>
                    <a:pt x="0" y="123"/>
                  </a:moveTo>
                  <a:lnTo>
                    <a:pt x="85" y="123"/>
                  </a:lnTo>
                  <a:lnTo>
                    <a:pt x="170" y="123"/>
                  </a:lnTo>
                  <a:lnTo>
                    <a:pt x="255" y="123"/>
                  </a:lnTo>
                  <a:lnTo>
                    <a:pt x="339" y="123"/>
                  </a:lnTo>
                  <a:lnTo>
                    <a:pt x="425" y="123"/>
                  </a:lnTo>
                  <a:lnTo>
                    <a:pt x="510" y="123"/>
                  </a:lnTo>
                  <a:lnTo>
                    <a:pt x="594" y="123"/>
                  </a:lnTo>
                  <a:lnTo>
                    <a:pt x="680" y="123"/>
                  </a:lnTo>
                  <a:lnTo>
                    <a:pt x="765" y="123"/>
                  </a:lnTo>
                  <a:lnTo>
                    <a:pt x="849" y="123"/>
                  </a:lnTo>
                  <a:lnTo>
                    <a:pt x="935" y="123"/>
                  </a:lnTo>
                  <a:lnTo>
                    <a:pt x="1020" y="123"/>
                  </a:lnTo>
                  <a:lnTo>
                    <a:pt x="1104" y="123"/>
                  </a:lnTo>
                  <a:lnTo>
                    <a:pt x="1189" y="123"/>
                  </a:lnTo>
                  <a:lnTo>
                    <a:pt x="1275" y="123"/>
                  </a:lnTo>
                  <a:lnTo>
                    <a:pt x="1359" y="123"/>
                  </a:lnTo>
                  <a:lnTo>
                    <a:pt x="1444" y="123"/>
                  </a:lnTo>
                  <a:lnTo>
                    <a:pt x="1530" y="123"/>
                  </a:lnTo>
                  <a:lnTo>
                    <a:pt x="1614" y="123"/>
                  </a:lnTo>
                  <a:lnTo>
                    <a:pt x="1699" y="123"/>
                  </a:lnTo>
                  <a:lnTo>
                    <a:pt x="1784" y="123"/>
                  </a:lnTo>
                  <a:lnTo>
                    <a:pt x="1869" y="123"/>
                  </a:lnTo>
                  <a:lnTo>
                    <a:pt x="1954" y="123"/>
                  </a:lnTo>
                  <a:lnTo>
                    <a:pt x="2039" y="123"/>
                  </a:lnTo>
                  <a:lnTo>
                    <a:pt x="2124" y="123"/>
                  </a:lnTo>
                  <a:lnTo>
                    <a:pt x="2209" y="123"/>
                  </a:lnTo>
                  <a:lnTo>
                    <a:pt x="2294" y="123"/>
                  </a:lnTo>
                  <a:lnTo>
                    <a:pt x="2379" y="123"/>
                  </a:lnTo>
                  <a:lnTo>
                    <a:pt x="2464" y="123"/>
                  </a:lnTo>
                  <a:lnTo>
                    <a:pt x="2549" y="21"/>
                  </a:lnTo>
                  <a:lnTo>
                    <a:pt x="2634" y="34"/>
                  </a:lnTo>
                  <a:lnTo>
                    <a:pt x="2719" y="48"/>
                  </a:lnTo>
                  <a:lnTo>
                    <a:pt x="2804" y="61"/>
                  </a:lnTo>
                  <a:lnTo>
                    <a:pt x="2889" y="74"/>
                  </a:lnTo>
                  <a:lnTo>
                    <a:pt x="2974" y="87"/>
                  </a:lnTo>
                  <a:lnTo>
                    <a:pt x="3059" y="79"/>
                  </a:lnTo>
                  <a:lnTo>
                    <a:pt x="3144" y="71"/>
                  </a:lnTo>
                  <a:lnTo>
                    <a:pt x="3229" y="63"/>
                  </a:lnTo>
                  <a:lnTo>
                    <a:pt x="3314" y="56"/>
                  </a:lnTo>
                  <a:lnTo>
                    <a:pt x="3399" y="47"/>
                  </a:lnTo>
                  <a:lnTo>
                    <a:pt x="3484" y="42"/>
                  </a:lnTo>
                  <a:lnTo>
                    <a:pt x="3569" y="37"/>
                  </a:lnTo>
                  <a:lnTo>
                    <a:pt x="3654" y="32"/>
                  </a:lnTo>
                  <a:lnTo>
                    <a:pt x="3739" y="27"/>
                  </a:lnTo>
                  <a:lnTo>
                    <a:pt x="3824" y="22"/>
                  </a:lnTo>
                  <a:lnTo>
                    <a:pt x="3909" y="18"/>
                  </a:lnTo>
                  <a:lnTo>
                    <a:pt x="3994" y="13"/>
                  </a:lnTo>
                  <a:lnTo>
                    <a:pt x="4079" y="9"/>
                  </a:lnTo>
                  <a:lnTo>
                    <a:pt x="4164" y="4"/>
                  </a:lnTo>
                  <a:lnTo>
                    <a:pt x="4249" y="0"/>
                  </a:lnTo>
                  <a:lnTo>
                    <a:pt x="4249" y="48"/>
                  </a:lnTo>
                  <a:lnTo>
                    <a:pt x="4164" y="47"/>
                  </a:lnTo>
                  <a:lnTo>
                    <a:pt x="4079" y="47"/>
                  </a:lnTo>
                  <a:lnTo>
                    <a:pt x="3994" y="46"/>
                  </a:lnTo>
                  <a:lnTo>
                    <a:pt x="3909" y="46"/>
                  </a:lnTo>
                  <a:lnTo>
                    <a:pt x="3824" y="46"/>
                  </a:lnTo>
                  <a:lnTo>
                    <a:pt x="3739" y="65"/>
                  </a:lnTo>
                  <a:lnTo>
                    <a:pt x="3654" y="85"/>
                  </a:lnTo>
                  <a:lnTo>
                    <a:pt x="3569" y="104"/>
                  </a:lnTo>
                  <a:lnTo>
                    <a:pt x="3484" y="124"/>
                  </a:lnTo>
                  <a:lnTo>
                    <a:pt x="3399" y="144"/>
                  </a:lnTo>
                  <a:lnTo>
                    <a:pt x="3314" y="138"/>
                  </a:lnTo>
                  <a:lnTo>
                    <a:pt x="3229" y="131"/>
                  </a:lnTo>
                  <a:lnTo>
                    <a:pt x="3144" y="125"/>
                  </a:lnTo>
                  <a:lnTo>
                    <a:pt x="3059" y="119"/>
                  </a:lnTo>
                  <a:lnTo>
                    <a:pt x="2974" y="112"/>
                  </a:lnTo>
                  <a:lnTo>
                    <a:pt x="2889" y="114"/>
                  </a:lnTo>
                  <a:lnTo>
                    <a:pt x="2804" y="117"/>
                  </a:lnTo>
                  <a:lnTo>
                    <a:pt x="2719" y="119"/>
                  </a:lnTo>
                  <a:lnTo>
                    <a:pt x="2634" y="121"/>
                  </a:lnTo>
                  <a:lnTo>
                    <a:pt x="2549" y="123"/>
                  </a:lnTo>
                  <a:lnTo>
                    <a:pt x="2464" y="123"/>
                  </a:lnTo>
                  <a:lnTo>
                    <a:pt x="2379" y="123"/>
                  </a:lnTo>
                  <a:lnTo>
                    <a:pt x="2294" y="123"/>
                  </a:lnTo>
                  <a:lnTo>
                    <a:pt x="2209" y="123"/>
                  </a:lnTo>
                  <a:lnTo>
                    <a:pt x="2124" y="123"/>
                  </a:lnTo>
                  <a:lnTo>
                    <a:pt x="2039" y="123"/>
                  </a:lnTo>
                  <a:lnTo>
                    <a:pt x="1954" y="123"/>
                  </a:lnTo>
                  <a:lnTo>
                    <a:pt x="1869" y="123"/>
                  </a:lnTo>
                  <a:lnTo>
                    <a:pt x="1784" y="123"/>
                  </a:lnTo>
                  <a:lnTo>
                    <a:pt x="1699" y="123"/>
                  </a:lnTo>
                  <a:lnTo>
                    <a:pt x="1614" y="123"/>
                  </a:lnTo>
                  <a:lnTo>
                    <a:pt x="1530" y="123"/>
                  </a:lnTo>
                  <a:lnTo>
                    <a:pt x="1444" y="123"/>
                  </a:lnTo>
                  <a:lnTo>
                    <a:pt x="1359" y="123"/>
                  </a:lnTo>
                  <a:lnTo>
                    <a:pt x="1275" y="123"/>
                  </a:lnTo>
                  <a:lnTo>
                    <a:pt x="1189" y="123"/>
                  </a:lnTo>
                  <a:lnTo>
                    <a:pt x="1104" y="123"/>
                  </a:lnTo>
                  <a:lnTo>
                    <a:pt x="1020" y="123"/>
                  </a:lnTo>
                  <a:lnTo>
                    <a:pt x="935" y="123"/>
                  </a:lnTo>
                  <a:lnTo>
                    <a:pt x="849" y="123"/>
                  </a:lnTo>
                  <a:lnTo>
                    <a:pt x="765" y="123"/>
                  </a:lnTo>
                  <a:lnTo>
                    <a:pt x="680" y="123"/>
                  </a:lnTo>
                  <a:lnTo>
                    <a:pt x="594" y="123"/>
                  </a:lnTo>
                  <a:lnTo>
                    <a:pt x="510" y="123"/>
                  </a:lnTo>
                  <a:lnTo>
                    <a:pt x="425" y="123"/>
                  </a:lnTo>
                  <a:lnTo>
                    <a:pt x="339" y="123"/>
                  </a:lnTo>
                  <a:lnTo>
                    <a:pt x="255" y="123"/>
                  </a:lnTo>
                  <a:lnTo>
                    <a:pt x="170" y="123"/>
                  </a:lnTo>
                  <a:lnTo>
                    <a:pt x="85" y="123"/>
                  </a:lnTo>
                  <a:lnTo>
                    <a:pt x="0" y="123"/>
                  </a:lnTo>
                  <a:close/>
                </a:path>
              </a:pathLst>
            </a:custGeom>
            <a:solidFill>
              <a:srgbClr val="879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28" name="Textfeld 13527"/>
            <p:cNvSpPr txBox="1"/>
            <p:nvPr/>
          </p:nvSpPr>
          <p:spPr>
            <a:xfrm>
              <a:off x="6474346" y="4386808"/>
              <a:ext cx="914400" cy="240755"/>
            </a:xfrm>
            <a:prstGeom prst="rect">
              <a:avLst/>
            </a:prstGeom>
            <a:noFill/>
          </p:spPr>
          <p:txBody>
            <a:bodyPr wrap="none" lIns="0" tIns="0" rIns="0" bIns="0" rtlCol="0">
              <a:noAutofit/>
            </a:bodyPr>
            <a:lstStyle/>
            <a:p>
              <a:pPr>
                <a:lnSpc>
                  <a:spcPct val="110000"/>
                </a:lnSpc>
                <a:spcBef>
                  <a:spcPts val="0"/>
                </a:spcBef>
              </a:pPr>
              <a:r>
                <a:rPr lang="de-DE" sz="1200" b="1" dirty="0" smtClean="0">
                  <a:solidFill>
                    <a:schemeClr val="accent1">
                      <a:lumMod val="75000"/>
                    </a:schemeClr>
                  </a:solidFill>
                </a:rPr>
                <a:t>LCOE </a:t>
              </a:r>
              <a:r>
                <a:rPr lang="de-DE" sz="1200" b="1" dirty="0" err="1" smtClean="0">
                  <a:solidFill>
                    <a:schemeClr val="accent1">
                      <a:lumMod val="75000"/>
                    </a:schemeClr>
                  </a:solidFill>
                </a:rPr>
                <a:t>range</a:t>
              </a:r>
              <a:r>
                <a:rPr lang="de-DE" sz="1200" b="1" dirty="0" smtClean="0">
                  <a:solidFill>
                    <a:schemeClr val="accent1">
                      <a:lumMod val="75000"/>
                    </a:schemeClr>
                  </a:solidFill>
                </a:rPr>
                <a:t> fossil </a:t>
              </a:r>
              <a:r>
                <a:rPr lang="de-DE" sz="1200" b="1" dirty="0" err="1" smtClean="0">
                  <a:solidFill>
                    <a:schemeClr val="accent1">
                      <a:lumMod val="75000"/>
                    </a:schemeClr>
                  </a:solidFill>
                </a:rPr>
                <a:t>fuels</a:t>
              </a:r>
              <a:r>
                <a:rPr lang="de-DE" sz="1200" b="1" dirty="0" smtClean="0">
                  <a:solidFill>
                    <a:schemeClr val="accent1">
                      <a:lumMod val="75000"/>
                    </a:schemeClr>
                  </a:solidFill>
                </a:rPr>
                <a:t> (</a:t>
              </a:r>
              <a:r>
                <a:rPr lang="de-DE" sz="1200" b="1" dirty="0" err="1" smtClean="0">
                  <a:solidFill>
                    <a:schemeClr val="accent1">
                      <a:lumMod val="75000"/>
                    </a:schemeClr>
                  </a:solidFill>
                </a:rPr>
                <a:t>coal</a:t>
              </a:r>
              <a:r>
                <a:rPr lang="de-DE" sz="1200" b="1" dirty="0" smtClean="0">
                  <a:solidFill>
                    <a:schemeClr val="accent1">
                      <a:lumMod val="75000"/>
                    </a:schemeClr>
                  </a:solidFill>
                </a:rPr>
                <a:t>/gas)</a:t>
              </a:r>
              <a:endParaRPr lang="en-GB" sz="1200" b="1" dirty="0" err="1" smtClean="0">
                <a:solidFill>
                  <a:schemeClr val="accent1">
                    <a:lumMod val="75000"/>
                  </a:schemeClr>
                </a:solidFill>
              </a:endParaRPr>
            </a:p>
          </p:txBody>
        </p:sp>
        <p:cxnSp>
          <p:nvCxnSpPr>
            <p:cNvPr id="253" name="Gerade Verbindung 252"/>
            <p:cNvCxnSpPr/>
            <p:nvPr/>
          </p:nvCxnSpPr>
          <p:spPr bwMode="auto">
            <a:xfrm flipH="1">
              <a:off x="6843490" y="4581526"/>
              <a:ext cx="20860" cy="150812"/>
            </a:xfrm>
            <a:prstGeom prst="line">
              <a:avLst/>
            </a:prstGeom>
            <a:solidFill>
              <a:schemeClr val="tx2"/>
            </a:solidFill>
            <a:ln w="9525"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 name="Titel 1"/>
          <p:cNvSpPr>
            <a:spLocks noGrp="1"/>
          </p:cNvSpPr>
          <p:nvPr>
            <p:ph type="title"/>
          </p:nvPr>
        </p:nvSpPr>
        <p:spPr/>
        <p:txBody>
          <a:bodyPr/>
          <a:lstStyle/>
          <a:p>
            <a:r>
              <a:rPr lang="de-DE" dirty="0" smtClean="0"/>
              <a:t>Wind power </a:t>
            </a:r>
            <a:r>
              <a:rPr lang="de-DE" dirty="0" err="1" smtClean="0"/>
              <a:t>has</a:t>
            </a:r>
            <a:r>
              <a:rPr lang="de-DE" dirty="0" smtClean="0"/>
              <a:t> </a:t>
            </a:r>
            <a:r>
              <a:rPr lang="de-DE" dirty="0" err="1" smtClean="0"/>
              <a:t>proven</a:t>
            </a:r>
            <a:r>
              <a:rPr lang="de-DE" dirty="0" smtClean="0"/>
              <a:t> ist </a:t>
            </a:r>
            <a:r>
              <a:rPr lang="de-DE" dirty="0" err="1" smtClean="0"/>
              <a:t>ability</a:t>
            </a:r>
            <a:r>
              <a:rPr lang="de-DE" dirty="0" smtClean="0"/>
              <a:t> </a:t>
            </a:r>
            <a:r>
              <a:rPr lang="de-DE" dirty="0" err="1" smtClean="0"/>
              <a:t>to</a:t>
            </a:r>
            <a:r>
              <a:rPr lang="de-DE" dirty="0" smtClean="0"/>
              <a:t> bring down </a:t>
            </a:r>
            <a:r>
              <a:rPr lang="de-DE" dirty="0" err="1" smtClean="0"/>
              <a:t>costs</a:t>
            </a:r>
            <a:r>
              <a:rPr lang="de-DE" dirty="0" smtClean="0"/>
              <a:t>. But </a:t>
            </a:r>
            <a:r>
              <a:rPr lang="de-DE" dirty="0" err="1" smtClean="0"/>
              <a:t>the</a:t>
            </a:r>
            <a:r>
              <a:rPr lang="de-DE" dirty="0" smtClean="0"/>
              <a:t> real </a:t>
            </a:r>
            <a:r>
              <a:rPr lang="de-DE" dirty="0" err="1" smtClean="0"/>
              <a:t>disruptive</a:t>
            </a:r>
            <a:r>
              <a:rPr lang="de-DE" dirty="0" smtClean="0"/>
              <a:t> </a:t>
            </a:r>
            <a:r>
              <a:rPr lang="de-DE" dirty="0" err="1" smtClean="0"/>
              <a:t>part</a:t>
            </a:r>
            <a:r>
              <a:rPr lang="de-DE" dirty="0" smtClean="0"/>
              <a:t> </a:t>
            </a:r>
            <a:r>
              <a:rPr lang="de-DE" dirty="0" err="1" smtClean="0"/>
              <a:t>is</a:t>
            </a:r>
            <a:r>
              <a:rPr lang="de-DE" dirty="0" smtClean="0"/>
              <a:t> still </a:t>
            </a:r>
            <a:r>
              <a:rPr lang="de-DE" dirty="0" err="1" smtClean="0"/>
              <a:t>to</a:t>
            </a:r>
            <a:r>
              <a:rPr lang="de-DE" dirty="0" smtClean="0"/>
              <a:t> </a:t>
            </a:r>
            <a:r>
              <a:rPr lang="de-DE" dirty="0" err="1" smtClean="0"/>
              <a:t>come</a:t>
            </a:r>
            <a:r>
              <a:rPr lang="de-DE" dirty="0" smtClean="0"/>
              <a:t>!</a:t>
            </a:r>
            <a:endParaRPr lang="en-GB" dirty="0"/>
          </a:p>
        </p:txBody>
      </p:sp>
      <p:sp>
        <p:nvSpPr>
          <p:cNvPr id="13411" name="Rectangle 132"/>
          <p:cNvSpPr>
            <a:spLocks noChangeArrowheads="1"/>
          </p:cNvSpPr>
          <p:nvPr/>
        </p:nvSpPr>
        <p:spPr bwMode="auto">
          <a:xfrm>
            <a:off x="1023938" y="1430338"/>
            <a:ext cx="5761038"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500" b="1" i="0" u="none" strike="noStrike" cap="none" normalizeH="0" baseline="0" smtClean="0">
                <a:ln>
                  <a:noFill/>
                </a:ln>
                <a:solidFill>
                  <a:srgbClr val="EB780A"/>
                </a:solidFill>
                <a:effectLst/>
                <a:latin typeface="Arial" pitchFamily="34" charset="0"/>
                <a:cs typeface="Arial" pitchFamily="34" charset="0"/>
              </a:rPr>
              <a:t>Learning curve: Onshore Levelised Cost of Electricity (LCOE)</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12" name="Rectangle 133"/>
          <p:cNvSpPr>
            <a:spLocks noChangeArrowheads="1"/>
          </p:cNvSpPr>
          <p:nvPr/>
        </p:nvSpPr>
        <p:spPr bwMode="auto">
          <a:xfrm>
            <a:off x="1023938" y="1685926"/>
            <a:ext cx="10033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500" b="0" i="0" u="none" strike="noStrike" cap="none" normalizeH="0" baseline="0" smtClean="0">
                <a:ln>
                  <a:noFill/>
                </a:ln>
                <a:solidFill>
                  <a:srgbClr val="EB780A"/>
                </a:solidFill>
                <a:effectLst/>
                <a:latin typeface="Arial" pitchFamily="34" charset="0"/>
                <a:cs typeface="Arial" pitchFamily="34" charset="0"/>
              </a:rPr>
              <a:t>EUR/MWh</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13" name="Rectangle 134"/>
          <p:cNvSpPr>
            <a:spLocks noChangeArrowheads="1"/>
          </p:cNvSpPr>
          <p:nvPr/>
        </p:nvSpPr>
        <p:spPr bwMode="auto">
          <a:xfrm>
            <a:off x="1016000" y="5961063"/>
            <a:ext cx="357188"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00000"/>
                </a:solidFill>
                <a:effectLst/>
                <a:latin typeface="Arial" pitchFamily="34" charset="0"/>
                <a:cs typeface="Arial" pitchFamily="34" charset="0"/>
              </a:rPr>
              <a:t>GW</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14" name="Rectangle 135"/>
          <p:cNvSpPr>
            <a:spLocks noChangeArrowheads="1"/>
          </p:cNvSpPr>
          <p:nvPr/>
        </p:nvSpPr>
        <p:spPr bwMode="auto">
          <a:xfrm>
            <a:off x="1016000" y="5751513"/>
            <a:ext cx="261937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000000"/>
                </a:solidFill>
                <a:effectLst/>
                <a:latin typeface="Arial" pitchFamily="34" charset="0"/>
                <a:cs typeface="Arial" pitchFamily="34" charset="0"/>
              </a:rPr>
              <a:t>Annual installations actuals and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15" name="Rectangle 136"/>
          <p:cNvSpPr>
            <a:spLocks noChangeArrowheads="1"/>
          </p:cNvSpPr>
          <p:nvPr/>
        </p:nvSpPr>
        <p:spPr bwMode="auto">
          <a:xfrm>
            <a:off x="3559175" y="5751513"/>
            <a:ext cx="70802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505A64"/>
                </a:solidFill>
                <a:effectLst/>
                <a:latin typeface="Arial" pitchFamily="34" charset="0"/>
                <a:cs typeface="Arial" pitchFamily="34" charset="0"/>
              </a:rPr>
              <a:t>forecast</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17" name="Rectangle 138"/>
          <p:cNvSpPr>
            <a:spLocks noChangeArrowheads="1"/>
          </p:cNvSpPr>
          <p:nvPr/>
        </p:nvSpPr>
        <p:spPr bwMode="auto">
          <a:xfrm>
            <a:off x="974725" y="2152651"/>
            <a:ext cx="6350" cy="3163888"/>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18" name="Freeform 139"/>
          <p:cNvSpPr>
            <a:spLocks noEditPoints="1"/>
          </p:cNvSpPr>
          <p:nvPr/>
        </p:nvSpPr>
        <p:spPr bwMode="auto">
          <a:xfrm>
            <a:off x="931863" y="2149476"/>
            <a:ext cx="46038" cy="3170238"/>
          </a:xfrm>
          <a:custGeom>
            <a:avLst/>
            <a:gdLst>
              <a:gd name="T0" fmla="*/ 0 w 29"/>
              <a:gd name="T1" fmla="*/ 1992 h 1997"/>
              <a:gd name="T2" fmla="*/ 29 w 29"/>
              <a:gd name="T3" fmla="*/ 1992 h 1997"/>
              <a:gd name="T4" fmla="*/ 29 w 29"/>
              <a:gd name="T5" fmla="*/ 1997 h 1997"/>
              <a:gd name="T6" fmla="*/ 0 w 29"/>
              <a:gd name="T7" fmla="*/ 1997 h 1997"/>
              <a:gd name="T8" fmla="*/ 0 w 29"/>
              <a:gd name="T9" fmla="*/ 1992 h 1997"/>
              <a:gd name="T10" fmla="*/ 0 w 29"/>
              <a:gd name="T11" fmla="*/ 1708 h 1997"/>
              <a:gd name="T12" fmla="*/ 29 w 29"/>
              <a:gd name="T13" fmla="*/ 1708 h 1997"/>
              <a:gd name="T14" fmla="*/ 29 w 29"/>
              <a:gd name="T15" fmla="*/ 1713 h 1997"/>
              <a:gd name="T16" fmla="*/ 0 w 29"/>
              <a:gd name="T17" fmla="*/ 1713 h 1997"/>
              <a:gd name="T18" fmla="*/ 0 w 29"/>
              <a:gd name="T19" fmla="*/ 1708 h 1997"/>
              <a:gd name="T20" fmla="*/ 0 w 29"/>
              <a:gd name="T21" fmla="*/ 1424 h 1997"/>
              <a:gd name="T22" fmla="*/ 29 w 29"/>
              <a:gd name="T23" fmla="*/ 1424 h 1997"/>
              <a:gd name="T24" fmla="*/ 29 w 29"/>
              <a:gd name="T25" fmla="*/ 1429 h 1997"/>
              <a:gd name="T26" fmla="*/ 0 w 29"/>
              <a:gd name="T27" fmla="*/ 1429 h 1997"/>
              <a:gd name="T28" fmla="*/ 0 w 29"/>
              <a:gd name="T29" fmla="*/ 1424 h 1997"/>
              <a:gd name="T30" fmla="*/ 0 w 29"/>
              <a:gd name="T31" fmla="*/ 1140 h 1997"/>
              <a:gd name="T32" fmla="*/ 29 w 29"/>
              <a:gd name="T33" fmla="*/ 1140 h 1997"/>
              <a:gd name="T34" fmla="*/ 29 w 29"/>
              <a:gd name="T35" fmla="*/ 1145 h 1997"/>
              <a:gd name="T36" fmla="*/ 0 w 29"/>
              <a:gd name="T37" fmla="*/ 1145 h 1997"/>
              <a:gd name="T38" fmla="*/ 0 w 29"/>
              <a:gd name="T39" fmla="*/ 1140 h 1997"/>
              <a:gd name="T40" fmla="*/ 0 w 29"/>
              <a:gd name="T41" fmla="*/ 856 h 1997"/>
              <a:gd name="T42" fmla="*/ 29 w 29"/>
              <a:gd name="T43" fmla="*/ 856 h 1997"/>
              <a:gd name="T44" fmla="*/ 29 w 29"/>
              <a:gd name="T45" fmla="*/ 861 h 1997"/>
              <a:gd name="T46" fmla="*/ 0 w 29"/>
              <a:gd name="T47" fmla="*/ 861 h 1997"/>
              <a:gd name="T48" fmla="*/ 0 w 29"/>
              <a:gd name="T49" fmla="*/ 856 h 1997"/>
              <a:gd name="T50" fmla="*/ 0 w 29"/>
              <a:gd name="T51" fmla="*/ 568 h 1997"/>
              <a:gd name="T52" fmla="*/ 29 w 29"/>
              <a:gd name="T53" fmla="*/ 568 h 1997"/>
              <a:gd name="T54" fmla="*/ 29 w 29"/>
              <a:gd name="T55" fmla="*/ 572 h 1997"/>
              <a:gd name="T56" fmla="*/ 0 w 29"/>
              <a:gd name="T57" fmla="*/ 572 h 1997"/>
              <a:gd name="T58" fmla="*/ 0 w 29"/>
              <a:gd name="T59" fmla="*/ 568 h 1997"/>
              <a:gd name="T60" fmla="*/ 0 w 29"/>
              <a:gd name="T61" fmla="*/ 284 h 1997"/>
              <a:gd name="T62" fmla="*/ 29 w 29"/>
              <a:gd name="T63" fmla="*/ 284 h 1997"/>
              <a:gd name="T64" fmla="*/ 29 w 29"/>
              <a:gd name="T65" fmla="*/ 288 h 1997"/>
              <a:gd name="T66" fmla="*/ 0 w 29"/>
              <a:gd name="T67" fmla="*/ 288 h 1997"/>
              <a:gd name="T68" fmla="*/ 0 w 29"/>
              <a:gd name="T69" fmla="*/ 284 h 1997"/>
              <a:gd name="T70" fmla="*/ 0 w 29"/>
              <a:gd name="T71" fmla="*/ 0 h 1997"/>
              <a:gd name="T72" fmla="*/ 29 w 29"/>
              <a:gd name="T73" fmla="*/ 0 h 1997"/>
              <a:gd name="T74" fmla="*/ 29 w 29"/>
              <a:gd name="T75" fmla="*/ 5 h 1997"/>
              <a:gd name="T76" fmla="*/ 0 w 29"/>
              <a:gd name="T77" fmla="*/ 5 h 1997"/>
              <a:gd name="T78" fmla="*/ 0 w 29"/>
              <a:gd name="T7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1997">
                <a:moveTo>
                  <a:pt x="0" y="1992"/>
                </a:moveTo>
                <a:lnTo>
                  <a:pt x="29" y="1992"/>
                </a:lnTo>
                <a:lnTo>
                  <a:pt x="29" y="1997"/>
                </a:lnTo>
                <a:lnTo>
                  <a:pt x="0" y="1997"/>
                </a:lnTo>
                <a:lnTo>
                  <a:pt x="0" y="1992"/>
                </a:lnTo>
                <a:close/>
                <a:moveTo>
                  <a:pt x="0" y="1708"/>
                </a:moveTo>
                <a:lnTo>
                  <a:pt x="29" y="1708"/>
                </a:lnTo>
                <a:lnTo>
                  <a:pt x="29" y="1713"/>
                </a:lnTo>
                <a:lnTo>
                  <a:pt x="0" y="1713"/>
                </a:lnTo>
                <a:lnTo>
                  <a:pt x="0" y="1708"/>
                </a:lnTo>
                <a:close/>
                <a:moveTo>
                  <a:pt x="0" y="1424"/>
                </a:moveTo>
                <a:lnTo>
                  <a:pt x="29" y="1424"/>
                </a:lnTo>
                <a:lnTo>
                  <a:pt x="29" y="1429"/>
                </a:lnTo>
                <a:lnTo>
                  <a:pt x="0" y="1429"/>
                </a:lnTo>
                <a:lnTo>
                  <a:pt x="0" y="1424"/>
                </a:lnTo>
                <a:close/>
                <a:moveTo>
                  <a:pt x="0" y="1140"/>
                </a:moveTo>
                <a:lnTo>
                  <a:pt x="29" y="1140"/>
                </a:lnTo>
                <a:lnTo>
                  <a:pt x="29" y="1145"/>
                </a:lnTo>
                <a:lnTo>
                  <a:pt x="0" y="1145"/>
                </a:lnTo>
                <a:lnTo>
                  <a:pt x="0" y="1140"/>
                </a:lnTo>
                <a:close/>
                <a:moveTo>
                  <a:pt x="0" y="856"/>
                </a:moveTo>
                <a:lnTo>
                  <a:pt x="29" y="856"/>
                </a:lnTo>
                <a:lnTo>
                  <a:pt x="29" y="861"/>
                </a:lnTo>
                <a:lnTo>
                  <a:pt x="0" y="861"/>
                </a:lnTo>
                <a:lnTo>
                  <a:pt x="0" y="856"/>
                </a:lnTo>
                <a:close/>
                <a:moveTo>
                  <a:pt x="0" y="568"/>
                </a:moveTo>
                <a:lnTo>
                  <a:pt x="29" y="568"/>
                </a:lnTo>
                <a:lnTo>
                  <a:pt x="29" y="572"/>
                </a:lnTo>
                <a:lnTo>
                  <a:pt x="0" y="572"/>
                </a:lnTo>
                <a:lnTo>
                  <a:pt x="0" y="568"/>
                </a:lnTo>
                <a:close/>
                <a:moveTo>
                  <a:pt x="0" y="284"/>
                </a:moveTo>
                <a:lnTo>
                  <a:pt x="29" y="284"/>
                </a:lnTo>
                <a:lnTo>
                  <a:pt x="29" y="288"/>
                </a:lnTo>
                <a:lnTo>
                  <a:pt x="0" y="288"/>
                </a:lnTo>
                <a:lnTo>
                  <a:pt x="0" y="284"/>
                </a:lnTo>
                <a:close/>
                <a:moveTo>
                  <a:pt x="0" y="0"/>
                </a:moveTo>
                <a:lnTo>
                  <a:pt x="29" y="0"/>
                </a:lnTo>
                <a:lnTo>
                  <a:pt x="29" y="5"/>
                </a:lnTo>
                <a:lnTo>
                  <a:pt x="0" y="5"/>
                </a:lnTo>
                <a:lnTo>
                  <a:pt x="0" y="0"/>
                </a:lnTo>
                <a:close/>
              </a:path>
            </a:pathLst>
          </a:cu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19" name="Rectangle 140"/>
          <p:cNvSpPr>
            <a:spLocks noChangeArrowheads="1"/>
          </p:cNvSpPr>
          <p:nvPr/>
        </p:nvSpPr>
        <p:spPr bwMode="auto">
          <a:xfrm>
            <a:off x="774700" y="5240338"/>
            <a:ext cx="1539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0" name="Rectangle 141"/>
          <p:cNvSpPr>
            <a:spLocks noChangeArrowheads="1"/>
          </p:cNvSpPr>
          <p:nvPr/>
        </p:nvSpPr>
        <p:spPr bwMode="auto">
          <a:xfrm>
            <a:off x="693738" y="4789488"/>
            <a:ext cx="2413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1" name="Rectangle 142"/>
          <p:cNvSpPr>
            <a:spLocks noChangeArrowheads="1"/>
          </p:cNvSpPr>
          <p:nvPr/>
        </p:nvSpPr>
        <p:spPr bwMode="auto">
          <a:xfrm>
            <a:off x="612775" y="4337051"/>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2" name="Rectangle 143"/>
          <p:cNvSpPr>
            <a:spLocks noChangeArrowheads="1"/>
          </p:cNvSpPr>
          <p:nvPr/>
        </p:nvSpPr>
        <p:spPr bwMode="auto">
          <a:xfrm>
            <a:off x="612775" y="3884613"/>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3" name="Rectangle 144"/>
          <p:cNvSpPr>
            <a:spLocks noChangeArrowheads="1"/>
          </p:cNvSpPr>
          <p:nvPr/>
        </p:nvSpPr>
        <p:spPr bwMode="auto">
          <a:xfrm>
            <a:off x="612775" y="3432176"/>
            <a:ext cx="33337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4" name="Rectangle 145"/>
          <p:cNvSpPr>
            <a:spLocks noChangeArrowheads="1"/>
          </p:cNvSpPr>
          <p:nvPr/>
        </p:nvSpPr>
        <p:spPr bwMode="auto">
          <a:xfrm>
            <a:off x="612775" y="2979738"/>
            <a:ext cx="33337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5" name="Rectangle 146"/>
          <p:cNvSpPr>
            <a:spLocks noChangeArrowheads="1"/>
          </p:cNvSpPr>
          <p:nvPr/>
        </p:nvSpPr>
        <p:spPr bwMode="auto">
          <a:xfrm>
            <a:off x="612775" y="2528888"/>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3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6" name="Rectangle 147"/>
          <p:cNvSpPr>
            <a:spLocks noChangeArrowheads="1"/>
          </p:cNvSpPr>
          <p:nvPr/>
        </p:nvSpPr>
        <p:spPr bwMode="auto">
          <a:xfrm>
            <a:off x="612775" y="2076451"/>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3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7" name="Rectangle 148"/>
          <p:cNvSpPr>
            <a:spLocks noChangeArrowheads="1"/>
          </p:cNvSpPr>
          <p:nvPr/>
        </p:nvSpPr>
        <p:spPr bwMode="auto">
          <a:xfrm>
            <a:off x="817563"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8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8" name="Rectangle 149"/>
          <p:cNvSpPr>
            <a:spLocks noChangeArrowheads="1"/>
          </p:cNvSpPr>
          <p:nvPr/>
        </p:nvSpPr>
        <p:spPr bwMode="auto">
          <a:xfrm>
            <a:off x="1492250"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8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29" name="Rectangle 150"/>
          <p:cNvSpPr>
            <a:spLocks noChangeArrowheads="1"/>
          </p:cNvSpPr>
          <p:nvPr/>
        </p:nvSpPr>
        <p:spPr bwMode="auto">
          <a:xfrm>
            <a:off x="2166938"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9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0" name="Rectangle 151"/>
          <p:cNvSpPr>
            <a:spLocks noChangeArrowheads="1"/>
          </p:cNvSpPr>
          <p:nvPr/>
        </p:nvSpPr>
        <p:spPr bwMode="auto">
          <a:xfrm>
            <a:off x="2841625"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9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1" name="Rectangle 152"/>
          <p:cNvSpPr>
            <a:spLocks noChangeArrowheads="1"/>
          </p:cNvSpPr>
          <p:nvPr/>
        </p:nvSpPr>
        <p:spPr bwMode="auto">
          <a:xfrm>
            <a:off x="3516313"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2" name="Rectangle 153"/>
          <p:cNvSpPr>
            <a:spLocks noChangeArrowheads="1"/>
          </p:cNvSpPr>
          <p:nvPr/>
        </p:nvSpPr>
        <p:spPr bwMode="auto">
          <a:xfrm>
            <a:off x="4191000"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3" name="Rectangle 154"/>
          <p:cNvSpPr>
            <a:spLocks noChangeArrowheads="1"/>
          </p:cNvSpPr>
          <p:nvPr/>
        </p:nvSpPr>
        <p:spPr bwMode="auto">
          <a:xfrm>
            <a:off x="4865688"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1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4" name="Rectangle 155"/>
          <p:cNvSpPr>
            <a:spLocks noChangeArrowheads="1"/>
          </p:cNvSpPr>
          <p:nvPr/>
        </p:nvSpPr>
        <p:spPr bwMode="auto">
          <a:xfrm>
            <a:off x="5540375"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1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5" name="Rectangle 156"/>
          <p:cNvSpPr>
            <a:spLocks noChangeArrowheads="1"/>
          </p:cNvSpPr>
          <p:nvPr/>
        </p:nvSpPr>
        <p:spPr bwMode="auto">
          <a:xfrm>
            <a:off x="6215063"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2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6" name="Rectangle 157"/>
          <p:cNvSpPr>
            <a:spLocks noChangeArrowheads="1"/>
          </p:cNvSpPr>
          <p:nvPr/>
        </p:nvSpPr>
        <p:spPr bwMode="auto">
          <a:xfrm>
            <a:off x="6889750"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2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37" name="Rectangle 158"/>
          <p:cNvSpPr>
            <a:spLocks noChangeArrowheads="1"/>
          </p:cNvSpPr>
          <p:nvPr/>
        </p:nvSpPr>
        <p:spPr bwMode="auto">
          <a:xfrm>
            <a:off x="7562850"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3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0" name="Rectangle 160"/>
          <p:cNvSpPr>
            <a:spLocks noChangeArrowheads="1"/>
          </p:cNvSpPr>
          <p:nvPr/>
        </p:nvSpPr>
        <p:spPr bwMode="auto">
          <a:xfrm>
            <a:off x="974725" y="2152651"/>
            <a:ext cx="6350" cy="3163888"/>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41" name="Freeform 161"/>
          <p:cNvSpPr>
            <a:spLocks noEditPoints="1"/>
          </p:cNvSpPr>
          <p:nvPr/>
        </p:nvSpPr>
        <p:spPr bwMode="auto">
          <a:xfrm>
            <a:off x="931863" y="2149476"/>
            <a:ext cx="46038" cy="3170238"/>
          </a:xfrm>
          <a:custGeom>
            <a:avLst/>
            <a:gdLst>
              <a:gd name="T0" fmla="*/ 0 w 29"/>
              <a:gd name="T1" fmla="*/ 1992 h 1997"/>
              <a:gd name="T2" fmla="*/ 29 w 29"/>
              <a:gd name="T3" fmla="*/ 1992 h 1997"/>
              <a:gd name="T4" fmla="*/ 29 w 29"/>
              <a:gd name="T5" fmla="*/ 1997 h 1997"/>
              <a:gd name="T6" fmla="*/ 0 w 29"/>
              <a:gd name="T7" fmla="*/ 1997 h 1997"/>
              <a:gd name="T8" fmla="*/ 0 w 29"/>
              <a:gd name="T9" fmla="*/ 1992 h 1997"/>
              <a:gd name="T10" fmla="*/ 0 w 29"/>
              <a:gd name="T11" fmla="*/ 1708 h 1997"/>
              <a:gd name="T12" fmla="*/ 29 w 29"/>
              <a:gd name="T13" fmla="*/ 1708 h 1997"/>
              <a:gd name="T14" fmla="*/ 29 w 29"/>
              <a:gd name="T15" fmla="*/ 1713 h 1997"/>
              <a:gd name="T16" fmla="*/ 0 w 29"/>
              <a:gd name="T17" fmla="*/ 1713 h 1997"/>
              <a:gd name="T18" fmla="*/ 0 w 29"/>
              <a:gd name="T19" fmla="*/ 1708 h 1997"/>
              <a:gd name="T20" fmla="*/ 0 w 29"/>
              <a:gd name="T21" fmla="*/ 1424 h 1997"/>
              <a:gd name="T22" fmla="*/ 29 w 29"/>
              <a:gd name="T23" fmla="*/ 1424 h 1997"/>
              <a:gd name="T24" fmla="*/ 29 w 29"/>
              <a:gd name="T25" fmla="*/ 1429 h 1997"/>
              <a:gd name="T26" fmla="*/ 0 w 29"/>
              <a:gd name="T27" fmla="*/ 1429 h 1997"/>
              <a:gd name="T28" fmla="*/ 0 w 29"/>
              <a:gd name="T29" fmla="*/ 1424 h 1997"/>
              <a:gd name="T30" fmla="*/ 0 w 29"/>
              <a:gd name="T31" fmla="*/ 1140 h 1997"/>
              <a:gd name="T32" fmla="*/ 29 w 29"/>
              <a:gd name="T33" fmla="*/ 1140 h 1997"/>
              <a:gd name="T34" fmla="*/ 29 w 29"/>
              <a:gd name="T35" fmla="*/ 1145 h 1997"/>
              <a:gd name="T36" fmla="*/ 0 w 29"/>
              <a:gd name="T37" fmla="*/ 1145 h 1997"/>
              <a:gd name="T38" fmla="*/ 0 w 29"/>
              <a:gd name="T39" fmla="*/ 1140 h 1997"/>
              <a:gd name="T40" fmla="*/ 0 w 29"/>
              <a:gd name="T41" fmla="*/ 856 h 1997"/>
              <a:gd name="T42" fmla="*/ 29 w 29"/>
              <a:gd name="T43" fmla="*/ 856 h 1997"/>
              <a:gd name="T44" fmla="*/ 29 w 29"/>
              <a:gd name="T45" fmla="*/ 861 h 1997"/>
              <a:gd name="T46" fmla="*/ 0 w 29"/>
              <a:gd name="T47" fmla="*/ 861 h 1997"/>
              <a:gd name="T48" fmla="*/ 0 w 29"/>
              <a:gd name="T49" fmla="*/ 856 h 1997"/>
              <a:gd name="T50" fmla="*/ 0 w 29"/>
              <a:gd name="T51" fmla="*/ 568 h 1997"/>
              <a:gd name="T52" fmla="*/ 29 w 29"/>
              <a:gd name="T53" fmla="*/ 568 h 1997"/>
              <a:gd name="T54" fmla="*/ 29 w 29"/>
              <a:gd name="T55" fmla="*/ 572 h 1997"/>
              <a:gd name="T56" fmla="*/ 0 w 29"/>
              <a:gd name="T57" fmla="*/ 572 h 1997"/>
              <a:gd name="T58" fmla="*/ 0 w 29"/>
              <a:gd name="T59" fmla="*/ 568 h 1997"/>
              <a:gd name="T60" fmla="*/ 0 w 29"/>
              <a:gd name="T61" fmla="*/ 284 h 1997"/>
              <a:gd name="T62" fmla="*/ 29 w 29"/>
              <a:gd name="T63" fmla="*/ 284 h 1997"/>
              <a:gd name="T64" fmla="*/ 29 w 29"/>
              <a:gd name="T65" fmla="*/ 288 h 1997"/>
              <a:gd name="T66" fmla="*/ 0 w 29"/>
              <a:gd name="T67" fmla="*/ 288 h 1997"/>
              <a:gd name="T68" fmla="*/ 0 w 29"/>
              <a:gd name="T69" fmla="*/ 284 h 1997"/>
              <a:gd name="T70" fmla="*/ 0 w 29"/>
              <a:gd name="T71" fmla="*/ 0 h 1997"/>
              <a:gd name="T72" fmla="*/ 29 w 29"/>
              <a:gd name="T73" fmla="*/ 0 h 1997"/>
              <a:gd name="T74" fmla="*/ 29 w 29"/>
              <a:gd name="T75" fmla="*/ 5 h 1997"/>
              <a:gd name="T76" fmla="*/ 0 w 29"/>
              <a:gd name="T77" fmla="*/ 5 h 1997"/>
              <a:gd name="T78" fmla="*/ 0 w 29"/>
              <a:gd name="T7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1997">
                <a:moveTo>
                  <a:pt x="0" y="1992"/>
                </a:moveTo>
                <a:lnTo>
                  <a:pt x="29" y="1992"/>
                </a:lnTo>
                <a:lnTo>
                  <a:pt x="29" y="1997"/>
                </a:lnTo>
                <a:lnTo>
                  <a:pt x="0" y="1997"/>
                </a:lnTo>
                <a:lnTo>
                  <a:pt x="0" y="1992"/>
                </a:lnTo>
                <a:close/>
                <a:moveTo>
                  <a:pt x="0" y="1708"/>
                </a:moveTo>
                <a:lnTo>
                  <a:pt x="29" y="1708"/>
                </a:lnTo>
                <a:lnTo>
                  <a:pt x="29" y="1713"/>
                </a:lnTo>
                <a:lnTo>
                  <a:pt x="0" y="1713"/>
                </a:lnTo>
                <a:lnTo>
                  <a:pt x="0" y="1708"/>
                </a:lnTo>
                <a:close/>
                <a:moveTo>
                  <a:pt x="0" y="1424"/>
                </a:moveTo>
                <a:lnTo>
                  <a:pt x="29" y="1424"/>
                </a:lnTo>
                <a:lnTo>
                  <a:pt x="29" y="1429"/>
                </a:lnTo>
                <a:lnTo>
                  <a:pt x="0" y="1429"/>
                </a:lnTo>
                <a:lnTo>
                  <a:pt x="0" y="1424"/>
                </a:lnTo>
                <a:close/>
                <a:moveTo>
                  <a:pt x="0" y="1140"/>
                </a:moveTo>
                <a:lnTo>
                  <a:pt x="29" y="1140"/>
                </a:lnTo>
                <a:lnTo>
                  <a:pt x="29" y="1145"/>
                </a:lnTo>
                <a:lnTo>
                  <a:pt x="0" y="1145"/>
                </a:lnTo>
                <a:lnTo>
                  <a:pt x="0" y="1140"/>
                </a:lnTo>
                <a:close/>
                <a:moveTo>
                  <a:pt x="0" y="856"/>
                </a:moveTo>
                <a:lnTo>
                  <a:pt x="29" y="856"/>
                </a:lnTo>
                <a:lnTo>
                  <a:pt x="29" y="861"/>
                </a:lnTo>
                <a:lnTo>
                  <a:pt x="0" y="861"/>
                </a:lnTo>
                <a:lnTo>
                  <a:pt x="0" y="856"/>
                </a:lnTo>
                <a:close/>
                <a:moveTo>
                  <a:pt x="0" y="568"/>
                </a:moveTo>
                <a:lnTo>
                  <a:pt x="29" y="568"/>
                </a:lnTo>
                <a:lnTo>
                  <a:pt x="29" y="572"/>
                </a:lnTo>
                <a:lnTo>
                  <a:pt x="0" y="572"/>
                </a:lnTo>
                <a:lnTo>
                  <a:pt x="0" y="568"/>
                </a:lnTo>
                <a:close/>
                <a:moveTo>
                  <a:pt x="0" y="284"/>
                </a:moveTo>
                <a:lnTo>
                  <a:pt x="29" y="284"/>
                </a:lnTo>
                <a:lnTo>
                  <a:pt x="29" y="288"/>
                </a:lnTo>
                <a:lnTo>
                  <a:pt x="0" y="288"/>
                </a:lnTo>
                <a:lnTo>
                  <a:pt x="0" y="284"/>
                </a:lnTo>
                <a:close/>
                <a:moveTo>
                  <a:pt x="0" y="0"/>
                </a:moveTo>
                <a:lnTo>
                  <a:pt x="29" y="0"/>
                </a:lnTo>
                <a:lnTo>
                  <a:pt x="29" y="5"/>
                </a:lnTo>
                <a:lnTo>
                  <a:pt x="0" y="5"/>
                </a:lnTo>
                <a:lnTo>
                  <a:pt x="0" y="0"/>
                </a:lnTo>
                <a:close/>
              </a:path>
            </a:pathLst>
          </a:cu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42" name="Rectangle 162"/>
          <p:cNvSpPr>
            <a:spLocks noChangeArrowheads="1"/>
          </p:cNvSpPr>
          <p:nvPr/>
        </p:nvSpPr>
        <p:spPr bwMode="auto">
          <a:xfrm>
            <a:off x="974725" y="5311776"/>
            <a:ext cx="6738938" cy="15875"/>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43" name="Rectangle 163"/>
          <p:cNvSpPr>
            <a:spLocks noChangeArrowheads="1"/>
          </p:cNvSpPr>
          <p:nvPr/>
        </p:nvSpPr>
        <p:spPr bwMode="auto">
          <a:xfrm>
            <a:off x="773113" y="5240338"/>
            <a:ext cx="15557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4" name="Rectangle 164"/>
          <p:cNvSpPr>
            <a:spLocks noChangeArrowheads="1"/>
          </p:cNvSpPr>
          <p:nvPr/>
        </p:nvSpPr>
        <p:spPr bwMode="auto">
          <a:xfrm>
            <a:off x="692150" y="4789488"/>
            <a:ext cx="2413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5" name="Rectangle 165"/>
          <p:cNvSpPr>
            <a:spLocks noChangeArrowheads="1"/>
          </p:cNvSpPr>
          <p:nvPr/>
        </p:nvSpPr>
        <p:spPr bwMode="auto">
          <a:xfrm>
            <a:off x="612775" y="4337051"/>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6" name="Rectangle 166"/>
          <p:cNvSpPr>
            <a:spLocks noChangeArrowheads="1"/>
          </p:cNvSpPr>
          <p:nvPr/>
        </p:nvSpPr>
        <p:spPr bwMode="auto">
          <a:xfrm>
            <a:off x="612775" y="3884613"/>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7" name="Rectangle 167"/>
          <p:cNvSpPr>
            <a:spLocks noChangeArrowheads="1"/>
          </p:cNvSpPr>
          <p:nvPr/>
        </p:nvSpPr>
        <p:spPr bwMode="auto">
          <a:xfrm>
            <a:off x="612775" y="3432176"/>
            <a:ext cx="33337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8" name="Rectangle 168"/>
          <p:cNvSpPr>
            <a:spLocks noChangeArrowheads="1"/>
          </p:cNvSpPr>
          <p:nvPr/>
        </p:nvSpPr>
        <p:spPr bwMode="auto">
          <a:xfrm>
            <a:off x="612775" y="2979738"/>
            <a:ext cx="33337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49" name="Rectangle 169"/>
          <p:cNvSpPr>
            <a:spLocks noChangeArrowheads="1"/>
          </p:cNvSpPr>
          <p:nvPr/>
        </p:nvSpPr>
        <p:spPr bwMode="auto">
          <a:xfrm>
            <a:off x="612775" y="2528888"/>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3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0" name="Rectangle 170"/>
          <p:cNvSpPr>
            <a:spLocks noChangeArrowheads="1"/>
          </p:cNvSpPr>
          <p:nvPr/>
        </p:nvSpPr>
        <p:spPr bwMode="auto">
          <a:xfrm>
            <a:off x="612775" y="2076451"/>
            <a:ext cx="33337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3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1" name="Rectangle 171"/>
          <p:cNvSpPr>
            <a:spLocks noChangeArrowheads="1"/>
          </p:cNvSpPr>
          <p:nvPr/>
        </p:nvSpPr>
        <p:spPr bwMode="auto">
          <a:xfrm>
            <a:off x="817563"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8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2" name="Rectangle 172"/>
          <p:cNvSpPr>
            <a:spLocks noChangeArrowheads="1"/>
          </p:cNvSpPr>
          <p:nvPr/>
        </p:nvSpPr>
        <p:spPr bwMode="auto">
          <a:xfrm>
            <a:off x="1492250"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8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3" name="Rectangle 173"/>
          <p:cNvSpPr>
            <a:spLocks noChangeArrowheads="1"/>
          </p:cNvSpPr>
          <p:nvPr/>
        </p:nvSpPr>
        <p:spPr bwMode="auto">
          <a:xfrm>
            <a:off x="2165350"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9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4" name="Rectangle 174"/>
          <p:cNvSpPr>
            <a:spLocks noChangeArrowheads="1"/>
          </p:cNvSpPr>
          <p:nvPr/>
        </p:nvSpPr>
        <p:spPr bwMode="auto">
          <a:xfrm>
            <a:off x="2840038"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199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5" name="Rectangle 175"/>
          <p:cNvSpPr>
            <a:spLocks noChangeArrowheads="1"/>
          </p:cNvSpPr>
          <p:nvPr/>
        </p:nvSpPr>
        <p:spPr bwMode="auto">
          <a:xfrm>
            <a:off x="3514725"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6" name="Rectangle 176"/>
          <p:cNvSpPr>
            <a:spLocks noChangeArrowheads="1"/>
          </p:cNvSpPr>
          <p:nvPr/>
        </p:nvSpPr>
        <p:spPr bwMode="auto">
          <a:xfrm>
            <a:off x="4187825"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0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7" name="Rectangle 177"/>
          <p:cNvSpPr>
            <a:spLocks noChangeArrowheads="1"/>
          </p:cNvSpPr>
          <p:nvPr/>
        </p:nvSpPr>
        <p:spPr bwMode="auto">
          <a:xfrm>
            <a:off x="4862513"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1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8" name="Rectangle 178"/>
          <p:cNvSpPr>
            <a:spLocks noChangeArrowheads="1"/>
          </p:cNvSpPr>
          <p:nvPr/>
        </p:nvSpPr>
        <p:spPr bwMode="auto">
          <a:xfrm>
            <a:off x="5537200"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1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59" name="Rectangle 179"/>
          <p:cNvSpPr>
            <a:spLocks noChangeArrowheads="1"/>
          </p:cNvSpPr>
          <p:nvPr/>
        </p:nvSpPr>
        <p:spPr bwMode="auto">
          <a:xfrm>
            <a:off x="6210300" y="5413376"/>
            <a:ext cx="420688"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2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60" name="Rectangle 180"/>
          <p:cNvSpPr>
            <a:spLocks noChangeArrowheads="1"/>
          </p:cNvSpPr>
          <p:nvPr/>
        </p:nvSpPr>
        <p:spPr bwMode="auto">
          <a:xfrm>
            <a:off x="6884988"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2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61" name="Rectangle 181"/>
          <p:cNvSpPr>
            <a:spLocks noChangeArrowheads="1"/>
          </p:cNvSpPr>
          <p:nvPr/>
        </p:nvSpPr>
        <p:spPr bwMode="auto">
          <a:xfrm>
            <a:off x="7559675" y="5413376"/>
            <a:ext cx="4191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FFFFFF"/>
                </a:solidFill>
                <a:effectLst/>
                <a:latin typeface="Arial" pitchFamily="34" charset="0"/>
                <a:cs typeface="Arial" pitchFamily="34" charset="0"/>
              </a:rPr>
              <a:t>203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62" name="Rectangle 182"/>
          <p:cNvSpPr>
            <a:spLocks noChangeArrowheads="1"/>
          </p:cNvSpPr>
          <p:nvPr/>
        </p:nvSpPr>
        <p:spPr bwMode="auto">
          <a:xfrm>
            <a:off x="966788" y="2144713"/>
            <a:ext cx="7938" cy="3179763"/>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3" name="Freeform 183"/>
          <p:cNvSpPr>
            <a:spLocks noEditPoints="1"/>
          </p:cNvSpPr>
          <p:nvPr/>
        </p:nvSpPr>
        <p:spPr bwMode="auto">
          <a:xfrm>
            <a:off x="923925" y="2141538"/>
            <a:ext cx="46038" cy="3186113"/>
          </a:xfrm>
          <a:custGeom>
            <a:avLst/>
            <a:gdLst>
              <a:gd name="T0" fmla="*/ 0 w 29"/>
              <a:gd name="T1" fmla="*/ 2002 h 2007"/>
              <a:gd name="T2" fmla="*/ 29 w 29"/>
              <a:gd name="T3" fmla="*/ 2002 h 2007"/>
              <a:gd name="T4" fmla="*/ 29 w 29"/>
              <a:gd name="T5" fmla="*/ 2007 h 2007"/>
              <a:gd name="T6" fmla="*/ 0 w 29"/>
              <a:gd name="T7" fmla="*/ 2007 h 2007"/>
              <a:gd name="T8" fmla="*/ 0 w 29"/>
              <a:gd name="T9" fmla="*/ 2002 h 2007"/>
              <a:gd name="T10" fmla="*/ 0 w 29"/>
              <a:gd name="T11" fmla="*/ 1718 h 2007"/>
              <a:gd name="T12" fmla="*/ 29 w 29"/>
              <a:gd name="T13" fmla="*/ 1718 h 2007"/>
              <a:gd name="T14" fmla="*/ 29 w 29"/>
              <a:gd name="T15" fmla="*/ 1723 h 2007"/>
              <a:gd name="T16" fmla="*/ 0 w 29"/>
              <a:gd name="T17" fmla="*/ 1723 h 2007"/>
              <a:gd name="T18" fmla="*/ 0 w 29"/>
              <a:gd name="T19" fmla="*/ 1718 h 2007"/>
              <a:gd name="T20" fmla="*/ 0 w 29"/>
              <a:gd name="T21" fmla="*/ 1429 h 2007"/>
              <a:gd name="T22" fmla="*/ 29 w 29"/>
              <a:gd name="T23" fmla="*/ 1429 h 2007"/>
              <a:gd name="T24" fmla="*/ 29 w 29"/>
              <a:gd name="T25" fmla="*/ 1434 h 2007"/>
              <a:gd name="T26" fmla="*/ 0 w 29"/>
              <a:gd name="T27" fmla="*/ 1434 h 2007"/>
              <a:gd name="T28" fmla="*/ 0 w 29"/>
              <a:gd name="T29" fmla="*/ 1429 h 2007"/>
              <a:gd name="T30" fmla="*/ 0 w 29"/>
              <a:gd name="T31" fmla="*/ 1145 h 2007"/>
              <a:gd name="T32" fmla="*/ 29 w 29"/>
              <a:gd name="T33" fmla="*/ 1145 h 2007"/>
              <a:gd name="T34" fmla="*/ 29 w 29"/>
              <a:gd name="T35" fmla="*/ 1150 h 2007"/>
              <a:gd name="T36" fmla="*/ 0 w 29"/>
              <a:gd name="T37" fmla="*/ 1150 h 2007"/>
              <a:gd name="T38" fmla="*/ 0 w 29"/>
              <a:gd name="T39" fmla="*/ 1145 h 2007"/>
              <a:gd name="T40" fmla="*/ 0 w 29"/>
              <a:gd name="T41" fmla="*/ 856 h 2007"/>
              <a:gd name="T42" fmla="*/ 29 w 29"/>
              <a:gd name="T43" fmla="*/ 856 h 2007"/>
              <a:gd name="T44" fmla="*/ 29 w 29"/>
              <a:gd name="T45" fmla="*/ 861 h 2007"/>
              <a:gd name="T46" fmla="*/ 0 w 29"/>
              <a:gd name="T47" fmla="*/ 861 h 2007"/>
              <a:gd name="T48" fmla="*/ 0 w 29"/>
              <a:gd name="T49" fmla="*/ 856 h 2007"/>
              <a:gd name="T50" fmla="*/ 0 w 29"/>
              <a:gd name="T51" fmla="*/ 573 h 2007"/>
              <a:gd name="T52" fmla="*/ 29 w 29"/>
              <a:gd name="T53" fmla="*/ 573 h 2007"/>
              <a:gd name="T54" fmla="*/ 29 w 29"/>
              <a:gd name="T55" fmla="*/ 577 h 2007"/>
              <a:gd name="T56" fmla="*/ 0 w 29"/>
              <a:gd name="T57" fmla="*/ 577 h 2007"/>
              <a:gd name="T58" fmla="*/ 0 w 29"/>
              <a:gd name="T59" fmla="*/ 573 h 2007"/>
              <a:gd name="T60" fmla="*/ 0 w 29"/>
              <a:gd name="T61" fmla="*/ 284 h 2007"/>
              <a:gd name="T62" fmla="*/ 29 w 29"/>
              <a:gd name="T63" fmla="*/ 284 h 2007"/>
              <a:gd name="T64" fmla="*/ 29 w 29"/>
              <a:gd name="T65" fmla="*/ 289 h 2007"/>
              <a:gd name="T66" fmla="*/ 0 w 29"/>
              <a:gd name="T67" fmla="*/ 289 h 2007"/>
              <a:gd name="T68" fmla="*/ 0 w 29"/>
              <a:gd name="T69" fmla="*/ 284 h 2007"/>
              <a:gd name="T70" fmla="*/ 0 w 29"/>
              <a:gd name="T71" fmla="*/ 0 h 2007"/>
              <a:gd name="T72" fmla="*/ 29 w 29"/>
              <a:gd name="T73" fmla="*/ 0 h 2007"/>
              <a:gd name="T74" fmla="*/ 29 w 29"/>
              <a:gd name="T75" fmla="*/ 5 h 2007"/>
              <a:gd name="T76" fmla="*/ 0 w 29"/>
              <a:gd name="T77" fmla="*/ 5 h 2007"/>
              <a:gd name="T78" fmla="*/ 0 w 29"/>
              <a:gd name="T79" fmla="*/ 0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2007">
                <a:moveTo>
                  <a:pt x="0" y="2002"/>
                </a:moveTo>
                <a:lnTo>
                  <a:pt x="29" y="2002"/>
                </a:lnTo>
                <a:lnTo>
                  <a:pt x="29" y="2007"/>
                </a:lnTo>
                <a:lnTo>
                  <a:pt x="0" y="2007"/>
                </a:lnTo>
                <a:lnTo>
                  <a:pt x="0" y="2002"/>
                </a:lnTo>
                <a:close/>
                <a:moveTo>
                  <a:pt x="0" y="1718"/>
                </a:moveTo>
                <a:lnTo>
                  <a:pt x="29" y="1718"/>
                </a:lnTo>
                <a:lnTo>
                  <a:pt x="29" y="1723"/>
                </a:lnTo>
                <a:lnTo>
                  <a:pt x="0" y="1723"/>
                </a:lnTo>
                <a:lnTo>
                  <a:pt x="0" y="1718"/>
                </a:lnTo>
                <a:close/>
                <a:moveTo>
                  <a:pt x="0" y="1429"/>
                </a:moveTo>
                <a:lnTo>
                  <a:pt x="29" y="1429"/>
                </a:lnTo>
                <a:lnTo>
                  <a:pt x="29" y="1434"/>
                </a:lnTo>
                <a:lnTo>
                  <a:pt x="0" y="1434"/>
                </a:lnTo>
                <a:lnTo>
                  <a:pt x="0" y="1429"/>
                </a:lnTo>
                <a:close/>
                <a:moveTo>
                  <a:pt x="0" y="1145"/>
                </a:moveTo>
                <a:lnTo>
                  <a:pt x="29" y="1145"/>
                </a:lnTo>
                <a:lnTo>
                  <a:pt x="29" y="1150"/>
                </a:lnTo>
                <a:lnTo>
                  <a:pt x="0" y="1150"/>
                </a:lnTo>
                <a:lnTo>
                  <a:pt x="0" y="1145"/>
                </a:lnTo>
                <a:close/>
                <a:moveTo>
                  <a:pt x="0" y="856"/>
                </a:moveTo>
                <a:lnTo>
                  <a:pt x="29" y="856"/>
                </a:lnTo>
                <a:lnTo>
                  <a:pt x="29" y="861"/>
                </a:lnTo>
                <a:lnTo>
                  <a:pt x="0" y="861"/>
                </a:lnTo>
                <a:lnTo>
                  <a:pt x="0" y="856"/>
                </a:lnTo>
                <a:close/>
                <a:moveTo>
                  <a:pt x="0" y="573"/>
                </a:moveTo>
                <a:lnTo>
                  <a:pt x="29" y="573"/>
                </a:lnTo>
                <a:lnTo>
                  <a:pt x="29" y="577"/>
                </a:lnTo>
                <a:lnTo>
                  <a:pt x="0" y="577"/>
                </a:lnTo>
                <a:lnTo>
                  <a:pt x="0" y="573"/>
                </a:lnTo>
                <a:close/>
                <a:moveTo>
                  <a:pt x="0" y="284"/>
                </a:moveTo>
                <a:lnTo>
                  <a:pt x="29" y="284"/>
                </a:lnTo>
                <a:lnTo>
                  <a:pt x="29" y="289"/>
                </a:lnTo>
                <a:lnTo>
                  <a:pt x="0" y="289"/>
                </a:lnTo>
                <a:lnTo>
                  <a:pt x="0" y="284"/>
                </a:lnTo>
                <a:close/>
                <a:moveTo>
                  <a:pt x="0" y="0"/>
                </a:moveTo>
                <a:lnTo>
                  <a:pt x="29" y="0"/>
                </a:lnTo>
                <a:lnTo>
                  <a:pt x="29" y="5"/>
                </a:lnTo>
                <a:lnTo>
                  <a:pt x="0" y="5"/>
                </a:lnTo>
                <a:lnTo>
                  <a:pt x="0" y="0"/>
                </a:lnTo>
                <a:close/>
              </a:path>
            </a:pathLst>
          </a:cu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4" name="Rectangle 184"/>
          <p:cNvSpPr>
            <a:spLocks noChangeArrowheads="1"/>
          </p:cNvSpPr>
          <p:nvPr/>
        </p:nvSpPr>
        <p:spPr bwMode="auto">
          <a:xfrm>
            <a:off x="974725" y="5319713"/>
            <a:ext cx="6746875" cy="15875"/>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5" name="Freeform 185"/>
          <p:cNvSpPr>
            <a:spLocks noEditPoints="1"/>
          </p:cNvSpPr>
          <p:nvPr/>
        </p:nvSpPr>
        <p:spPr bwMode="auto">
          <a:xfrm>
            <a:off x="5413375" y="4760913"/>
            <a:ext cx="2306638" cy="115888"/>
          </a:xfrm>
          <a:custGeom>
            <a:avLst/>
            <a:gdLst>
              <a:gd name="T0" fmla="*/ 144 w 4747"/>
              <a:gd name="T1" fmla="*/ 31 h 239"/>
              <a:gd name="T2" fmla="*/ 1 w 4747"/>
              <a:gd name="T3" fmla="*/ 23 h 239"/>
              <a:gd name="T4" fmla="*/ 313 w 4747"/>
              <a:gd name="T5" fmla="*/ 16 h 239"/>
              <a:gd name="T6" fmla="*/ 215 w 4747"/>
              <a:gd name="T7" fmla="*/ 59 h 239"/>
              <a:gd name="T8" fmla="*/ 410 w 4747"/>
              <a:gd name="T9" fmla="*/ 28 h 239"/>
              <a:gd name="T10" fmla="*/ 500 w 4747"/>
              <a:gd name="T11" fmla="*/ 87 h 239"/>
              <a:gd name="T12" fmla="*/ 410 w 4747"/>
              <a:gd name="T13" fmla="*/ 28 h 239"/>
              <a:gd name="T14" fmla="*/ 718 w 4747"/>
              <a:gd name="T15" fmla="*/ 80 h 239"/>
              <a:gd name="T16" fmla="*/ 574 w 4747"/>
              <a:gd name="T17" fmla="*/ 72 h 239"/>
              <a:gd name="T18" fmla="*/ 858 w 4747"/>
              <a:gd name="T19" fmla="*/ 65 h 239"/>
              <a:gd name="T20" fmla="*/ 884 w 4747"/>
              <a:gd name="T21" fmla="*/ 114 h 239"/>
              <a:gd name="T22" fmla="*/ 766 w 4747"/>
              <a:gd name="T23" fmla="*/ 83 h 239"/>
              <a:gd name="T24" fmla="*/ 1079 w 4747"/>
              <a:gd name="T25" fmla="*/ 77 h 239"/>
              <a:gd name="T26" fmla="*/ 980 w 4747"/>
              <a:gd name="T27" fmla="*/ 119 h 239"/>
              <a:gd name="T28" fmla="*/ 1173 w 4747"/>
              <a:gd name="T29" fmla="*/ 80 h 239"/>
              <a:gd name="T30" fmla="*/ 1269 w 4747"/>
              <a:gd name="T31" fmla="*/ 128 h 239"/>
              <a:gd name="T32" fmla="*/ 1173 w 4747"/>
              <a:gd name="T33" fmla="*/ 80 h 239"/>
              <a:gd name="T34" fmla="*/ 1462 w 4747"/>
              <a:gd name="T35" fmla="*/ 83 h 239"/>
              <a:gd name="T36" fmla="*/ 1416 w 4747"/>
              <a:gd name="T37" fmla="*/ 128 h 239"/>
              <a:gd name="T38" fmla="*/ 1365 w 4747"/>
              <a:gd name="T39" fmla="*/ 80 h 239"/>
              <a:gd name="T40" fmla="*/ 1677 w 4747"/>
              <a:gd name="T41" fmla="*/ 119 h 239"/>
              <a:gd name="T42" fmla="*/ 1533 w 4747"/>
              <a:gd name="T43" fmla="*/ 111 h 239"/>
              <a:gd name="T44" fmla="*/ 1846 w 4747"/>
              <a:gd name="T45" fmla="*/ 105 h 239"/>
              <a:gd name="T46" fmla="*/ 1747 w 4747"/>
              <a:gd name="T47" fmla="*/ 147 h 239"/>
              <a:gd name="T48" fmla="*/ 1942 w 4747"/>
              <a:gd name="T49" fmla="*/ 110 h 239"/>
              <a:gd name="T50" fmla="*/ 2060 w 4747"/>
              <a:gd name="T51" fmla="*/ 136 h 239"/>
              <a:gd name="T52" fmla="*/ 1939 w 4747"/>
              <a:gd name="T53" fmla="*/ 158 h 239"/>
              <a:gd name="T54" fmla="*/ 2132 w 4747"/>
              <a:gd name="T55" fmla="*/ 112 h 239"/>
              <a:gd name="T56" fmla="*/ 2228 w 4747"/>
              <a:gd name="T57" fmla="*/ 160 h 239"/>
              <a:gd name="T58" fmla="*/ 2132 w 4747"/>
              <a:gd name="T59" fmla="*/ 112 h 239"/>
              <a:gd name="T60" fmla="*/ 2444 w 4747"/>
              <a:gd name="T61" fmla="*/ 147 h 239"/>
              <a:gd name="T62" fmla="*/ 2300 w 4747"/>
              <a:gd name="T63" fmla="*/ 139 h 239"/>
              <a:gd name="T64" fmla="*/ 2538 w 4747"/>
              <a:gd name="T65" fmla="*/ 129 h 239"/>
              <a:gd name="T66" fmla="*/ 2612 w 4747"/>
              <a:gd name="T67" fmla="*/ 176 h 239"/>
              <a:gd name="T68" fmla="*/ 2492 w 4747"/>
              <a:gd name="T69" fmla="*/ 150 h 239"/>
              <a:gd name="T70" fmla="*/ 2804 w 4747"/>
              <a:gd name="T71" fmla="*/ 128 h 239"/>
              <a:gd name="T72" fmla="*/ 2708 w 4747"/>
              <a:gd name="T73" fmla="*/ 176 h 239"/>
              <a:gd name="T74" fmla="*/ 2901 w 4747"/>
              <a:gd name="T75" fmla="*/ 134 h 239"/>
              <a:gd name="T76" fmla="*/ 2994 w 4747"/>
              <a:gd name="T77" fmla="*/ 187 h 239"/>
              <a:gd name="T78" fmla="*/ 2901 w 4747"/>
              <a:gd name="T79" fmla="*/ 134 h 239"/>
              <a:gd name="T80" fmla="*/ 3211 w 4747"/>
              <a:gd name="T81" fmla="*/ 168 h 239"/>
              <a:gd name="T82" fmla="*/ 3067 w 4747"/>
              <a:gd name="T83" fmla="*/ 168 h 239"/>
              <a:gd name="T84" fmla="*/ 3368 w 4747"/>
              <a:gd name="T85" fmla="*/ 144 h 239"/>
              <a:gd name="T86" fmla="*/ 3378 w 4747"/>
              <a:gd name="T87" fmla="*/ 193 h 239"/>
              <a:gd name="T88" fmla="*/ 3259 w 4747"/>
              <a:gd name="T89" fmla="*/ 168 h 239"/>
              <a:gd name="T90" fmla="*/ 3572 w 4747"/>
              <a:gd name="T91" fmla="*/ 156 h 239"/>
              <a:gd name="T92" fmla="*/ 3474 w 4747"/>
              <a:gd name="T93" fmla="*/ 199 h 239"/>
              <a:gd name="T94" fmla="*/ 3667 w 4747"/>
              <a:gd name="T95" fmla="*/ 160 h 239"/>
              <a:gd name="T96" fmla="*/ 3763 w 4747"/>
              <a:gd name="T97" fmla="*/ 208 h 239"/>
              <a:gd name="T98" fmla="*/ 3667 w 4747"/>
              <a:gd name="T99" fmla="*/ 160 h 239"/>
              <a:gd name="T100" fmla="*/ 3956 w 4747"/>
              <a:gd name="T101" fmla="*/ 163 h 239"/>
              <a:gd name="T102" fmla="*/ 3912 w 4747"/>
              <a:gd name="T103" fmla="*/ 208 h 239"/>
              <a:gd name="T104" fmla="*/ 3859 w 4747"/>
              <a:gd name="T105" fmla="*/ 160 h 239"/>
              <a:gd name="T106" fmla="*/ 4171 w 4747"/>
              <a:gd name="T107" fmla="*/ 199 h 239"/>
              <a:gd name="T108" fmla="*/ 4027 w 4747"/>
              <a:gd name="T109" fmla="*/ 191 h 239"/>
              <a:gd name="T110" fmla="*/ 4338 w 4747"/>
              <a:gd name="T111" fmla="*/ 176 h 239"/>
              <a:gd name="T112" fmla="*/ 4242 w 4747"/>
              <a:gd name="T113" fmla="*/ 224 h 239"/>
              <a:gd name="T114" fmla="*/ 4434 w 4747"/>
              <a:gd name="T115" fmla="*/ 176 h 239"/>
              <a:gd name="T116" fmla="*/ 4554 w 4747"/>
              <a:gd name="T117" fmla="*/ 205 h 239"/>
              <a:gd name="T118" fmla="*/ 4434 w 4747"/>
              <a:gd name="T119" fmla="*/ 224 h 239"/>
              <a:gd name="T120" fmla="*/ 4628 w 4747"/>
              <a:gd name="T121" fmla="*/ 185 h 239"/>
              <a:gd name="T122" fmla="*/ 4721 w 4747"/>
              <a:gd name="T123" fmla="*/ 238 h 239"/>
              <a:gd name="T124" fmla="*/ 4628 w 4747"/>
              <a:gd name="T125" fmla="*/ 18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7" h="239">
                <a:moveTo>
                  <a:pt x="26" y="1"/>
                </a:moveTo>
                <a:lnTo>
                  <a:pt x="122" y="6"/>
                </a:lnTo>
                <a:cubicBezTo>
                  <a:pt x="135" y="7"/>
                  <a:pt x="145" y="18"/>
                  <a:pt x="144" y="31"/>
                </a:cubicBezTo>
                <a:cubicBezTo>
                  <a:pt x="144" y="44"/>
                  <a:pt x="132" y="54"/>
                  <a:pt x="119" y="54"/>
                </a:cubicBezTo>
                <a:lnTo>
                  <a:pt x="23" y="48"/>
                </a:lnTo>
                <a:cubicBezTo>
                  <a:pt x="10" y="48"/>
                  <a:pt x="0" y="36"/>
                  <a:pt x="1" y="23"/>
                </a:cubicBezTo>
                <a:cubicBezTo>
                  <a:pt x="1" y="10"/>
                  <a:pt x="13" y="0"/>
                  <a:pt x="26" y="1"/>
                </a:cubicBezTo>
                <a:close/>
                <a:moveTo>
                  <a:pt x="218" y="11"/>
                </a:moveTo>
                <a:lnTo>
                  <a:pt x="313" y="16"/>
                </a:lnTo>
                <a:cubicBezTo>
                  <a:pt x="327" y="17"/>
                  <a:pt x="337" y="29"/>
                  <a:pt x="336" y="42"/>
                </a:cubicBezTo>
                <a:cubicBezTo>
                  <a:pt x="335" y="55"/>
                  <a:pt x="324" y="65"/>
                  <a:pt x="311" y="64"/>
                </a:cubicBezTo>
                <a:lnTo>
                  <a:pt x="215" y="59"/>
                </a:lnTo>
                <a:cubicBezTo>
                  <a:pt x="202" y="58"/>
                  <a:pt x="191" y="47"/>
                  <a:pt x="192" y="34"/>
                </a:cubicBezTo>
                <a:cubicBezTo>
                  <a:pt x="193" y="21"/>
                  <a:pt x="204" y="10"/>
                  <a:pt x="218" y="11"/>
                </a:cubicBezTo>
                <a:close/>
                <a:moveTo>
                  <a:pt x="410" y="28"/>
                </a:moveTo>
                <a:lnTo>
                  <a:pt x="506" y="39"/>
                </a:lnTo>
                <a:cubicBezTo>
                  <a:pt x="519" y="41"/>
                  <a:pt x="528" y="52"/>
                  <a:pt x="527" y="66"/>
                </a:cubicBezTo>
                <a:cubicBezTo>
                  <a:pt x="525" y="79"/>
                  <a:pt x="513" y="88"/>
                  <a:pt x="500" y="87"/>
                </a:cubicBezTo>
                <a:lnTo>
                  <a:pt x="405" y="75"/>
                </a:lnTo>
                <a:cubicBezTo>
                  <a:pt x="391" y="74"/>
                  <a:pt x="382" y="62"/>
                  <a:pt x="384" y="49"/>
                </a:cubicBezTo>
                <a:cubicBezTo>
                  <a:pt x="385" y="36"/>
                  <a:pt x="397" y="26"/>
                  <a:pt x="410" y="28"/>
                </a:cubicBezTo>
                <a:close/>
                <a:moveTo>
                  <a:pt x="600" y="49"/>
                </a:moveTo>
                <a:lnTo>
                  <a:pt x="695" y="55"/>
                </a:lnTo>
                <a:cubicBezTo>
                  <a:pt x="709" y="56"/>
                  <a:pt x="719" y="67"/>
                  <a:pt x="718" y="80"/>
                </a:cubicBezTo>
                <a:cubicBezTo>
                  <a:pt x="717" y="94"/>
                  <a:pt x="706" y="104"/>
                  <a:pt x="693" y="103"/>
                </a:cubicBezTo>
                <a:lnTo>
                  <a:pt x="597" y="97"/>
                </a:lnTo>
                <a:cubicBezTo>
                  <a:pt x="583" y="96"/>
                  <a:pt x="573" y="85"/>
                  <a:pt x="574" y="72"/>
                </a:cubicBezTo>
                <a:cubicBezTo>
                  <a:pt x="575" y="59"/>
                  <a:pt x="586" y="49"/>
                  <a:pt x="600" y="49"/>
                </a:cubicBezTo>
                <a:close/>
                <a:moveTo>
                  <a:pt x="791" y="61"/>
                </a:moveTo>
                <a:lnTo>
                  <a:pt x="858" y="65"/>
                </a:lnTo>
                <a:lnTo>
                  <a:pt x="887" y="66"/>
                </a:lnTo>
                <a:cubicBezTo>
                  <a:pt x="900" y="67"/>
                  <a:pt x="910" y="78"/>
                  <a:pt x="910" y="91"/>
                </a:cubicBezTo>
                <a:cubicBezTo>
                  <a:pt x="909" y="105"/>
                  <a:pt x="898" y="115"/>
                  <a:pt x="884" y="114"/>
                </a:cubicBezTo>
                <a:lnTo>
                  <a:pt x="855" y="112"/>
                </a:lnTo>
                <a:lnTo>
                  <a:pt x="788" y="109"/>
                </a:lnTo>
                <a:cubicBezTo>
                  <a:pt x="775" y="108"/>
                  <a:pt x="765" y="96"/>
                  <a:pt x="766" y="83"/>
                </a:cubicBezTo>
                <a:cubicBezTo>
                  <a:pt x="767" y="70"/>
                  <a:pt x="778" y="60"/>
                  <a:pt x="791" y="61"/>
                </a:cubicBezTo>
                <a:close/>
                <a:moveTo>
                  <a:pt x="983" y="71"/>
                </a:moveTo>
                <a:lnTo>
                  <a:pt x="1079" y="77"/>
                </a:lnTo>
                <a:cubicBezTo>
                  <a:pt x="1092" y="78"/>
                  <a:pt x="1102" y="89"/>
                  <a:pt x="1101" y="102"/>
                </a:cubicBezTo>
                <a:cubicBezTo>
                  <a:pt x="1101" y="115"/>
                  <a:pt x="1089" y="125"/>
                  <a:pt x="1076" y="125"/>
                </a:cubicBezTo>
                <a:lnTo>
                  <a:pt x="980" y="119"/>
                </a:lnTo>
                <a:cubicBezTo>
                  <a:pt x="967" y="119"/>
                  <a:pt x="957" y="107"/>
                  <a:pt x="958" y="94"/>
                </a:cubicBezTo>
                <a:cubicBezTo>
                  <a:pt x="958" y="81"/>
                  <a:pt x="970" y="71"/>
                  <a:pt x="983" y="71"/>
                </a:cubicBezTo>
                <a:close/>
                <a:moveTo>
                  <a:pt x="1173" y="80"/>
                </a:moveTo>
                <a:lnTo>
                  <a:pt x="1269" y="80"/>
                </a:lnTo>
                <a:cubicBezTo>
                  <a:pt x="1282" y="80"/>
                  <a:pt x="1293" y="91"/>
                  <a:pt x="1293" y="104"/>
                </a:cubicBezTo>
                <a:cubicBezTo>
                  <a:pt x="1293" y="118"/>
                  <a:pt x="1282" y="128"/>
                  <a:pt x="1269" y="128"/>
                </a:cubicBezTo>
                <a:lnTo>
                  <a:pt x="1173" y="128"/>
                </a:lnTo>
                <a:cubicBezTo>
                  <a:pt x="1160" y="128"/>
                  <a:pt x="1149" y="118"/>
                  <a:pt x="1149" y="104"/>
                </a:cubicBezTo>
                <a:cubicBezTo>
                  <a:pt x="1149" y="91"/>
                  <a:pt x="1160" y="80"/>
                  <a:pt x="1173" y="80"/>
                </a:cubicBezTo>
                <a:close/>
                <a:moveTo>
                  <a:pt x="1365" y="80"/>
                </a:moveTo>
                <a:lnTo>
                  <a:pt x="1416" y="80"/>
                </a:lnTo>
                <a:lnTo>
                  <a:pt x="1462" y="83"/>
                </a:lnTo>
                <a:cubicBezTo>
                  <a:pt x="1476" y="84"/>
                  <a:pt x="1486" y="95"/>
                  <a:pt x="1485" y="108"/>
                </a:cubicBezTo>
                <a:cubicBezTo>
                  <a:pt x="1484" y="122"/>
                  <a:pt x="1473" y="132"/>
                  <a:pt x="1460" y="131"/>
                </a:cubicBezTo>
                <a:lnTo>
                  <a:pt x="1416" y="128"/>
                </a:lnTo>
                <a:lnTo>
                  <a:pt x="1365" y="128"/>
                </a:lnTo>
                <a:cubicBezTo>
                  <a:pt x="1352" y="128"/>
                  <a:pt x="1341" y="118"/>
                  <a:pt x="1341" y="104"/>
                </a:cubicBezTo>
                <a:cubicBezTo>
                  <a:pt x="1341" y="91"/>
                  <a:pt x="1352" y="80"/>
                  <a:pt x="1365" y="80"/>
                </a:cubicBezTo>
                <a:close/>
                <a:moveTo>
                  <a:pt x="1558" y="88"/>
                </a:moveTo>
                <a:lnTo>
                  <a:pt x="1654" y="94"/>
                </a:lnTo>
                <a:cubicBezTo>
                  <a:pt x="1667" y="94"/>
                  <a:pt x="1678" y="106"/>
                  <a:pt x="1677" y="119"/>
                </a:cubicBezTo>
                <a:cubicBezTo>
                  <a:pt x="1676" y="132"/>
                  <a:pt x="1665" y="142"/>
                  <a:pt x="1652" y="142"/>
                </a:cubicBezTo>
                <a:lnTo>
                  <a:pt x="1556" y="136"/>
                </a:lnTo>
                <a:cubicBezTo>
                  <a:pt x="1542" y="136"/>
                  <a:pt x="1532" y="124"/>
                  <a:pt x="1533" y="111"/>
                </a:cubicBezTo>
                <a:cubicBezTo>
                  <a:pt x="1534" y="98"/>
                  <a:pt x="1545" y="88"/>
                  <a:pt x="1558" y="88"/>
                </a:cubicBezTo>
                <a:close/>
                <a:moveTo>
                  <a:pt x="1750" y="99"/>
                </a:moveTo>
                <a:lnTo>
                  <a:pt x="1846" y="105"/>
                </a:lnTo>
                <a:cubicBezTo>
                  <a:pt x="1859" y="106"/>
                  <a:pt x="1869" y="117"/>
                  <a:pt x="1869" y="130"/>
                </a:cubicBezTo>
                <a:cubicBezTo>
                  <a:pt x="1868" y="143"/>
                  <a:pt x="1856" y="153"/>
                  <a:pt x="1843" y="153"/>
                </a:cubicBezTo>
                <a:lnTo>
                  <a:pt x="1747" y="147"/>
                </a:lnTo>
                <a:cubicBezTo>
                  <a:pt x="1734" y="146"/>
                  <a:pt x="1724" y="135"/>
                  <a:pt x="1725" y="122"/>
                </a:cubicBezTo>
                <a:cubicBezTo>
                  <a:pt x="1726" y="108"/>
                  <a:pt x="1737" y="98"/>
                  <a:pt x="1750" y="99"/>
                </a:cubicBezTo>
                <a:close/>
                <a:moveTo>
                  <a:pt x="1942" y="110"/>
                </a:moveTo>
                <a:lnTo>
                  <a:pt x="1978" y="113"/>
                </a:lnTo>
                <a:lnTo>
                  <a:pt x="2036" y="112"/>
                </a:lnTo>
                <a:cubicBezTo>
                  <a:pt x="2050" y="112"/>
                  <a:pt x="2060" y="123"/>
                  <a:pt x="2060" y="136"/>
                </a:cubicBezTo>
                <a:cubicBezTo>
                  <a:pt x="2060" y="150"/>
                  <a:pt x="2050" y="160"/>
                  <a:pt x="2036" y="160"/>
                </a:cubicBezTo>
                <a:lnTo>
                  <a:pt x="1975" y="160"/>
                </a:lnTo>
                <a:lnTo>
                  <a:pt x="1939" y="158"/>
                </a:lnTo>
                <a:cubicBezTo>
                  <a:pt x="1926" y="158"/>
                  <a:pt x="1916" y="146"/>
                  <a:pt x="1916" y="133"/>
                </a:cubicBezTo>
                <a:cubicBezTo>
                  <a:pt x="1917" y="120"/>
                  <a:pt x="1929" y="110"/>
                  <a:pt x="1942" y="110"/>
                </a:cubicBezTo>
                <a:close/>
                <a:moveTo>
                  <a:pt x="2132" y="112"/>
                </a:moveTo>
                <a:lnTo>
                  <a:pt x="2228" y="112"/>
                </a:lnTo>
                <a:cubicBezTo>
                  <a:pt x="2242" y="112"/>
                  <a:pt x="2252" y="123"/>
                  <a:pt x="2252" y="136"/>
                </a:cubicBezTo>
                <a:cubicBezTo>
                  <a:pt x="2252" y="150"/>
                  <a:pt x="2242" y="160"/>
                  <a:pt x="2228" y="160"/>
                </a:cubicBezTo>
                <a:lnTo>
                  <a:pt x="2132" y="160"/>
                </a:lnTo>
                <a:cubicBezTo>
                  <a:pt x="2119" y="160"/>
                  <a:pt x="2108" y="150"/>
                  <a:pt x="2108" y="136"/>
                </a:cubicBezTo>
                <a:cubicBezTo>
                  <a:pt x="2108" y="123"/>
                  <a:pt x="2119" y="112"/>
                  <a:pt x="2132" y="112"/>
                </a:cubicBezTo>
                <a:close/>
                <a:moveTo>
                  <a:pt x="2326" y="117"/>
                </a:moveTo>
                <a:lnTo>
                  <a:pt x="2421" y="122"/>
                </a:lnTo>
                <a:cubicBezTo>
                  <a:pt x="2435" y="123"/>
                  <a:pt x="2445" y="134"/>
                  <a:pt x="2444" y="147"/>
                </a:cubicBezTo>
                <a:cubicBezTo>
                  <a:pt x="2443" y="161"/>
                  <a:pt x="2432" y="171"/>
                  <a:pt x="2419" y="170"/>
                </a:cubicBezTo>
                <a:lnTo>
                  <a:pt x="2323" y="165"/>
                </a:lnTo>
                <a:cubicBezTo>
                  <a:pt x="2310" y="164"/>
                  <a:pt x="2300" y="153"/>
                  <a:pt x="2300" y="139"/>
                </a:cubicBezTo>
                <a:cubicBezTo>
                  <a:pt x="2301" y="126"/>
                  <a:pt x="2312" y="116"/>
                  <a:pt x="2326" y="117"/>
                </a:cubicBezTo>
                <a:close/>
                <a:moveTo>
                  <a:pt x="2517" y="127"/>
                </a:moveTo>
                <a:lnTo>
                  <a:pt x="2538" y="129"/>
                </a:lnTo>
                <a:lnTo>
                  <a:pt x="2612" y="128"/>
                </a:lnTo>
                <a:cubicBezTo>
                  <a:pt x="2625" y="128"/>
                  <a:pt x="2636" y="139"/>
                  <a:pt x="2636" y="152"/>
                </a:cubicBezTo>
                <a:cubicBezTo>
                  <a:pt x="2636" y="166"/>
                  <a:pt x="2625" y="176"/>
                  <a:pt x="2612" y="176"/>
                </a:cubicBezTo>
                <a:lnTo>
                  <a:pt x="2535" y="176"/>
                </a:lnTo>
                <a:lnTo>
                  <a:pt x="2515" y="175"/>
                </a:lnTo>
                <a:cubicBezTo>
                  <a:pt x="2501" y="175"/>
                  <a:pt x="2491" y="163"/>
                  <a:pt x="2492" y="150"/>
                </a:cubicBezTo>
                <a:cubicBezTo>
                  <a:pt x="2493" y="137"/>
                  <a:pt x="2504" y="127"/>
                  <a:pt x="2517" y="127"/>
                </a:cubicBezTo>
                <a:close/>
                <a:moveTo>
                  <a:pt x="2708" y="128"/>
                </a:moveTo>
                <a:lnTo>
                  <a:pt x="2804" y="128"/>
                </a:lnTo>
                <a:cubicBezTo>
                  <a:pt x="2817" y="128"/>
                  <a:pt x="2828" y="139"/>
                  <a:pt x="2828" y="152"/>
                </a:cubicBezTo>
                <a:cubicBezTo>
                  <a:pt x="2828" y="166"/>
                  <a:pt x="2817" y="176"/>
                  <a:pt x="2804" y="176"/>
                </a:cubicBezTo>
                <a:lnTo>
                  <a:pt x="2708" y="176"/>
                </a:lnTo>
                <a:cubicBezTo>
                  <a:pt x="2695" y="176"/>
                  <a:pt x="2684" y="166"/>
                  <a:pt x="2684" y="152"/>
                </a:cubicBezTo>
                <a:cubicBezTo>
                  <a:pt x="2684" y="139"/>
                  <a:pt x="2695" y="128"/>
                  <a:pt x="2708" y="128"/>
                </a:cubicBezTo>
                <a:close/>
                <a:moveTo>
                  <a:pt x="2901" y="134"/>
                </a:moveTo>
                <a:lnTo>
                  <a:pt x="2997" y="140"/>
                </a:lnTo>
                <a:cubicBezTo>
                  <a:pt x="3010" y="140"/>
                  <a:pt x="3020" y="152"/>
                  <a:pt x="3020" y="165"/>
                </a:cubicBezTo>
                <a:cubicBezTo>
                  <a:pt x="3019" y="178"/>
                  <a:pt x="3007" y="188"/>
                  <a:pt x="2994" y="187"/>
                </a:cubicBezTo>
                <a:lnTo>
                  <a:pt x="2898" y="182"/>
                </a:lnTo>
                <a:cubicBezTo>
                  <a:pt x="2885" y="181"/>
                  <a:pt x="2875" y="170"/>
                  <a:pt x="2876" y="156"/>
                </a:cubicBezTo>
                <a:cubicBezTo>
                  <a:pt x="2877" y="143"/>
                  <a:pt x="2888" y="133"/>
                  <a:pt x="2901" y="134"/>
                </a:cubicBezTo>
                <a:close/>
                <a:moveTo>
                  <a:pt x="3091" y="144"/>
                </a:moveTo>
                <a:lnTo>
                  <a:pt x="3187" y="144"/>
                </a:lnTo>
                <a:cubicBezTo>
                  <a:pt x="3201" y="144"/>
                  <a:pt x="3211" y="155"/>
                  <a:pt x="3211" y="168"/>
                </a:cubicBezTo>
                <a:cubicBezTo>
                  <a:pt x="3211" y="182"/>
                  <a:pt x="3201" y="192"/>
                  <a:pt x="3187" y="192"/>
                </a:cubicBezTo>
                <a:lnTo>
                  <a:pt x="3091" y="192"/>
                </a:lnTo>
                <a:cubicBezTo>
                  <a:pt x="3078" y="192"/>
                  <a:pt x="3067" y="182"/>
                  <a:pt x="3067" y="168"/>
                </a:cubicBezTo>
                <a:cubicBezTo>
                  <a:pt x="3067" y="155"/>
                  <a:pt x="3078" y="144"/>
                  <a:pt x="3091" y="144"/>
                </a:cubicBezTo>
                <a:close/>
                <a:moveTo>
                  <a:pt x="3283" y="144"/>
                </a:moveTo>
                <a:lnTo>
                  <a:pt x="3368" y="144"/>
                </a:lnTo>
                <a:lnTo>
                  <a:pt x="3381" y="145"/>
                </a:lnTo>
                <a:cubicBezTo>
                  <a:pt x="3394" y="146"/>
                  <a:pt x="3404" y="157"/>
                  <a:pt x="3403" y="171"/>
                </a:cubicBezTo>
                <a:cubicBezTo>
                  <a:pt x="3403" y="184"/>
                  <a:pt x="3391" y="194"/>
                  <a:pt x="3378" y="193"/>
                </a:cubicBezTo>
                <a:lnTo>
                  <a:pt x="3368" y="192"/>
                </a:lnTo>
                <a:lnTo>
                  <a:pt x="3283" y="192"/>
                </a:lnTo>
                <a:cubicBezTo>
                  <a:pt x="3270" y="192"/>
                  <a:pt x="3259" y="182"/>
                  <a:pt x="3259" y="168"/>
                </a:cubicBezTo>
                <a:cubicBezTo>
                  <a:pt x="3259" y="155"/>
                  <a:pt x="3270" y="144"/>
                  <a:pt x="3283" y="144"/>
                </a:cubicBezTo>
                <a:close/>
                <a:moveTo>
                  <a:pt x="3477" y="151"/>
                </a:moveTo>
                <a:lnTo>
                  <a:pt x="3572" y="156"/>
                </a:lnTo>
                <a:cubicBezTo>
                  <a:pt x="3586" y="157"/>
                  <a:pt x="3596" y="169"/>
                  <a:pt x="3595" y="182"/>
                </a:cubicBezTo>
                <a:cubicBezTo>
                  <a:pt x="3594" y="195"/>
                  <a:pt x="3583" y="205"/>
                  <a:pt x="3570" y="204"/>
                </a:cubicBezTo>
                <a:lnTo>
                  <a:pt x="3474" y="199"/>
                </a:lnTo>
                <a:cubicBezTo>
                  <a:pt x="3461" y="198"/>
                  <a:pt x="3450" y="187"/>
                  <a:pt x="3451" y="173"/>
                </a:cubicBezTo>
                <a:cubicBezTo>
                  <a:pt x="3452" y="160"/>
                  <a:pt x="3463" y="150"/>
                  <a:pt x="3477" y="151"/>
                </a:cubicBezTo>
                <a:close/>
                <a:moveTo>
                  <a:pt x="3667" y="160"/>
                </a:moveTo>
                <a:lnTo>
                  <a:pt x="3763" y="160"/>
                </a:lnTo>
                <a:cubicBezTo>
                  <a:pt x="3776" y="160"/>
                  <a:pt x="3787" y="171"/>
                  <a:pt x="3787" y="184"/>
                </a:cubicBezTo>
                <a:cubicBezTo>
                  <a:pt x="3787" y="198"/>
                  <a:pt x="3776" y="208"/>
                  <a:pt x="3763" y="208"/>
                </a:cubicBezTo>
                <a:lnTo>
                  <a:pt x="3667" y="208"/>
                </a:lnTo>
                <a:cubicBezTo>
                  <a:pt x="3654" y="208"/>
                  <a:pt x="3643" y="198"/>
                  <a:pt x="3643" y="184"/>
                </a:cubicBezTo>
                <a:cubicBezTo>
                  <a:pt x="3643" y="171"/>
                  <a:pt x="3654" y="160"/>
                  <a:pt x="3667" y="160"/>
                </a:cubicBezTo>
                <a:close/>
                <a:moveTo>
                  <a:pt x="3859" y="160"/>
                </a:moveTo>
                <a:lnTo>
                  <a:pt x="3912" y="160"/>
                </a:lnTo>
                <a:lnTo>
                  <a:pt x="3956" y="163"/>
                </a:lnTo>
                <a:cubicBezTo>
                  <a:pt x="3969" y="164"/>
                  <a:pt x="3980" y="175"/>
                  <a:pt x="3979" y="188"/>
                </a:cubicBezTo>
                <a:cubicBezTo>
                  <a:pt x="3978" y="201"/>
                  <a:pt x="3967" y="212"/>
                  <a:pt x="3954" y="211"/>
                </a:cubicBezTo>
                <a:lnTo>
                  <a:pt x="3912" y="208"/>
                </a:lnTo>
                <a:lnTo>
                  <a:pt x="3859" y="208"/>
                </a:lnTo>
                <a:cubicBezTo>
                  <a:pt x="3846" y="208"/>
                  <a:pt x="3835" y="198"/>
                  <a:pt x="3835" y="184"/>
                </a:cubicBezTo>
                <a:cubicBezTo>
                  <a:pt x="3835" y="171"/>
                  <a:pt x="3846" y="160"/>
                  <a:pt x="3859" y="160"/>
                </a:cubicBezTo>
                <a:close/>
                <a:moveTo>
                  <a:pt x="4052" y="168"/>
                </a:moveTo>
                <a:lnTo>
                  <a:pt x="4148" y="174"/>
                </a:lnTo>
                <a:cubicBezTo>
                  <a:pt x="4161" y="174"/>
                  <a:pt x="4171" y="186"/>
                  <a:pt x="4171" y="199"/>
                </a:cubicBezTo>
                <a:cubicBezTo>
                  <a:pt x="4170" y="212"/>
                  <a:pt x="4158" y="222"/>
                  <a:pt x="4145" y="221"/>
                </a:cubicBezTo>
                <a:lnTo>
                  <a:pt x="4049" y="216"/>
                </a:lnTo>
                <a:cubicBezTo>
                  <a:pt x="4036" y="215"/>
                  <a:pt x="4026" y="204"/>
                  <a:pt x="4027" y="191"/>
                </a:cubicBezTo>
                <a:cubicBezTo>
                  <a:pt x="4027" y="178"/>
                  <a:pt x="4039" y="167"/>
                  <a:pt x="4052" y="168"/>
                </a:cubicBezTo>
                <a:close/>
                <a:moveTo>
                  <a:pt x="4242" y="176"/>
                </a:moveTo>
                <a:lnTo>
                  <a:pt x="4338" y="176"/>
                </a:lnTo>
                <a:cubicBezTo>
                  <a:pt x="4352" y="176"/>
                  <a:pt x="4362" y="187"/>
                  <a:pt x="4362" y="200"/>
                </a:cubicBezTo>
                <a:cubicBezTo>
                  <a:pt x="4362" y="214"/>
                  <a:pt x="4352" y="224"/>
                  <a:pt x="4338" y="224"/>
                </a:cubicBezTo>
                <a:lnTo>
                  <a:pt x="4242" y="224"/>
                </a:lnTo>
                <a:cubicBezTo>
                  <a:pt x="4229" y="224"/>
                  <a:pt x="4218" y="214"/>
                  <a:pt x="4218" y="200"/>
                </a:cubicBezTo>
                <a:cubicBezTo>
                  <a:pt x="4218" y="187"/>
                  <a:pt x="4229" y="176"/>
                  <a:pt x="4242" y="176"/>
                </a:cubicBezTo>
                <a:close/>
                <a:moveTo>
                  <a:pt x="4434" y="176"/>
                </a:moveTo>
                <a:lnTo>
                  <a:pt x="4472" y="176"/>
                </a:lnTo>
                <a:lnTo>
                  <a:pt x="4532" y="180"/>
                </a:lnTo>
                <a:cubicBezTo>
                  <a:pt x="4545" y="180"/>
                  <a:pt x="4555" y="192"/>
                  <a:pt x="4554" y="205"/>
                </a:cubicBezTo>
                <a:cubicBezTo>
                  <a:pt x="4554" y="218"/>
                  <a:pt x="4542" y="228"/>
                  <a:pt x="4529" y="228"/>
                </a:cubicBezTo>
                <a:lnTo>
                  <a:pt x="4472" y="224"/>
                </a:lnTo>
                <a:lnTo>
                  <a:pt x="4434" y="224"/>
                </a:lnTo>
                <a:cubicBezTo>
                  <a:pt x="4421" y="224"/>
                  <a:pt x="4410" y="214"/>
                  <a:pt x="4410" y="200"/>
                </a:cubicBezTo>
                <a:cubicBezTo>
                  <a:pt x="4410" y="187"/>
                  <a:pt x="4421" y="176"/>
                  <a:pt x="4434" y="176"/>
                </a:cubicBezTo>
                <a:close/>
                <a:moveTo>
                  <a:pt x="4628" y="185"/>
                </a:moveTo>
                <a:lnTo>
                  <a:pt x="4723" y="190"/>
                </a:lnTo>
                <a:cubicBezTo>
                  <a:pt x="4737" y="191"/>
                  <a:pt x="4747" y="202"/>
                  <a:pt x="4746" y="216"/>
                </a:cubicBezTo>
                <a:cubicBezTo>
                  <a:pt x="4745" y="229"/>
                  <a:pt x="4734" y="239"/>
                  <a:pt x="4721" y="238"/>
                </a:cubicBezTo>
                <a:lnTo>
                  <a:pt x="4625" y="233"/>
                </a:lnTo>
                <a:cubicBezTo>
                  <a:pt x="4612" y="232"/>
                  <a:pt x="4602" y="221"/>
                  <a:pt x="4602" y="208"/>
                </a:cubicBezTo>
                <a:cubicBezTo>
                  <a:pt x="4603" y="194"/>
                  <a:pt x="4614" y="184"/>
                  <a:pt x="4628" y="185"/>
                </a:cubicBezTo>
                <a:close/>
              </a:path>
            </a:pathLst>
          </a:custGeom>
          <a:solidFill>
            <a:srgbClr val="006487"/>
          </a:solidFill>
          <a:ln w="7938" cap="flat">
            <a:solidFill>
              <a:srgbClr val="00648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6" name="Freeform 186"/>
          <p:cNvSpPr>
            <a:spLocks noEditPoints="1"/>
          </p:cNvSpPr>
          <p:nvPr/>
        </p:nvSpPr>
        <p:spPr bwMode="auto">
          <a:xfrm>
            <a:off x="5413375" y="4759326"/>
            <a:ext cx="2303463" cy="163513"/>
          </a:xfrm>
          <a:custGeom>
            <a:avLst/>
            <a:gdLst>
              <a:gd name="T0" fmla="*/ 145 w 4742"/>
              <a:gd name="T1" fmla="*/ 39 h 336"/>
              <a:gd name="T2" fmla="*/ 2 w 4742"/>
              <a:gd name="T3" fmla="*/ 23 h 336"/>
              <a:gd name="T4" fmla="*/ 314 w 4742"/>
              <a:gd name="T5" fmla="*/ 33 h 336"/>
              <a:gd name="T6" fmla="*/ 214 w 4742"/>
              <a:gd name="T7" fmla="*/ 71 h 336"/>
              <a:gd name="T8" fmla="*/ 410 w 4742"/>
              <a:gd name="T9" fmla="*/ 45 h 336"/>
              <a:gd name="T10" fmla="*/ 500 w 4742"/>
              <a:gd name="T11" fmla="*/ 104 h 336"/>
              <a:gd name="T12" fmla="*/ 410 w 4742"/>
              <a:gd name="T13" fmla="*/ 45 h 336"/>
              <a:gd name="T14" fmla="*/ 717 w 4742"/>
              <a:gd name="T15" fmla="*/ 105 h 336"/>
              <a:gd name="T16" fmla="*/ 574 w 4742"/>
              <a:gd name="T17" fmla="*/ 88 h 336"/>
              <a:gd name="T18" fmla="*/ 860 w 4742"/>
              <a:gd name="T19" fmla="*/ 98 h 336"/>
              <a:gd name="T20" fmla="*/ 881 w 4742"/>
              <a:gd name="T21" fmla="*/ 148 h 336"/>
              <a:gd name="T22" fmla="*/ 765 w 4742"/>
              <a:gd name="T23" fmla="*/ 111 h 336"/>
              <a:gd name="T24" fmla="*/ 1077 w 4742"/>
              <a:gd name="T25" fmla="*/ 122 h 336"/>
              <a:gd name="T26" fmla="*/ 977 w 4742"/>
              <a:gd name="T27" fmla="*/ 159 h 336"/>
              <a:gd name="T28" fmla="*/ 1172 w 4742"/>
              <a:gd name="T29" fmla="*/ 131 h 336"/>
              <a:gd name="T30" fmla="*/ 1265 w 4742"/>
              <a:gd name="T31" fmla="*/ 185 h 336"/>
              <a:gd name="T32" fmla="*/ 1172 w 4742"/>
              <a:gd name="T33" fmla="*/ 131 h 336"/>
              <a:gd name="T34" fmla="*/ 1459 w 4742"/>
              <a:gd name="T35" fmla="*/ 148 h 336"/>
              <a:gd name="T36" fmla="*/ 1416 w 4742"/>
              <a:gd name="T37" fmla="*/ 193 h 336"/>
              <a:gd name="T38" fmla="*/ 1363 w 4742"/>
              <a:gd name="T39" fmla="*/ 142 h 336"/>
              <a:gd name="T40" fmla="*/ 1673 w 4742"/>
              <a:gd name="T41" fmla="*/ 184 h 336"/>
              <a:gd name="T42" fmla="*/ 1530 w 4742"/>
              <a:gd name="T43" fmla="*/ 176 h 336"/>
              <a:gd name="T44" fmla="*/ 1842 w 4742"/>
              <a:gd name="T45" fmla="*/ 169 h 336"/>
              <a:gd name="T46" fmla="*/ 1744 w 4742"/>
              <a:gd name="T47" fmla="*/ 212 h 336"/>
              <a:gd name="T48" fmla="*/ 1938 w 4742"/>
              <a:gd name="T49" fmla="*/ 175 h 336"/>
              <a:gd name="T50" fmla="*/ 2057 w 4742"/>
              <a:gd name="T51" fmla="*/ 206 h 336"/>
              <a:gd name="T52" fmla="*/ 1935 w 4742"/>
              <a:gd name="T53" fmla="*/ 223 h 336"/>
              <a:gd name="T54" fmla="*/ 2130 w 4742"/>
              <a:gd name="T55" fmla="*/ 186 h 336"/>
              <a:gd name="T56" fmla="*/ 2223 w 4742"/>
              <a:gd name="T57" fmla="*/ 240 h 336"/>
              <a:gd name="T58" fmla="*/ 2130 w 4742"/>
              <a:gd name="T59" fmla="*/ 186 h 336"/>
              <a:gd name="T60" fmla="*/ 2440 w 4742"/>
              <a:gd name="T61" fmla="*/ 228 h 336"/>
              <a:gd name="T62" fmla="*/ 2296 w 4742"/>
              <a:gd name="T63" fmla="*/ 220 h 336"/>
              <a:gd name="T64" fmla="*/ 2539 w 4742"/>
              <a:gd name="T65" fmla="*/ 210 h 336"/>
              <a:gd name="T66" fmla="*/ 2606 w 4742"/>
              <a:gd name="T67" fmla="*/ 262 h 336"/>
              <a:gd name="T68" fmla="*/ 2488 w 4742"/>
              <a:gd name="T69" fmla="*/ 231 h 336"/>
              <a:gd name="T70" fmla="*/ 2801 w 4742"/>
              <a:gd name="T71" fmla="*/ 225 h 336"/>
              <a:gd name="T72" fmla="*/ 2702 w 4742"/>
              <a:gd name="T73" fmla="*/ 267 h 336"/>
              <a:gd name="T74" fmla="*/ 2895 w 4742"/>
              <a:gd name="T75" fmla="*/ 225 h 336"/>
              <a:gd name="T76" fmla="*/ 2991 w 4742"/>
              <a:gd name="T77" fmla="*/ 273 h 336"/>
              <a:gd name="T78" fmla="*/ 2895 w 4742"/>
              <a:gd name="T79" fmla="*/ 225 h 336"/>
              <a:gd name="T80" fmla="*/ 3207 w 4742"/>
              <a:gd name="T81" fmla="*/ 256 h 336"/>
              <a:gd name="T82" fmla="*/ 3063 w 4742"/>
              <a:gd name="T83" fmla="*/ 248 h 336"/>
              <a:gd name="T84" fmla="*/ 3371 w 4742"/>
              <a:gd name="T85" fmla="*/ 242 h 336"/>
              <a:gd name="T86" fmla="*/ 3374 w 4742"/>
              <a:gd name="T87" fmla="*/ 290 h 336"/>
              <a:gd name="T88" fmla="*/ 3255 w 4742"/>
              <a:gd name="T89" fmla="*/ 259 h 336"/>
              <a:gd name="T90" fmla="*/ 3568 w 4742"/>
              <a:gd name="T91" fmla="*/ 253 h 336"/>
              <a:gd name="T92" fmla="*/ 3469 w 4742"/>
              <a:gd name="T93" fmla="*/ 295 h 336"/>
              <a:gd name="T94" fmla="*/ 3662 w 4742"/>
              <a:gd name="T95" fmla="*/ 257 h 336"/>
              <a:gd name="T96" fmla="*/ 3758 w 4742"/>
              <a:gd name="T97" fmla="*/ 305 h 336"/>
              <a:gd name="T98" fmla="*/ 3662 w 4742"/>
              <a:gd name="T99" fmla="*/ 257 h 336"/>
              <a:gd name="T100" fmla="*/ 3952 w 4742"/>
              <a:gd name="T101" fmla="*/ 260 h 336"/>
              <a:gd name="T102" fmla="*/ 3913 w 4742"/>
              <a:gd name="T103" fmla="*/ 305 h 336"/>
              <a:gd name="T104" fmla="*/ 3854 w 4742"/>
              <a:gd name="T105" fmla="*/ 257 h 336"/>
              <a:gd name="T106" fmla="*/ 4166 w 4742"/>
              <a:gd name="T107" fmla="*/ 296 h 336"/>
              <a:gd name="T108" fmla="*/ 4022 w 4742"/>
              <a:gd name="T109" fmla="*/ 288 h 336"/>
              <a:gd name="T110" fmla="*/ 4334 w 4742"/>
              <a:gd name="T111" fmla="*/ 273 h 336"/>
              <a:gd name="T112" fmla="*/ 4238 w 4742"/>
              <a:gd name="T113" fmla="*/ 321 h 336"/>
              <a:gd name="T114" fmla="*/ 4430 w 4742"/>
              <a:gd name="T115" fmla="*/ 273 h 336"/>
              <a:gd name="T116" fmla="*/ 4550 w 4742"/>
              <a:gd name="T117" fmla="*/ 302 h 336"/>
              <a:gd name="T118" fmla="*/ 4430 w 4742"/>
              <a:gd name="T119" fmla="*/ 321 h 336"/>
              <a:gd name="T120" fmla="*/ 4623 w 4742"/>
              <a:gd name="T121" fmla="*/ 282 h 336"/>
              <a:gd name="T122" fmla="*/ 4716 w 4742"/>
              <a:gd name="T123" fmla="*/ 335 h 336"/>
              <a:gd name="T124" fmla="*/ 4623 w 4742"/>
              <a:gd name="T125" fmla="*/ 28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2" h="336">
                <a:moveTo>
                  <a:pt x="28" y="2"/>
                </a:moveTo>
                <a:lnTo>
                  <a:pt x="124" y="12"/>
                </a:lnTo>
                <a:cubicBezTo>
                  <a:pt x="137" y="14"/>
                  <a:pt x="146" y="26"/>
                  <a:pt x="145" y="39"/>
                </a:cubicBezTo>
                <a:cubicBezTo>
                  <a:pt x="143" y="52"/>
                  <a:pt x="131" y="61"/>
                  <a:pt x="118" y="60"/>
                </a:cubicBezTo>
                <a:lnTo>
                  <a:pt x="23" y="49"/>
                </a:lnTo>
                <a:cubicBezTo>
                  <a:pt x="10" y="48"/>
                  <a:pt x="0" y="36"/>
                  <a:pt x="2" y="23"/>
                </a:cubicBezTo>
                <a:cubicBezTo>
                  <a:pt x="3" y="10"/>
                  <a:pt x="15" y="0"/>
                  <a:pt x="28" y="2"/>
                </a:cubicBezTo>
                <a:close/>
                <a:moveTo>
                  <a:pt x="219" y="23"/>
                </a:moveTo>
                <a:lnTo>
                  <a:pt x="314" y="33"/>
                </a:lnTo>
                <a:cubicBezTo>
                  <a:pt x="328" y="35"/>
                  <a:pt x="337" y="47"/>
                  <a:pt x="336" y="60"/>
                </a:cubicBezTo>
                <a:cubicBezTo>
                  <a:pt x="334" y="73"/>
                  <a:pt x="322" y="83"/>
                  <a:pt x="309" y="81"/>
                </a:cubicBezTo>
                <a:lnTo>
                  <a:pt x="214" y="71"/>
                </a:lnTo>
                <a:cubicBezTo>
                  <a:pt x="200" y="69"/>
                  <a:pt x="191" y="57"/>
                  <a:pt x="192" y="44"/>
                </a:cubicBezTo>
                <a:cubicBezTo>
                  <a:pt x="194" y="31"/>
                  <a:pt x="206" y="21"/>
                  <a:pt x="219" y="23"/>
                </a:cubicBezTo>
                <a:close/>
                <a:moveTo>
                  <a:pt x="410" y="45"/>
                </a:moveTo>
                <a:lnTo>
                  <a:pt x="505" y="56"/>
                </a:lnTo>
                <a:cubicBezTo>
                  <a:pt x="518" y="57"/>
                  <a:pt x="528" y="69"/>
                  <a:pt x="526" y="82"/>
                </a:cubicBezTo>
                <a:cubicBezTo>
                  <a:pt x="525" y="96"/>
                  <a:pt x="513" y="105"/>
                  <a:pt x="500" y="104"/>
                </a:cubicBezTo>
                <a:lnTo>
                  <a:pt x="404" y="92"/>
                </a:lnTo>
                <a:cubicBezTo>
                  <a:pt x="391" y="91"/>
                  <a:pt x="382" y="79"/>
                  <a:pt x="383" y="66"/>
                </a:cubicBezTo>
                <a:cubicBezTo>
                  <a:pt x="385" y="53"/>
                  <a:pt x="397" y="43"/>
                  <a:pt x="410" y="45"/>
                </a:cubicBezTo>
                <a:close/>
                <a:moveTo>
                  <a:pt x="601" y="67"/>
                </a:moveTo>
                <a:lnTo>
                  <a:pt x="696" y="78"/>
                </a:lnTo>
                <a:cubicBezTo>
                  <a:pt x="709" y="80"/>
                  <a:pt x="718" y="92"/>
                  <a:pt x="717" y="105"/>
                </a:cubicBezTo>
                <a:cubicBezTo>
                  <a:pt x="715" y="118"/>
                  <a:pt x="703" y="128"/>
                  <a:pt x="690" y="126"/>
                </a:cubicBezTo>
                <a:lnTo>
                  <a:pt x="595" y="115"/>
                </a:lnTo>
                <a:cubicBezTo>
                  <a:pt x="582" y="113"/>
                  <a:pt x="572" y="101"/>
                  <a:pt x="574" y="88"/>
                </a:cubicBezTo>
                <a:cubicBezTo>
                  <a:pt x="575" y="75"/>
                  <a:pt x="587" y="66"/>
                  <a:pt x="601" y="67"/>
                </a:cubicBezTo>
                <a:close/>
                <a:moveTo>
                  <a:pt x="791" y="90"/>
                </a:moveTo>
                <a:lnTo>
                  <a:pt x="860" y="98"/>
                </a:lnTo>
                <a:lnTo>
                  <a:pt x="886" y="101"/>
                </a:lnTo>
                <a:cubicBezTo>
                  <a:pt x="900" y="102"/>
                  <a:pt x="909" y="114"/>
                  <a:pt x="908" y="127"/>
                </a:cubicBezTo>
                <a:cubicBezTo>
                  <a:pt x="906" y="140"/>
                  <a:pt x="894" y="150"/>
                  <a:pt x="881" y="148"/>
                </a:cubicBezTo>
                <a:lnTo>
                  <a:pt x="855" y="145"/>
                </a:lnTo>
                <a:lnTo>
                  <a:pt x="786" y="137"/>
                </a:lnTo>
                <a:cubicBezTo>
                  <a:pt x="772" y="136"/>
                  <a:pt x="763" y="124"/>
                  <a:pt x="765" y="111"/>
                </a:cubicBezTo>
                <a:cubicBezTo>
                  <a:pt x="766" y="97"/>
                  <a:pt x="778" y="88"/>
                  <a:pt x="791" y="90"/>
                </a:cubicBezTo>
                <a:close/>
                <a:moveTo>
                  <a:pt x="982" y="111"/>
                </a:moveTo>
                <a:lnTo>
                  <a:pt x="1077" y="122"/>
                </a:lnTo>
                <a:cubicBezTo>
                  <a:pt x="1090" y="123"/>
                  <a:pt x="1100" y="135"/>
                  <a:pt x="1098" y="148"/>
                </a:cubicBezTo>
                <a:cubicBezTo>
                  <a:pt x="1097" y="161"/>
                  <a:pt x="1085" y="171"/>
                  <a:pt x="1072" y="169"/>
                </a:cubicBezTo>
                <a:lnTo>
                  <a:pt x="977" y="159"/>
                </a:lnTo>
                <a:cubicBezTo>
                  <a:pt x="963" y="157"/>
                  <a:pt x="954" y="146"/>
                  <a:pt x="955" y="132"/>
                </a:cubicBezTo>
                <a:cubicBezTo>
                  <a:pt x="957" y="119"/>
                  <a:pt x="969" y="110"/>
                  <a:pt x="982" y="111"/>
                </a:cubicBezTo>
                <a:close/>
                <a:moveTo>
                  <a:pt x="1172" y="131"/>
                </a:moveTo>
                <a:lnTo>
                  <a:pt x="1267" y="137"/>
                </a:lnTo>
                <a:cubicBezTo>
                  <a:pt x="1281" y="137"/>
                  <a:pt x="1291" y="149"/>
                  <a:pt x="1290" y="162"/>
                </a:cubicBezTo>
                <a:cubicBezTo>
                  <a:pt x="1289" y="175"/>
                  <a:pt x="1278" y="185"/>
                  <a:pt x="1265" y="185"/>
                </a:cubicBezTo>
                <a:lnTo>
                  <a:pt x="1169" y="179"/>
                </a:lnTo>
                <a:cubicBezTo>
                  <a:pt x="1155" y="178"/>
                  <a:pt x="1145" y="167"/>
                  <a:pt x="1146" y="154"/>
                </a:cubicBezTo>
                <a:cubicBezTo>
                  <a:pt x="1147" y="140"/>
                  <a:pt x="1158" y="130"/>
                  <a:pt x="1172" y="131"/>
                </a:cubicBezTo>
                <a:close/>
                <a:moveTo>
                  <a:pt x="1363" y="142"/>
                </a:moveTo>
                <a:lnTo>
                  <a:pt x="1419" y="146"/>
                </a:lnTo>
                <a:lnTo>
                  <a:pt x="1459" y="148"/>
                </a:lnTo>
                <a:cubicBezTo>
                  <a:pt x="1472" y="148"/>
                  <a:pt x="1482" y="160"/>
                  <a:pt x="1482" y="173"/>
                </a:cubicBezTo>
                <a:cubicBezTo>
                  <a:pt x="1481" y="186"/>
                  <a:pt x="1470" y="196"/>
                  <a:pt x="1456" y="196"/>
                </a:cubicBezTo>
                <a:lnTo>
                  <a:pt x="1416" y="193"/>
                </a:lnTo>
                <a:lnTo>
                  <a:pt x="1360" y="190"/>
                </a:lnTo>
                <a:cubicBezTo>
                  <a:pt x="1347" y="189"/>
                  <a:pt x="1337" y="178"/>
                  <a:pt x="1338" y="165"/>
                </a:cubicBezTo>
                <a:cubicBezTo>
                  <a:pt x="1339" y="152"/>
                  <a:pt x="1350" y="141"/>
                  <a:pt x="1363" y="142"/>
                </a:cubicBezTo>
                <a:close/>
                <a:moveTo>
                  <a:pt x="1555" y="153"/>
                </a:moveTo>
                <a:lnTo>
                  <a:pt x="1651" y="158"/>
                </a:lnTo>
                <a:cubicBezTo>
                  <a:pt x="1664" y="159"/>
                  <a:pt x="1674" y="170"/>
                  <a:pt x="1673" y="184"/>
                </a:cubicBezTo>
                <a:cubicBezTo>
                  <a:pt x="1673" y="197"/>
                  <a:pt x="1661" y="207"/>
                  <a:pt x="1648" y="206"/>
                </a:cubicBezTo>
                <a:lnTo>
                  <a:pt x="1552" y="201"/>
                </a:lnTo>
                <a:cubicBezTo>
                  <a:pt x="1539" y="200"/>
                  <a:pt x="1529" y="189"/>
                  <a:pt x="1530" y="176"/>
                </a:cubicBezTo>
                <a:cubicBezTo>
                  <a:pt x="1530" y="162"/>
                  <a:pt x="1542" y="152"/>
                  <a:pt x="1555" y="153"/>
                </a:cubicBezTo>
                <a:close/>
                <a:moveTo>
                  <a:pt x="1747" y="164"/>
                </a:moveTo>
                <a:lnTo>
                  <a:pt x="1842" y="169"/>
                </a:lnTo>
                <a:cubicBezTo>
                  <a:pt x="1856" y="170"/>
                  <a:pt x="1866" y="182"/>
                  <a:pt x="1865" y="195"/>
                </a:cubicBezTo>
                <a:cubicBezTo>
                  <a:pt x="1864" y="208"/>
                  <a:pt x="1853" y="218"/>
                  <a:pt x="1840" y="217"/>
                </a:cubicBezTo>
                <a:lnTo>
                  <a:pt x="1744" y="212"/>
                </a:lnTo>
                <a:cubicBezTo>
                  <a:pt x="1731" y="211"/>
                  <a:pt x="1720" y="200"/>
                  <a:pt x="1721" y="186"/>
                </a:cubicBezTo>
                <a:cubicBezTo>
                  <a:pt x="1722" y="173"/>
                  <a:pt x="1733" y="163"/>
                  <a:pt x="1747" y="164"/>
                </a:cubicBezTo>
                <a:close/>
                <a:moveTo>
                  <a:pt x="1938" y="175"/>
                </a:moveTo>
                <a:lnTo>
                  <a:pt x="1979" y="178"/>
                </a:lnTo>
                <a:lnTo>
                  <a:pt x="2034" y="181"/>
                </a:lnTo>
                <a:cubicBezTo>
                  <a:pt x="2047" y="182"/>
                  <a:pt x="2057" y="193"/>
                  <a:pt x="2057" y="206"/>
                </a:cubicBezTo>
                <a:cubicBezTo>
                  <a:pt x="2056" y="219"/>
                  <a:pt x="2045" y="229"/>
                  <a:pt x="2031" y="229"/>
                </a:cubicBezTo>
                <a:lnTo>
                  <a:pt x="1976" y="225"/>
                </a:lnTo>
                <a:lnTo>
                  <a:pt x="1935" y="223"/>
                </a:lnTo>
                <a:cubicBezTo>
                  <a:pt x="1922" y="222"/>
                  <a:pt x="1912" y="211"/>
                  <a:pt x="1913" y="198"/>
                </a:cubicBezTo>
                <a:cubicBezTo>
                  <a:pt x="1914" y="184"/>
                  <a:pt x="1925" y="174"/>
                  <a:pt x="1938" y="175"/>
                </a:cubicBezTo>
                <a:close/>
                <a:moveTo>
                  <a:pt x="2130" y="186"/>
                </a:moveTo>
                <a:lnTo>
                  <a:pt x="2226" y="192"/>
                </a:lnTo>
                <a:cubicBezTo>
                  <a:pt x="2239" y="193"/>
                  <a:pt x="2249" y="204"/>
                  <a:pt x="2248" y="217"/>
                </a:cubicBezTo>
                <a:cubicBezTo>
                  <a:pt x="2248" y="231"/>
                  <a:pt x="2236" y="241"/>
                  <a:pt x="2223" y="240"/>
                </a:cubicBezTo>
                <a:lnTo>
                  <a:pt x="2127" y="234"/>
                </a:lnTo>
                <a:cubicBezTo>
                  <a:pt x="2114" y="234"/>
                  <a:pt x="2104" y="222"/>
                  <a:pt x="2105" y="209"/>
                </a:cubicBezTo>
                <a:cubicBezTo>
                  <a:pt x="2105" y="196"/>
                  <a:pt x="2117" y="186"/>
                  <a:pt x="2130" y="186"/>
                </a:cubicBezTo>
                <a:close/>
                <a:moveTo>
                  <a:pt x="2322" y="197"/>
                </a:moveTo>
                <a:lnTo>
                  <a:pt x="2417" y="203"/>
                </a:lnTo>
                <a:cubicBezTo>
                  <a:pt x="2431" y="203"/>
                  <a:pt x="2441" y="215"/>
                  <a:pt x="2440" y="228"/>
                </a:cubicBezTo>
                <a:cubicBezTo>
                  <a:pt x="2439" y="241"/>
                  <a:pt x="2428" y="251"/>
                  <a:pt x="2415" y="251"/>
                </a:cubicBezTo>
                <a:lnTo>
                  <a:pt x="2319" y="245"/>
                </a:lnTo>
                <a:cubicBezTo>
                  <a:pt x="2306" y="245"/>
                  <a:pt x="2296" y="233"/>
                  <a:pt x="2296" y="220"/>
                </a:cubicBezTo>
                <a:cubicBezTo>
                  <a:pt x="2297" y="207"/>
                  <a:pt x="2308" y="197"/>
                  <a:pt x="2322" y="197"/>
                </a:cubicBezTo>
                <a:close/>
                <a:moveTo>
                  <a:pt x="2513" y="208"/>
                </a:moveTo>
                <a:lnTo>
                  <a:pt x="2539" y="210"/>
                </a:lnTo>
                <a:lnTo>
                  <a:pt x="2609" y="214"/>
                </a:lnTo>
                <a:cubicBezTo>
                  <a:pt x="2622" y="214"/>
                  <a:pt x="2632" y="226"/>
                  <a:pt x="2632" y="239"/>
                </a:cubicBezTo>
                <a:cubicBezTo>
                  <a:pt x="2631" y="252"/>
                  <a:pt x="2620" y="262"/>
                  <a:pt x="2606" y="262"/>
                </a:cubicBezTo>
                <a:lnTo>
                  <a:pt x="2536" y="257"/>
                </a:lnTo>
                <a:lnTo>
                  <a:pt x="2511" y="256"/>
                </a:lnTo>
                <a:cubicBezTo>
                  <a:pt x="2497" y="255"/>
                  <a:pt x="2487" y="244"/>
                  <a:pt x="2488" y="231"/>
                </a:cubicBezTo>
                <a:cubicBezTo>
                  <a:pt x="2489" y="217"/>
                  <a:pt x="2500" y="207"/>
                  <a:pt x="2513" y="208"/>
                </a:cubicBezTo>
                <a:close/>
                <a:moveTo>
                  <a:pt x="2705" y="219"/>
                </a:moveTo>
                <a:lnTo>
                  <a:pt x="2801" y="225"/>
                </a:lnTo>
                <a:cubicBezTo>
                  <a:pt x="2814" y="226"/>
                  <a:pt x="2824" y="237"/>
                  <a:pt x="2823" y="250"/>
                </a:cubicBezTo>
                <a:cubicBezTo>
                  <a:pt x="2823" y="264"/>
                  <a:pt x="2811" y="274"/>
                  <a:pt x="2798" y="273"/>
                </a:cubicBezTo>
                <a:lnTo>
                  <a:pt x="2702" y="267"/>
                </a:lnTo>
                <a:cubicBezTo>
                  <a:pt x="2689" y="266"/>
                  <a:pt x="2679" y="255"/>
                  <a:pt x="2680" y="242"/>
                </a:cubicBezTo>
                <a:cubicBezTo>
                  <a:pt x="2680" y="229"/>
                  <a:pt x="2692" y="219"/>
                  <a:pt x="2705" y="219"/>
                </a:cubicBezTo>
                <a:close/>
                <a:moveTo>
                  <a:pt x="2895" y="225"/>
                </a:moveTo>
                <a:lnTo>
                  <a:pt x="2991" y="225"/>
                </a:lnTo>
                <a:cubicBezTo>
                  <a:pt x="3005" y="225"/>
                  <a:pt x="3015" y="236"/>
                  <a:pt x="3015" y="249"/>
                </a:cubicBezTo>
                <a:cubicBezTo>
                  <a:pt x="3015" y="263"/>
                  <a:pt x="3005" y="273"/>
                  <a:pt x="2991" y="273"/>
                </a:cubicBezTo>
                <a:lnTo>
                  <a:pt x="2895" y="273"/>
                </a:lnTo>
                <a:cubicBezTo>
                  <a:pt x="2882" y="273"/>
                  <a:pt x="2871" y="263"/>
                  <a:pt x="2871" y="249"/>
                </a:cubicBezTo>
                <a:cubicBezTo>
                  <a:pt x="2871" y="236"/>
                  <a:pt x="2882" y="225"/>
                  <a:pt x="2895" y="225"/>
                </a:cubicBezTo>
                <a:close/>
                <a:moveTo>
                  <a:pt x="3089" y="226"/>
                </a:moveTo>
                <a:lnTo>
                  <a:pt x="3185" y="231"/>
                </a:lnTo>
                <a:cubicBezTo>
                  <a:pt x="3198" y="232"/>
                  <a:pt x="3208" y="243"/>
                  <a:pt x="3207" y="256"/>
                </a:cubicBezTo>
                <a:cubicBezTo>
                  <a:pt x="3206" y="270"/>
                  <a:pt x="3195" y="280"/>
                  <a:pt x="3182" y="279"/>
                </a:cubicBezTo>
                <a:lnTo>
                  <a:pt x="3086" y="274"/>
                </a:lnTo>
                <a:cubicBezTo>
                  <a:pt x="3073" y="273"/>
                  <a:pt x="3063" y="262"/>
                  <a:pt x="3063" y="248"/>
                </a:cubicBezTo>
                <a:cubicBezTo>
                  <a:pt x="3064" y="235"/>
                  <a:pt x="3075" y="225"/>
                  <a:pt x="3089" y="226"/>
                </a:cubicBezTo>
                <a:close/>
                <a:moveTo>
                  <a:pt x="3280" y="236"/>
                </a:moveTo>
                <a:lnTo>
                  <a:pt x="3371" y="242"/>
                </a:lnTo>
                <a:lnTo>
                  <a:pt x="3376" y="242"/>
                </a:lnTo>
                <a:cubicBezTo>
                  <a:pt x="3390" y="243"/>
                  <a:pt x="3400" y="254"/>
                  <a:pt x="3399" y="267"/>
                </a:cubicBezTo>
                <a:cubicBezTo>
                  <a:pt x="3398" y="280"/>
                  <a:pt x="3387" y="291"/>
                  <a:pt x="3374" y="290"/>
                </a:cubicBezTo>
                <a:lnTo>
                  <a:pt x="3368" y="289"/>
                </a:lnTo>
                <a:lnTo>
                  <a:pt x="3278" y="284"/>
                </a:lnTo>
                <a:cubicBezTo>
                  <a:pt x="3265" y="284"/>
                  <a:pt x="3254" y="272"/>
                  <a:pt x="3255" y="259"/>
                </a:cubicBezTo>
                <a:cubicBezTo>
                  <a:pt x="3256" y="246"/>
                  <a:pt x="3267" y="236"/>
                  <a:pt x="3280" y="236"/>
                </a:cubicBezTo>
                <a:close/>
                <a:moveTo>
                  <a:pt x="3472" y="247"/>
                </a:moveTo>
                <a:lnTo>
                  <a:pt x="3568" y="253"/>
                </a:lnTo>
                <a:cubicBezTo>
                  <a:pt x="3581" y="254"/>
                  <a:pt x="3591" y="265"/>
                  <a:pt x="3591" y="278"/>
                </a:cubicBezTo>
                <a:cubicBezTo>
                  <a:pt x="3590" y="292"/>
                  <a:pt x="3578" y="302"/>
                  <a:pt x="3565" y="301"/>
                </a:cubicBezTo>
                <a:lnTo>
                  <a:pt x="3469" y="295"/>
                </a:lnTo>
                <a:cubicBezTo>
                  <a:pt x="3456" y="295"/>
                  <a:pt x="3446" y="283"/>
                  <a:pt x="3447" y="270"/>
                </a:cubicBezTo>
                <a:cubicBezTo>
                  <a:pt x="3448" y="257"/>
                  <a:pt x="3459" y="247"/>
                  <a:pt x="3472" y="247"/>
                </a:cubicBezTo>
                <a:close/>
                <a:moveTo>
                  <a:pt x="3662" y="257"/>
                </a:moveTo>
                <a:lnTo>
                  <a:pt x="3758" y="257"/>
                </a:lnTo>
                <a:cubicBezTo>
                  <a:pt x="3772" y="257"/>
                  <a:pt x="3782" y="268"/>
                  <a:pt x="3782" y="281"/>
                </a:cubicBezTo>
                <a:cubicBezTo>
                  <a:pt x="3782" y="295"/>
                  <a:pt x="3772" y="305"/>
                  <a:pt x="3758" y="305"/>
                </a:cubicBezTo>
                <a:lnTo>
                  <a:pt x="3662" y="305"/>
                </a:lnTo>
                <a:cubicBezTo>
                  <a:pt x="3649" y="305"/>
                  <a:pt x="3638" y="295"/>
                  <a:pt x="3638" y="281"/>
                </a:cubicBezTo>
                <a:cubicBezTo>
                  <a:pt x="3638" y="268"/>
                  <a:pt x="3649" y="257"/>
                  <a:pt x="3662" y="257"/>
                </a:cubicBezTo>
                <a:close/>
                <a:moveTo>
                  <a:pt x="3854" y="257"/>
                </a:moveTo>
                <a:lnTo>
                  <a:pt x="3913" y="257"/>
                </a:lnTo>
                <a:lnTo>
                  <a:pt x="3952" y="260"/>
                </a:lnTo>
                <a:cubicBezTo>
                  <a:pt x="3965" y="260"/>
                  <a:pt x="3975" y="272"/>
                  <a:pt x="3974" y="285"/>
                </a:cubicBezTo>
                <a:cubicBezTo>
                  <a:pt x="3974" y="298"/>
                  <a:pt x="3962" y="308"/>
                  <a:pt x="3949" y="307"/>
                </a:cubicBezTo>
                <a:lnTo>
                  <a:pt x="3913" y="305"/>
                </a:lnTo>
                <a:lnTo>
                  <a:pt x="3854" y="305"/>
                </a:lnTo>
                <a:cubicBezTo>
                  <a:pt x="3841" y="305"/>
                  <a:pt x="3830" y="295"/>
                  <a:pt x="3830" y="281"/>
                </a:cubicBezTo>
                <a:cubicBezTo>
                  <a:pt x="3830" y="268"/>
                  <a:pt x="3841" y="257"/>
                  <a:pt x="3854" y="257"/>
                </a:cubicBezTo>
                <a:close/>
                <a:moveTo>
                  <a:pt x="4048" y="265"/>
                </a:moveTo>
                <a:lnTo>
                  <a:pt x="4143" y="270"/>
                </a:lnTo>
                <a:cubicBezTo>
                  <a:pt x="4157" y="271"/>
                  <a:pt x="4167" y="282"/>
                  <a:pt x="4166" y="296"/>
                </a:cubicBezTo>
                <a:cubicBezTo>
                  <a:pt x="4165" y="309"/>
                  <a:pt x="4154" y="319"/>
                  <a:pt x="4141" y="318"/>
                </a:cubicBezTo>
                <a:lnTo>
                  <a:pt x="4045" y="313"/>
                </a:lnTo>
                <a:cubicBezTo>
                  <a:pt x="4032" y="312"/>
                  <a:pt x="4022" y="301"/>
                  <a:pt x="4022" y="288"/>
                </a:cubicBezTo>
                <a:cubicBezTo>
                  <a:pt x="4023" y="274"/>
                  <a:pt x="4034" y="264"/>
                  <a:pt x="4048" y="265"/>
                </a:cubicBezTo>
                <a:close/>
                <a:moveTo>
                  <a:pt x="4238" y="273"/>
                </a:moveTo>
                <a:lnTo>
                  <a:pt x="4334" y="273"/>
                </a:lnTo>
                <a:cubicBezTo>
                  <a:pt x="4347" y="273"/>
                  <a:pt x="4358" y="284"/>
                  <a:pt x="4358" y="297"/>
                </a:cubicBezTo>
                <a:cubicBezTo>
                  <a:pt x="4358" y="311"/>
                  <a:pt x="4347" y="321"/>
                  <a:pt x="4334" y="321"/>
                </a:cubicBezTo>
                <a:lnTo>
                  <a:pt x="4238" y="321"/>
                </a:lnTo>
                <a:cubicBezTo>
                  <a:pt x="4225" y="321"/>
                  <a:pt x="4214" y="311"/>
                  <a:pt x="4214" y="297"/>
                </a:cubicBezTo>
                <a:cubicBezTo>
                  <a:pt x="4214" y="284"/>
                  <a:pt x="4225" y="273"/>
                  <a:pt x="4238" y="273"/>
                </a:cubicBezTo>
                <a:close/>
                <a:moveTo>
                  <a:pt x="4430" y="273"/>
                </a:moveTo>
                <a:lnTo>
                  <a:pt x="4473" y="273"/>
                </a:lnTo>
                <a:lnTo>
                  <a:pt x="4527" y="276"/>
                </a:lnTo>
                <a:cubicBezTo>
                  <a:pt x="4541" y="277"/>
                  <a:pt x="4551" y="288"/>
                  <a:pt x="4550" y="302"/>
                </a:cubicBezTo>
                <a:cubicBezTo>
                  <a:pt x="4549" y="315"/>
                  <a:pt x="4538" y="325"/>
                  <a:pt x="4525" y="324"/>
                </a:cubicBezTo>
                <a:lnTo>
                  <a:pt x="4473" y="321"/>
                </a:lnTo>
                <a:lnTo>
                  <a:pt x="4430" y="321"/>
                </a:lnTo>
                <a:cubicBezTo>
                  <a:pt x="4417" y="321"/>
                  <a:pt x="4406" y="311"/>
                  <a:pt x="4406" y="297"/>
                </a:cubicBezTo>
                <a:cubicBezTo>
                  <a:pt x="4406" y="284"/>
                  <a:pt x="4417" y="273"/>
                  <a:pt x="4430" y="273"/>
                </a:cubicBezTo>
                <a:close/>
                <a:moveTo>
                  <a:pt x="4623" y="282"/>
                </a:moveTo>
                <a:lnTo>
                  <a:pt x="4719" y="287"/>
                </a:lnTo>
                <a:cubicBezTo>
                  <a:pt x="4732" y="288"/>
                  <a:pt x="4742" y="299"/>
                  <a:pt x="4742" y="312"/>
                </a:cubicBezTo>
                <a:cubicBezTo>
                  <a:pt x="4741" y="326"/>
                  <a:pt x="4730" y="336"/>
                  <a:pt x="4716" y="335"/>
                </a:cubicBezTo>
                <a:lnTo>
                  <a:pt x="4620" y="330"/>
                </a:lnTo>
                <a:cubicBezTo>
                  <a:pt x="4607" y="329"/>
                  <a:pt x="4597" y="318"/>
                  <a:pt x="4598" y="304"/>
                </a:cubicBezTo>
                <a:cubicBezTo>
                  <a:pt x="4599" y="291"/>
                  <a:pt x="4610" y="281"/>
                  <a:pt x="4623" y="282"/>
                </a:cubicBezTo>
                <a:close/>
              </a:path>
            </a:pathLst>
          </a:custGeom>
          <a:solidFill>
            <a:srgbClr val="005777"/>
          </a:solidFill>
          <a:ln w="7938" cap="flat">
            <a:solidFill>
              <a:srgbClr val="00577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7" name="Freeform 187"/>
          <p:cNvSpPr>
            <a:spLocks/>
          </p:cNvSpPr>
          <p:nvPr/>
        </p:nvSpPr>
        <p:spPr bwMode="auto">
          <a:xfrm>
            <a:off x="1230313" y="2405063"/>
            <a:ext cx="4206875" cy="2379663"/>
          </a:xfrm>
          <a:custGeom>
            <a:avLst/>
            <a:gdLst>
              <a:gd name="T0" fmla="*/ 322 w 8660"/>
              <a:gd name="T1" fmla="*/ 1028 h 4900"/>
              <a:gd name="T2" fmla="*/ 606 w 8660"/>
              <a:gd name="T3" fmla="*/ 1997 h 4900"/>
              <a:gd name="T4" fmla="*/ 870 w 8660"/>
              <a:gd name="T5" fmla="*/ 2389 h 4900"/>
              <a:gd name="T6" fmla="*/ 1154 w 8660"/>
              <a:gd name="T7" fmla="*/ 2548 h 4900"/>
              <a:gd name="T8" fmla="*/ 1423 w 8660"/>
              <a:gd name="T9" fmla="*/ 2643 h 4900"/>
              <a:gd name="T10" fmla="*/ 1984 w 8660"/>
              <a:gd name="T11" fmla="*/ 2755 h 4900"/>
              <a:gd name="T12" fmla="*/ 2528 w 8660"/>
              <a:gd name="T13" fmla="*/ 2899 h 4900"/>
              <a:gd name="T14" fmla="*/ 3090 w 8660"/>
              <a:gd name="T15" fmla="*/ 3092 h 4900"/>
              <a:gd name="T16" fmla="*/ 3367 w 8660"/>
              <a:gd name="T17" fmla="*/ 3190 h 4900"/>
              <a:gd name="T18" fmla="*/ 3652 w 8660"/>
              <a:gd name="T19" fmla="*/ 3364 h 4900"/>
              <a:gd name="T20" fmla="*/ 4211 w 8660"/>
              <a:gd name="T21" fmla="*/ 3588 h 4900"/>
              <a:gd name="T22" fmla="*/ 4757 w 8660"/>
              <a:gd name="T23" fmla="*/ 3861 h 4900"/>
              <a:gd name="T24" fmla="*/ 5317 w 8660"/>
              <a:gd name="T25" fmla="*/ 4101 h 4900"/>
              <a:gd name="T26" fmla="*/ 5585 w 8660"/>
              <a:gd name="T27" fmla="*/ 4179 h 4900"/>
              <a:gd name="T28" fmla="*/ 6144 w 8660"/>
              <a:gd name="T29" fmla="*/ 4323 h 4900"/>
              <a:gd name="T30" fmla="*/ 6704 w 8660"/>
              <a:gd name="T31" fmla="*/ 4467 h 4900"/>
              <a:gd name="T32" fmla="*/ 7264 w 8660"/>
              <a:gd name="T33" fmla="*/ 4611 h 4900"/>
              <a:gd name="T34" fmla="*/ 7807 w 8660"/>
              <a:gd name="T35" fmla="*/ 4723 h 4900"/>
              <a:gd name="T36" fmla="*/ 8367 w 8660"/>
              <a:gd name="T37" fmla="*/ 4819 h 4900"/>
              <a:gd name="T38" fmla="*/ 8658 w 8660"/>
              <a:gd name="T39" fmla="*/ 4877 h 4900"/>
              <a:gd name="T40" fmla="*/ 8358 w 8660"/>
              <a:gd name="T41" fmla="*/ 4866 h 4900"/>
              <a:gd name="T42" fmla="*/ 7798 w 8660"/>
              <a:gd name="T43" fmla="*/ 4770 h 4900"/>
              <a:gd name="T44" fmla="*/ 7253 w 8660"/>
              <a:gd name="T45" fmla="*/ 4658 h 4900"/>
              <a:gd name="T46" fmla="*/ 6693 w 8660"/>
              <a:gd name="T47" fmla="*/ 4514 h 4900"/>
              <a:gd name="T48" fmla="*/ 6133 w 8660"/>
              <a:gd name="T49" fmla="*/ 4370 h 4900"/>
              <a:gd name="T50" fmla="*/ 5572 w 8660"/>
              <a:gd name="T51" fmla="*/ 4225 h 4900"/>
              <a:gd name="T52" fmla="*/ 5296 w 8660"/>
              <a:gd name="T53" fmla="*/ 4144 h 4900"/>
              <a:gd name="T54" fmla="*/ 4736 w 8660"/>
              <a:gd name="T55" fmla="*/ 3904 h 4900"/>
              <a:gd name="T56" fmla="*/ 4194 w 8660"/>
              <a:gd name="T57" fmla="*/ 3633 h 4900"/>
              <a:gd name="T58" fmla="*/ 3633 w 8660"/>
              <a:gd name="T59" fmla="*/ 3409 h 4900"/>
              <a:gd name="T60" fmla="*/ 3342 w 8660"/>
              <a:gd name="T61" fmla="*/ 3231 h 4900"/>
              <a:gd name="T62" fmla="*/ 3074 w 8660"/>
              <a:gd name="T63" fmla="*/ 3137 h 4900"/>
              <a:gd name="T64" fmla="*/ 2517 w 8660"/>
              <a:gd name="T65" fmla="*/ 2946 h 4900"/>
              <a:gd name="T66" fmla="*/ 1973 w 8660"/>
              <a:gd name="T67" fmla="*/ 2802 h 4900"/>
              <a:gd name="T68" fmla="*/ 1414 w 8660"/>
              <a:gd name="T69" fmla="*/ 2690 h 4900"/>
              <a:gd name="T70" fmla="*/ 1138 w 8660"/>
              <a:gd name="T71" fmla="*/ 2593 h 4900"/>
              <a:gd name="T72" fmla="*/ 847 w 8660"/>
              <a:gd name="T73" fmla="*/ 2431 h 4900"/>
              <a:gd name="T74" fmla="*/ 567 w 8660"/>
              <a:gd name="T75" fmla="*/ 2024 h 4900"/>
              <a:gd name="T76" fmla="*/ 275 w 8660"/>
              <a:gd name="T77" fmla="*/ 1041 h 4900"/>
              <a:gd name="T78" fmla="*/ 20 w 8660"/>
              <a:gd name="T79" fmla="*/ 3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60" h="4900">
                <a:moveTo>
                  <a:pt x="50" y="20"/>
                </a:moveTo>
                <a:lnTo>
                  <a:pt x="322" y="1028"/>
                </a:lnTo>
                <a:lnTo>
                  <a:pt x="609" y="2004"/>
                </a:lnTo>
                <a:lnTo>
                  <a:pt x="606" y="1997"/>
                </a:lnTo>
                <a:lnTo>
                  <a:pt x="878" y="2397"/>
                </a:lnTo>
                <a:lnTo>
                  <a:pt x="870" y="2389"/>
                </a:lnTo>
                <a:lnTo>
                  <a:pt x="1158" y="2549"/>
                </a:lnTo>
                <a:lnTo>
                  <a:pt x="1154" y="2548"/>
                </a:lnTo>
                <a:lnTo>
                  <a:pt x="1426" y="2644"/>
                </a:lnTo>
                <a:lnTo>
                  <a:pt x="1423" y="2643"/>
                </a:lnTo>
                <a:lnTo>
                  <a:pt x="1695" y="2691"/>
                </a:lnTo>
                <a:lnTo>
                  <a:pt x="1984" y="2755"/>
                </a:lnTo>
                <a:lnTo>
                  <a:pt x="2257" y="2835"/>
                </a:lnTo>
                <a:lnTo>
                  <a:pt x="2528" y="2899"/>
                </a:lnTo>
                <a:lnTo>
                  <a:pt x="2818" y="2996"/>
                </a:lnTo>
                <a:lnTo>
                  <a:pt x="3090" y="3092"/>
                </a:lnTo>
                <a:lnTo>
                  <a:pt x="3362" y="3188"/>
                </a:lnTo>
                <a:cubicBezTo>
                  <a:pt x="3364" y="3188"/>
                  <a:pt x="3366" y="3189"/>
                  <a:pt x="3367" y="3190"/>
                </a:cubicBezTo>
                <a:lnTo>
                  <a:pt x="3655" y="3366"/>
                </a:lnTo>
                <a:lnTo>
                  <a:pt x="3652" y="3364"/>
                </a:lnTo>
                <a:lnTo>
                  <a:pt x="3924" y="3476"/>
                </a:lnTo>
                <a:lnTo>
                  <a:pt x="4211" y="3588"/>
                </a:lnTo>
                <a:lnTo>
                  <a:pt x="4486" y="3733"/>
                </a:lnTo>
                <a:lnTo>
                  <a:pt x="4757" y="3861"/>
                </a:lnTo>
                <a:lnTo>
                  <a:pt x="5043" y="3972"/>
                </a:lnTo>
                <a:lnTo>
                  <a:pt x="5317" y="4101"/>
                </a:lnTo>
                <a:lnTo>
                  <a:pt x="5313" y="4099"/>
                </a:lnTo>
                <a:lnTo>
                  <a:pt x="5585" y="4179"/>
                </a:lnTo>
                <a:lnTo>
                  <a:pt x="5873" y="4259"/>
                </a:lnTo>
                <a:lnTo>
                  <a:pt x="6144" y="4323"/>
                </a:lnTo>
                <a:lnTo>
                  <a:pt x="6417" y="4403"/>
                </a:lnTo>
                <a:lnTo>
                  <a:pt x="6704" y="4467"/>
                </a:lnTo>
                <a:lnTo>
                  <a:pt x="6977" y="4547"/>
                </a:lnTo>
                <a:lnTo>
                  <a:pt x="7264" y="4611"/>
                </a:lnTo>
                <a:lnTo>
                  <a:pt x="7536" y="4675"/>
                </a:lnTo>
                <a:lnTo>
                  <a:pt x="7807" y="4723"/>
                </a:lnTo>
                <a:lnTo>
                  <a:pt x="8094" y="4771"/>
                </a:lnTo>
                <a:lnTo>
                  <a:pt x="8367" y="4819"/>
                </a:lnTo>
                <a:lnTo>
                  <a:pt x="8637" y="4851"/>
                </a:lnTo>
                <a:cubicBezTo>
                  <a:pt x="8650" y="4852"/>
                  <a:pt x="8660" y="4864"/>
                  <a:pt x="8658" y="4877"/>
                </a:cubicBezTo>
                <a:cubicBezTo>
                  <a:pt x="8657" y="4890"/>
                  <a:pt x="8645" y="4900"/>
                  <a:pt x="8632" y="4898"/>
                </a:cubicBezTo>
                <a:lnTo>
                  <a:pt x="8358" y="4866"/>
                </a:lnTo>
                <a:lnTo>
                  <a:pt x="8087" y="4818"/>
                </a:lnTo>
                <a:lnTo>
                  <a:pt x="7798" y="4770"/>
                </a:lnTo>
                <a:lnTo>
                  <a:pt x="7525" y="4722"/>
                </a:lnTo>
                <a:lnTo>
                  <a:pt x="7253" y="4658"/>
                </a:lnTo>
                <a:lnTo>
                  <a:pt x="6964" y="4593"/>
                </a:lnTo>
                <a:lnTo>
                  <a:pt x="6693" y="4514"/>
                </a:lnTo>
                <a:lnTo>
                  <a:pt x="6404" y="4449"/>
                </a:lnTo>
                <a:lnTo>
                  <a:pt x="6133" y="4370"/>
                </a:lnTo>
                <a:lnTo>
                  <a:pt x="5860" y="4306"/>
                </a:lnTo>
                <a:lnTo>
                  <a:pt x="5572" y="4225"/>
                </a:lnTo>
                <a:lnTo>
                  <a:pt x="5300" y="4145"/>
                </a:lnTo>
                <a:cubicBezTo>
                  <a:pt x="5299" y="4145"/>
                  <a:pt x="5297" y="4145"/>
                  <a:pt x="5296" y="4144"/>
                </a:cubicBezTo>
                <a:lnTo>
                  <a:pt x="5026" y="4017"/>
                </a:lnTo>
                <a:lnTo>
                  <a:pt x="4736" y="3904"/>
                </a:lnTo>
                <a:lnTo>
                  <a:pt x="4463" y="3776"/>
                </a:lnTo>
                <a:lnTo>
                  <a:pt x="4194" y="3633"/>
                </a:lnTo>
                <a:lnTo>
                  <a:pt x="3905" y="3521"/>
                </a:lnTo>
                <a:lnTo>
                  <a:pt x="3633" y="3409"/>
                </a:lnTo>
                <a:cubicBezTo>
                  <a:pt x="3632" y="3408"/>
                  <a:pt x="3631" y="3408"/>
                  <a:pt x="3630" y="3407"/>
                </a:cubicBezTo>
                <a:lnTo>
                  <a:pt x="3342" y="3231"/>
                </a:lnTo>
                <a:lnTo>
                  <a:pt x="3346" y="3233"/>
                </a:lnTo>
                <a:lnTo>
                  <a:pt x="3074" y="3137"/>
                </a:lnTo>
                <a:lnTo>
                  <a:pt x="2803" y="3041"/>
                </a:lnTo>
                <a:lnTo>
                  <a:pt x="2517" y="2946"/>
                </a:lnTo>
                <a:lnTo>
                  <a:pt x="2244" y="2881"/>
                </a:lnTo>
                <a:lnTo>
                  <a:pt x="1973" y="2802"/>
                </a:lnTo>
                <a:lnTo>
                  <a:pt x="1686" y="2738"/>
                </a:lnTo>
                <a:lnTo>
                  <a:pt x="1414" y="2690"/>
                </a:lnTo>
                <a:cubicBezTo>
                  <a:pt x="1413" y="2690"/>
                  <a:pt x="1412" y="2690"/>
                  <a:pt x="1410" y="2689"/>
                </a:cubicBezTo>
                <a:lnTo>
                  <a:pt x="1138" y="2593"/>
                </a:lnTo>
                <a:cubicBezTo>
                  <a:pt x="1137" y="2593"/>
                  <a:pt x="1136" y="2592"/>
                  <a:pt x="1135" y="2591"/>
                </a:cubicBezTo>
                <a:lnTo>
                  <a:pt x="847" y="2431"/>
                </a:lnTo>
                <a:cubicBezTo>
                  <a:pt x="844" y="2430"/>
                  <a:pt x="841" y="2427"/>
                  <a:pt x="839" y="2424"/>
                </a:cubicBezTo>
                <a:lnTo>
                  <a:pt x="567" y="2024"/>
                </a:lnTo>
                <a:cubicBezTo>
                  <a:pt x="565" y="2022"/>
                  <a:pt x="564" y="2020"/>
                  <a:pt x="563" y="2017"/>
                </a:cubicBezTo>
                <a:lnTo>
                  <a:pt x="275" y="1041"/>
                </a:lnTo>
                <a:lnTo>
                  <a:pt x="3" y="33"/>
                </a:lnTo>
                <a:cubicBezTo>
                  <a:pt x="0" y="20"/>
                  <a:pt x="7" y="7"/>
                  <a:pt x="20" y="3"/>
                </a:cubicBezTo>
                <a:cubicBezTo>
                  <a:pt x="33" y="0"/>
                  <a:pt x="46" y="7"/>
                  <a:pt x="50" y="20"/>
                </a:cubicBezTo>
                <a:close/>
              </a:path>
            </a:pathLst>
          </a:custGeom>
          <a:solidFill>
            <a:srgbClr val="006487"/>
          </a:solidFill>
          <a:ln w="7938" cap="flat">
            <a:solidFill>
              <a:srgbClr val="00648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468" name="Freeform 188"/>
          <p:cNvSpPr>
            <a:spLocks/>
          </p:cNvSpPr>
          <p:nvPr/>
        </p:nvSpPr>
        <p:spPr bwMode="auto">
          <a:xfrm>
            <a:off x="1200150" y="2895601"/>
            <a:ext cx="77788" cy="77788"/>
          </a:xfrm>
          <a:custGeom>
            <a:avLst/>
            <a:gdLst>
              <a:gd name="T0" fmla="*/ 24 w 49"/>
              <a:gd name="T1" fmla="*/ 2 h 49"/>
              <a:gd name="T2" fmla="*/ 24 w 49"/>
              <a:gd name="T3" fmla="*/ 0 h 49"/>
              <a:gd name="T4" fmla="*/ 24 w 49"/>
              <a:gd name="T5" fmla="*/ 2 h 49"/>
              <a:gd name="T6" fmla="*/ 46 w 49"/>
              <a:gd name="T7" fmla="*/ 24 h 49"/>
              <a:gd name="T8" fmla="*/ 49 w 49"/>
              <a:gd name="T9" fmla="*/ 24 h 49"/>
              <a:gd name="T10" fmla="*/ 46 w 49"/>
              <a:gd name="T11" fmla="*/ 24 h 49"/>
              <a:gd name="T12" fmla="*/ 24 w 49"/>
              <a:gd name="T13" fmla="*/ 46 h 49"/>
              <a:gd name="T14" fmla="*/ 24 w 49"/>
              <a:gd name="T15" fmla="*/ 49 h 49"/>
              <a:gd name="T16" fmla="*/ 24 w 49"/>
              <a:gd name="T17" fmla="*/ 46 h 49"/>
              <a:gd name="T18" fmla="*/ 2 w 49"/>
              <a:gd name="T19" fmla="*/ 24 h 49"/>
              <a:gd name="T20" fmla="*/ 0 w 49"/>
              <a:gd name="T21" fmla="*/ 24 h 49"/>
              <a:gd name="T22" fmla="*/ 2 w 49"/>
              <a:gd name="T23" fmla="*/ 24 h 49"/>
              <a:gd name="T24" fmla="*/ 24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2"/>
                </a:moveTo>
                <a:lnTo>
                  <a:pt x="24" y="0"/>
                </a:lnTo>
                <a:lnTo>
                  <a:pt x="24" y="2"/>
                </a:lnTo>
                <a:lnTo>
                  <a:pt x="46" y="24"/>
                </a:lnTo>
                <a:lnTo>
                  <a:pt x="49" y="24"/>
                </a:lnTo>
                <a:lnTo>
                  <a:pt x="46" y="24"/>
                </a:lnTo>
                <a:lnTo>
                  <a:pt x="24" y="46"/>
                </a:lnTo>
                <a:lnTo>
                  <a:pt x="24" y="49"/>
                </a:lnTo>
                <a:lnTo>
                  <a:pt x="24" y="46"/>
                </a:lnTo>
                <a:lnTo>
                  <a:pt x="2" y="24"/>
                </a:lnTo>
                <a:lnTo>
                  <a:pt x="0" y="24"/>
                </a:lnTo>
                <a:lnTo>
                  <a:pt x="2" y="24"/>
                </a:lnTo>
                <a:lnTo>
                  <a:pt x="24"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69" name="Freeform 189"/>
          <p:cNvSpPr>
            <a:spLocks/>
          </p:cNvSpPr>
          <p:nvPr/>
        </p:nvSpPr>
        <p:spPr bwMode="auto">
          <a:xfrm>
            <a:off x="1471613" y="2506663"/>
            <a:ext cx="77788" cy="77788"/>
          </a:xfrm>
          <a:custGeom>
            <a:avLst/>
            <a:gdLst>
              <a:gd name="T0" fmla="*/ 24 w 49"/>
              <a:gd name="T1" fmla="*/ 2 h 49"/>
              <a:gd name="T2" fmla="*/ 24 w 49"/>
              <a:gd name="T3" fmla="*/ 0 h 49"/>
              <a:gd name="T4" fmla="*/ 24 w 49"/>
              <a:gd name="T5" fmla="*/ 2 h 49"/>
              <a:gd name="T6" fmla="*/ 46 w 49"/>
              <a:gd name="T7" fmla="*/ 24 h 49"/>
              <a:gd name="T8" fmla="*/ 49 w 49"/>
              <a:gd name="T9" fmla="*/ 24 h 49"/>
              <a:gd name="T10" fmla="*/ 46 w 49"/>
              <a:gd name="T11" fmla="*/ 24 h 49"/>
              <a:gd name="T12" fmla="*/ 24 w 49"/>
              <a:gd name="T13" fmla="*/ 46 h 49"/>
              <a:gd name="T14" fmla="*/ 24 w 49"/>
              <a:gd name="T15" fmla="*/ 49 h 49"/>
              <a:gd name="T16" fmla="*/ 24 w 49"/>
              <a:gd name="T17" fmla="*/ 46 h 49"/>
              <a:gd name="T18" fmla="*/ 2 w 49"/>
              <a:gd name="T19" fmla="*/ 24 h 49"/>
              <a:gd name="T20" fmla="*/ 0 w 49"/>
              <a:gd name="T21" fmla="*/ 24 h 49"/>
              <a:gd name="T22" fmla="*/ 2 w 49"/>
              <a:gd name="T23" fmla="*/ 24 h 49"/>
              <a:gd name="T24" fmla="*/ 24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2"/>
                </a:moveTo>
                <a:lnTo>
                  <a:pt x="24" y="0"/>
                </a:lnTo>
                <a:lnTo>
                  <a:pt x="24" y="2"/>
                </a:lnTo>
                <a:lnTo>
                  <a:pt x="46" y="24"/>
                </a:lnTo>
                <a:lnTo>
                  <a:pt x="49" y="24"/>
                </a:lnTo>
                <a:lnTo>
                  <a:pt x="46" y="24"/>
                </a:lnTo>
                <a:lnTo>
                  <a:pt x="24" y="46"/>
                </a:lnTo>
                <a:lnTo>
                  <a:pt x="24" y="49"/>
                </a:lnTo>
                <a:lnTo>
                  <a:pt x="24" y="46"/>
                </a:lnTo>
                <a:lnTo>
                  <a:pt x="2" y="24"/>
                </a:lnTo>
                <a:lnTo>
                  <a:pt x="0" y="24"/>
                </a:lnTo>
                <a:lnTo>
                  <a:pt x="2" y="24"/>
                </a:lnTo>
                <a:lnTo>
                  <a:pt x="24"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0" name="Freeform 190"/>
          <p:cNvSpPr>
            <a:spLocks/>
          </p:cNvSpPr>
          <p:nvPr/>
        </p:nvSpPr>
        <p:spPr bwMode="auto">
          <a:xfrm>
            <a:off x="1743075" y="3298826"/>
            <a:ext cx="77788" cy="77788"/>
          </a:xfrm>
          <a:custGeom>
            <a:avLst/>
            <a:gdLst>
              <a:gd name="T0" fmla="*/ 25 w 49"/>
              <a:gd name="T1" fmla="*/ 3 h 49"/>
              <a:gd name="T2" fmla="*/ 25 w 49"/>
              <a:gd name="T3" fmla="*/ 0 h 49"/>
              <a:gd name="T4" fmla="*/ 25 w 49"/>
              <a:gd name="T5" fmla="*/ 3 h 49"/>
              <a:gd name="T6" fmla="*/ 47 w 49"/>
              <a:gd name="T7" fmla="*/ 25 h 49"/>
              <a:gd name="T8" fmla="*/ 49 w 49"/>
              <a:gd name="T9" fmla="*/ 25 h 49"/>
              <a:gd name="T10" fmla="*/ 47 w 49"/>
              <a:gd name="T11" fmla="*/ 25 h 49"/>
              <a:gd name="T12" fmla="*/ 25 w 49"/>
              <a:gd name="T13" fmla="*/ 47 h 49"/>
              <a:gd name="T14" fmla="*/ 25 w 49"/>
              <a:gd name="T15" fmla="*/ 49 h 49"/>
              <a:gd name="T16" fmla="*/ 25 w 49"/>
              <a:gd name="T17" fmla="*/ 47 h 49"/>
              <a:gd name="T18" fmla="*/ 3 w 49"/>
              <a:gd name="T19" fmla="*/ 25 h 49"/>
              <a:gd name="T20" fmla="*/ 0 w 49"/>
              <a:gd name="T21" fmla="*/ 25 h 49"/>
              <a:gd name="T22" fmla="*/ 3 w 49"/>
              <a:gd name="T23" fmla="*/ 25 h 49"/>
              <a:gd name="T24" fmla="*/ 25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3"/>
                </a:moveTo>
                <a:lnTo>
                  <a:pt x="25" y="0"/>
                </a:lnTo>
                <a:lnTo>
                  <a:pt x="25" y="3"/>
                </a:lnTo>
                <a:lnTo>
                  <a:pt x="47" y="25"/>
                </a:lnTo>
                <a:lnTo>
                  <a:pt x="49" y="25"/>
                </a:lnTo>
                <a:lnTo>
                  <a:pt x="47" y="25"/>
                </a:lnTo>
                <a:lnTo>
                  <a:pt x="25" y="47"/>
                </a:lnTo>
                <a:lnTo>
                  <a:pt x="25" y="49"/>
                </a:lnTo>
                <a:lnTo>
                  <a:pt x="25" y="47"/>
                </a:lnTo>
                <a:lnTo>
                  <a:pt x="3" y="25"/>
                </a:lnTo>
                <a:lnTo>
                  <a:pt x="0" y="25"/>
                </a:lnTo>
                <a:lnTo>
                  <a:pt x="3" y="25"/>
                </a:lnTo>
                <a:lnTo>
                  <a:pt x="25"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1" name="Freeform 191"/>
          <p:cNvSpPr>
            <a:spLocks/>
          </p:cNvSpPr>
          <p:nvPr/>
        </p:nvSpPr>
        <p:spPr bwMode="auto">
          <a:xfrm>
            <a:off x="2008188" y="3711576"/>
            <a:ext cx="77788" cy="77788"/>
          </a:xfrm>
          <a:custGeom>
            <a:avLst/>
            <a:gdLst>
              <a:gd name="T0" fmla="*/ 24 w 49"/>
              <a:gd name="T1" fmla="*/ 2 h 49"/>
              <a:gd name="T2" fmla="*/ 24 w 49"/>
              <a:gd name="T3" fmla="*/ 0 h 49"/>
              <a:gd name="T4" fmla="*/ 24 w 49"/>
              <a:gd name="T5" fmla="*/ 2 h 49"/>
              <a:gd name="T6" fmla="*/ 46 w 49"/>
              <a:gd name="T7" fmla="*/ 24 h 49"/>
              <a:gd name="T8" fmla="*/ 49 w 49"/>
              <a:gd name="T9" fmla="*/ 24 h 49"/>
              <a:gd name="T10" fmla="*/ 46 w 49"/>
              <a:gd name="T11" fmla="*/ 24 h 49"/>
              <a:gd name="T12" fmla="*/ 24 w 49"/>
              <a:gd name="T13" fmla="*/ 46 h 49"/>
              <a:gd name="T14" fmla="*/ 24 w 49"/>
              <a:gd name="T15" fmla="*/ 49 h 49"/>
              <a:gd name="T16" fmla="*/ 24 w 49"/>
              <a:gd name="T17" fmla="*/ 46 h 49"/>
              <a:gd name="T18" fmla="*/ 2 w 49"/>
              <a:gd name="T19" fmla="*/ 24 h 49"/>
              <a:gd name="T20" fmla="*/ 0 w 49"/>
              <a:gd name="T21" fmla="*/ 24 h 49"/>
              <a:gd name="T22" fmla="*/ 2 w 49"/>
              <a:gd name="T23" fmla="*/ 24 h 49"/>
              <a:gd name="T24" fmla="*/ 24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2"/>
                </a:moveTo>
                <a:lnTo>
                  <a:pt x="24" y="0"/>
                </a:lnTo>
                <a:lnTo>
                  <a:pt x="24" y="2"/>
                </a:lnTo>
                <a:lnTo>
                  <a:pt x="46" y="24"/>
                </a:lnTo>
                <a:lnTo>
                  <a:pt x="49" y="24"/>
                </a:lnTo>
                <a:lnTo>
                  <a:pt x="46" y="24"/>
                </a:lnTo>
                <a:lnTo>
                  <a:pt x="24" y="46"/>
                </a:lnTo>
                <a:lnTo>
                  <a:pt x="24" y="49"/>
                </a:lnTo>
                <a:lnTo>
                  <a:pt x="24" y="46"/>
                </a:lnTo>
                <a:lnTo>
                  <a:pt x="2" y="24"/>
                </a:lnTo>
                <a:lnTo>
                  <a:pt x="0" y="24"/>
                </a:lnTo>
                <a:lnTo>
                  <a:pt x="2" y="24"/>
                </a:lnTo>
                <a:lnTo>
                  <a:pt x="24"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2" name="Freeform 192"/>
          <p:cNvSpPr>
            <a:spLocks/>
          </p:cNvSpPr>
          <p:nvPr/>
        </p:nvSpPr>
        <p:spPr bwMode="auto">
          <a:xfrm>
            <a:off x="2413000" y="3867151"/>
            <a:ext cx="76200" cy="77788"/>
          </a:xfrm>
          <a:custGeom>
            <a:avLst/>
            <a:gdLst>
              <a:gd name="T0" fmla="*/ 24 w 48"/>
              <a:gd name="T1" fmla="*/ 2 h 49"/>
              <a:gd name="T2" fmla="*/ 24 w 48"/>
              <a:gd name="T3" fmla="*/ 0 h 49"/>
              <a:gd name="T4" fmla="*/ 24 w 48"/>
              <a:gd name="T5" fmla="*/ 2 h 49"/>
              <a:gd name="T6" fmla="*/ 46 w 48"/>
              <a:gd name="T7" fmla="*/ 24 h 49"/>
              <a:gd name="T8" fmla="*/ 48 w 48"/>
              <a:gd name="T9" fmla="*/ 24 h 49"/>
              <a:gd name="T10" fmla="*/ 46 w 48"/>
              <a:gd name="T11" fmla="*/ 24 h 49"/>
              <a:gd name="T12" fmla="*/ 24 w 48"/>
              <a:gd name="T13" fmla="*/ 46 h 49"/>
              <a:gd name="T14" fmla="*/ 24 w 48"/>
              <a:gd name="T15" fmla="*/ 49 h 49"/>
              <a:gd name="T16" fmla="*/ 24 w 48"/>
              <a:gd name="T17" fmla="*/ 46 h 49"/>
              <a:gd name="T18" fmla="*/ 2 w 48"/>
              <a:gd name="T19" fmla="*/ 24 h 49"/>
              <a:gd name="T20" fmla="*/ 0 w 48"/>
              <a:gd name="T21" fmla="*/ 24 h 49"/>
              <a:gd name="T22" fmla="*/ 2 w 48"/>
              <a:gd name="T23" fmla="*/ 24 h 49"/>
              <a:gd name="T24" fmla="*/ 24 w 48"/>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9">
                <a:moveTo>
                  <a:pt x="24" y="2"/>
                </a:moveTo>
                <a:lnTo>
                  <a:pt x="24" y="0"/>
                </a:lnTo>
                <a:lnTo>
                  <a:pt x="24" y="2"/>
                </a:lnTo>
                <a:lnTo>
                  <a:pt x="46" y="24"/>
                </a:lnTo>
                <a:lnTo>
                  <a:pt x="48" y="24"/>
                </a:lnTo>
                <a:lnTo>
                  <a:pt x="46" y="24"/>
                </a:lnTo>
                <a:lnTo>
                  <a:pt x="24" y="46"/>
                </a:lnTo>
                <a:lnTo>
                  <a:pt x="24" y="49"/>
                </a:lnTo>
                <a:lnTo>
                  <a:pt x="24" y="46"/>
                </a:lnTo>
                <a:lnTo>
                  <a:pt x="2" y="24"/>
                </a:lnTo>
                <a:lnTo>
                  <a:pt x="0" y="24"/>
                </a:lnTo>
                <a:lnTo>
                  <a:pt x="2" y="24"/>
                </a:lnTo>
                <a:lnTo>
                  <a:pt x="24"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3" name="Freeform 193"/>
          <p:cNvSpPr>
            <a:spLocks/>
          </p:cNvSpPr>
          <p:nvPr/>
        </p:nvSpPr>
        <p:spPr bwMode="auto">
          <a:xfrm>
            <a:off x="2684463" y="3827463"/>
            <a:ext cx="77788" cy="77788"/>
          </a:xfrm>
          <a:custGeom>
            <a:avLst/>
            <a:gdLst>
              <a:gd name="T0" fmla="*/ 24 w 49"/>
              <a:gd name="T1" fmla="*/ 3 h 49"/>
              <a:gd name="T2" fmla="*/ 24 w 49"/>
              <a:gd name="T3" fmla="*/ 0 h 49"/>
              <a:gd name="T4" fmla="*/ 24 w 49"/>
              <a:gd name="T5" fmla="*/ 3 h 49"/>
              <a:gd name="T6" fmla="*/ 46 w 49"/>
              <a:gd name="T7" fmla="*/ 25 h 49"/>
              <a:gd name="T8" fmla="*/ 49 w 49"/>
              <a:gd name="T9" fmla="*/ 25 h 49"/>
              <a:gd name="T10" fmla="*/ 46 w 49"/>
              <a:gd name="T11" fmla="*/ 25 h 49"/>
              <a:gd name="T12" fmla="*/ 24 w 49"/>
              <a:gd name="T13" fmla="*/ 47 h 49"/>
              <a:gd name="T14" fmla="*/ 24 w 49"/>
              <a:gd name="T15" fmla="*/ 49 h 49"/>
              <a:gd name="T16" fmla="*/ 24 w 49"/>
              <a:gd name="T17" fmla="*/ 47 h 49"/>
              <a:gd name="T18" fmla="*/ 2 w 49"/>
              <a:gd name="T19" fmla="*/ 25 h 49"/>
              <a:gd name="T20" fmla="*/ 0 w 49"/>
              <a:gd name="T21" fmla="*/ 25 h 49"/>
              <a:gd name="T22" fmla="*/ 2 w 49"/>
              <a:gd name="T23" fmla="*/ 25 h 49"/>
              <a:gd name="T24" fmla="*/ 24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3"/>
                </a:moveTo>
                <a:lnTo>
                  <a:pt x="24" y="0"/>
                </a:lnTo>
                <a:lnTo>
                  <a:pt x="24" y="3"/>
                </a:lnTo>
                <a:lnTo>
                  <a:pt x="46" y="25"/>
                </a:lnTo>
                <a:lnTo>
                  <a:pt x="49" y="25"/>
                </a:lnTo>
                <a:lnTo>
                  <a:pt x="46" y="25"/>
                </a:lnTo>
                <a:lnTo>
                  <a:pt x="24" y="47"/>
                </a:lnTo>
                <a:lnTo>
                  <a:pt x="24" y="49"/>
                </a:lnTo>
                <a:lnTo>
                  <a:pt x="24" y="47"/>
                </a:lnTo>
                <a:lnTo>
                  <a:pt x="2" y="25"/>
                </a:lnTo>
                <a:lnTo>
                  <a:pt x="0" y="25"/>
                </a:lnTo>
                <a:lnTo>
                  <a:pt x="2" y="25"/>
                </a:lnTo>
                <a:lnTo>
                  <a:pt x="24"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4" name="Freeform 194"/>
          <p:cNvSpPr>
            <a:spLocks/>
          </p:cNvSpPr>
          <p:nvPr/>
        </p:nvSpPr>
        <p:spPr bwMode="auto">
          <a:xfrm>
            <a:off x="2955925" y="4176713"/>
            <a:ext cx="77788" cy="77788"/>
          </a:xfrm>
          <a:custGeom>
            <a:avLst/>
            <a:gdLst>
              <a:gd name="T0" fmla="*/ 25 w 49"/>
              <a:gd name="T1" fmla="*/ 3 h 49"/>
              <a:gd name="T2" fmla="*/ 25 w 49"/>
              <a:gd name="T3" fmla="*/ 0 h 49"/>
              <a:gd name="T4" fmla="*/ 25 w 49"/>
              <a:gd name="T5" fmla="*/ 3 h 49"/>
              <a:gd name="T6" fmla="*/ 47 w 49"/>
              <a:gd name="T7" fmla="*/ 25 h 49"/>
              <a:gd name="T8" fmla="*/ 49 w 49"/>
              <a:gd name="T9" fmla="*/ 25 h 49"/>
              <a:gd name="T10" fmla="*/ 47 w 49"/>
              <a:gd name="T11" fmla="*/ 25 h 49"/>
              <a:gd name="T12" fmla="*/ 25 w 49"/>
              <a:gd name="T13" fmla="*/ 47 h 49"/>
              <a:gd name="T14" fmla="*/ 25 w 49"/>
              <a:gd name="T15" fmla="*/ 49 h 49"/>
              <a:gd name="T16" fmla="*/ 25 w 49"/>
              <a:gd name="T17" fmla="*/ 47 h 49"/>
              <a:gd name="T18" fmla="*/ 3 w 49"/>
              <a:gd name="T19" fmla="*/ 25 h 49"/>
              <a:gd name="T20" fmla="*/ 0 w 49"/>
              <a:gd name="T21" fmla="*/ 25 h 49"/>
              <a:gd name="T22" fmla="*/ 3 w 49"/>
              <a:gd name="T23" fmla="*/ 25 h 49"/>
              <a:gd name="T24" fmla="*/ 25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3"/>
                </a:moveTo>
                <a:lnTo>
                  <a:pt x="25" y="0"/>
                </a:lnTo>
                <a:lnTo>
                  <a:pt x="25" y="3"/>
                </a:lnTo>
                <a:lnTo>
                  <a:pt x="47" y="25"/>
                </a:lnTo>
                <a:lnTo>
                  <a:pt x="49" y="25"/>
                </a:lnTo>
                <a:lnTo>
                  <a:pt x="47" y="25"/>
                </a:lnTo>
                <a:lnTo>
                  <a:pt x="25" y="47"/>
                </a:lnTo>
                <a:lnTo>
                  <a:pt x="25" y="49"/>
                </a:lnTo>
                <a:lnTo>
                  <a:pt x="25" y="47"/>
                </a:lnTo>
                <a:lnTo>
                  <a:pt x="3" y="25"/>
                </a:lnTo>
                <a:lnTo>
                  <a:pt x="0" y="25"/>
                </a:lnTo>
                <a:lnTo>
                  <a:pt x="3" y="25"/>
                </a:lnTo>
                <a:lnTo>
                  <a:pt x="25"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5" name="Freeform 195"/>
          <p:cNvSpPr>
            <a:spLocks/>
          </p:cNvSpPr>
          <p:nvPr/>
        </p:nvSpPr>
        <p:spPr bwMode="auto">
          <a:xfrm>
            <a:off x="3360738" y="4262438"/>
            <a:ext cx="77788" cy="77788"/>
          </a:xfrm>
          <a:custGeom>
            <a:avLst/>
            <a:gdLst>
              <a:gd name="T0" fmla="*/ 24 w 49"/>
              <a:gd name="T1" fmla="*/ 3 h 49"/>
              <a:gd name="T2" fmla="*/ 24 w 49"/>
              <a:gd name="T3" fmla="*/ 0 h 49"/>
              <a:gd name="T4" fmla="*/ 24 w 49"/>
              <a:gd name="T5" fmla="*/ 3 h 49"/>
              <a:gd name="T6" fmla="*/ 46 w 49"/>
              <a:gd name="T7" fmla="*/ 25 h 49"/>
              <a:gd name="T8" fmla="*/ 49 w 49"/>
              <a:gd name="T9" fmla="*/ 25 h 49"/>
              <a:gd name="T10" fmla="*/ 46 w 49"/>
              <a:gd name="T11" fmla="*/ 25 h 49"/>
              <a:gd name="T12" fmla="*/ 24 w 49"/>
              <a:gd name="T13" fmla="*/ 47 h 49"/>
              <a:gd name="T14" fmla="*/ 24 w 49"/>
              <a:gd name="T15" fmla="*/ 49 h 49"/>
              <a:gd name="T16" fmla="*/ 24 w 49"/>
              <a:gd name="T17" fmla="*/ 47 h 49"/>
              <a:gd name="T18" fmla="*/ 2 w 49"/>
              <a:gd name="T19" fmla="*/ 25 h 49"/>
              <a:gd name="T20" fmla="*/ 0 w 49"/>
              <a:gd name="T21" fmla="*/ 25 h 49"/>
              <a:gd name="T22" fmla="*/ 2 w 49"/>
              <a:gd name="T23" fmla="*/ 25 h 49"/>
              <a:gd name="T24" fmla="*/ 24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3"/>
                </a:moveTo>
                <a:lnTo>
                  <a:pt x="24" y="0"/>
                </a:lnTo>
                <a:lnTo>
                  <a:pt x="24" y="3"/>
                </a:lnTo>
                <a:lnTo>
                  <a:pt x="46" y="25"/>
                </a:lnTo>
                <a:lnTo>
                  <a:pt x="49" y="25"/>
                </a:lnTo>
                <a:lnTo>
                  <a:pt x="46" y="25"/>
                </a:lnTo>
                <a:lnTo>
                  <a:pt x="24" y="47"/>
                </a:lnTo>
                <a:lnTo>
                  <a:pt x="24" y="49"/>
                </a:lnTo>
                <a:lnTo>
                  <a:pt x="24" y="47"/>
                </a:lnTo>
                <a:lnTo>
                  <a:pt x="2" y="25"/>
                </a:lnTo>
                <a:lnTo>
                  <a:pt x="0" y="25"/>
                </a:lnTo>
                <a:lnTo>
                  <a:pt x="2" y="25"/>
                </a:lnTo>
                <a:lnTo>
                  <a:pt x="24"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6" name="Freeform 196"/>
          <p:cNvSpPr>
            <a:spLocks/>
          </p:cNvSpPr>
          <p:nvPr/>
        </p:nvSpPr>
        <p:spPr bwMode="auto">
          <a:xfrm>
            <a:off x="3632200" y="4379913"/>
            <a:ext cx="77788" cy="77788"/>
          </a:xfrm>
          <a:custGeom>
            <a:avLst/>
            <a:gdLst>
              <a:gd name="T0" fmla="*/ 25 w 49"/>
              <a:gd name="T1" fmla="*/ 2 h 49"/>
              <a:gd name="T2" fmla="*/ 25 w 49"/>
              <a:gd name="T3" fmla="*/ 0 h 49"/>
              <a:gd name="T4" fmla="*/ 25 w 49"/>
              <a:gd name="T5" fmla="*/ 2 h 49"/>
              <a:gd name="T6" fmla="*/ 47 w 49"/>
              <a:gd name="T7" fmla="*/ 24 h 49"/>
              <a:gd name="T8" fmla="*/ 49 w 49"/>
              <a:gd name="T9" fmla="*/ 24 h 49"/>
              <a:gd name="T10" fmla="*/ 47 w 49"/>
              <a:gd name="T11" fmla="*/ 24 h 49"/>
              <a:gd name="T12" fmla="*/ 25 w 49"/>
              <a:gd name="T13" fmla="*/ 46 h 49"/>
              <a:gd name="T14" fmla="*/ 25 w 49"/>
              <a:gd name="T15" fmla="*/ 49 h 49"/>
              <a:gd name="T16" fmla="*/ 25 w 49"/>
              <a:gd name="T17" fmla="*/ 46 h 49"/>
              <a:gd name="T18" fmla="*/ 3 w 49"/>
              <a:gd name="T19" fmla="*/ 24 h 49"/>
              <a:gd name="T20" fmla="*/ 0 w 49"/>
              <a:gd name="T21" fmla="*/ 24 h 49"/>
              <a:gd name="T22" fmla="*/ 3 w 49"/>
              <a:gd name="T23" fmla="*/ 24 h 49"/>
              <a:gd name="T24" fmla="*/ 25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2"/>
                </a:moveTo>
                <a:lnTo>
                  <a:pt x="25" y="0"/>
                </a:lnTo>
                <a:lnTo>
                  <a:pt x="25" y="2"/>
                </a:lnTo>
                <a:lnTo>
                  <a:pt x="47" y="24"/>
                </a:lnTo>
                <a:lnTo>
                  <a:pt x="49" y="24"/>
                </a:lnTo>
                <a:lnTo>
                  <a:pt x="47" y="24"/>
                </a:lnTo>
                <a:lnTo>
                  <a:pt x="25" y="46"/>
                </a:lnTo>
                <a:lnTo>
                  <a:pt x="25" y="49"/>
                </a:lnTo>
                <a:lnTo>
                  <a:pt x="25" y="46"/>
                </a:lnTo>
                <a:lnTo>
                  <a:pt x="3" y="24"/>
                </a:lnTo>
                <a:lnTo>
                  <a:pt x="0" y="24"/>
                </a:lnTo>
                <a:lnTo>
                  <a:pt x="3" y="24"/>
                </a:lnTo>
                <a:lnTo>
                  <a:pt x="25"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7" name="Freeform 197"/>
          <p:cNvSpPr>
            <a:spLocks/>
          </p:cNvSpPr>
          <p:nvPr/>
        </p:nvSpPr>
        <p:spPr bwMode="auto">
          <a:xfrm>
            <a:off x="4037013" y="4519613"/>
            <a:ext cx="77788" cy="77788"/>
          </a:xfrm>
          <a:custGeom>
            <a:avLst/>
            <a:gdLst>
              <a:gd name="T0" fmla="*/ 25 w 49"/>
              <a:gd name="T1" fmla="*/ 2 h 49"/>
              <a:gd name="T2" fmla="*/ 25 w 49"/>
              <a:gd name="T3" fmla="*/ 0 h 49"/>
              <a:gd name="T4" fmla="*/ 25 w 49"/>
              <a:gd name="T5" fmla="*/ 2 h 49"/>
              <a:gd name="T6" fmla="*/ 47 w 49"/>
              <a:gd name="T7" fmla="*/ 24 h 49"/>
              <a:gd name="T8" fmla="*/ 49 w 49"/>
              <a:gd name="T9" fmla="*/ 24 h 49"/>
              <a:gd name="T10" fmla="*/ 47 w 49"/>
              <a:gd name="T11" fmla="*/ 24 h 49"/>
              <a:gd name="T12" fmla="*/ 25 w 49"/>
              <a:gd name="T13" fmla="*/ 46 h 49"/>
              <a:gd name="T14" fmla="*/ 25 w 49"/>
              <a:gd name="T15" fmla="*/ 49 h 49"/>
              <a:gd name="T16" fmla="*/ 25 w 49"/>
              <a:gd name="T17" fmla="*/ 46 h 49"/>
              <a:gd name="T18" fmla="*/ 2 w 49"/>
              <a:gd name="T19" fmla="*/ 24 h 49"/>
              <a:gd name="T20" fmla="*/ 0 w 49"/>
              <a:gd name="T21" fmla="*/ 24 h 49"/>
              <a:gd name="T22" fmla="*/ 2 w 49"/>
              <a:gd name="T23" fmla="*/ 24 h 49"/>
              <a:gd name="T24" fmla="*/ 25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2"/>
                </a:moveTo>
                <a:lnTo>
                  <a:pt x="25" y="0"/>
                </a:lnTo>
                <a:lnTo>
                  <a:pt x="25" y="2"/>
                </a:lnTo>
                <a:lnTo>
                  <a:pt x="47" y="24"/>
                </a:lnTo>
                <a:lnTo>
                  <a:pt x="49" y="24"/>
                </a:lnTo>
                <a:lnTo>
                  <a:pt x="47" y="24"/>
                </a:lnTo>
                <a:lnTo>
                  <a:pt x="25" y="46"/>
                </a:lnTo>
                <a:lnTo>
                  <a:pt x="25" y="49"/>
                </a:lnTo>
                <a:lnTo>
                  <a:pt x="25" y="46"/>
                </a:lnTo>
                <a:lnTo>
                  <a:pt x="2" y="24"/>
                </a:lnTo>
                <a:lnTo>
                  <a:pt x="0" y="24"/>
                </a:lnTo>
                <a:lnTo>
                  <a:pt x="2" y="24"/>
                </a:lnTo>
                <a:lnTo>
                  <a:pt x="25"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8" name="Freeform 198"/>
          <p:cNvSpPr>
            <a:spLocks/>
          </p:cNvSpPr>
          <p:nvPr/>
        </p:nvSpPr>
        <p:spPr bwMode="auto">
          <a:xfrm>
            <a:off x="4713288" y="4511676"/>
            <a:ext cx="77788" cy="77788"/>
          </a:xfrm>
          <a:custGeom>
            <a:avLst/>
            <a:gdLst>
              <a:gd name="T0" fmla="*/ 25 w 49"/>
              <a:gd name="T1" fmla="*/ 2 h 49"/>
              <a:gd name="T2" fmla="*/ 25 w 49"/>
              <a:gd name="T3" fmla="*/ 0 h 49"/>
              <a:gd name="T4" fmla="*/ 25 w 49"/>
              <a:gd name="T5" fmla="*/ 2 h 49"/>
              <a:gd name="T6" fmla="*/ 47 w 49"/>
              <a:gd name="T7" fmla="*/ 24 h 49"/>
              <a:gd name="T8" fmla="*/ 49 w 49"/>
              <a:gd name="T9" fmla="*/ 24 h 49"/>
              <a:gd name="T10" fmla="*/ 47 w 49"/>
              <a:gd name="T11" fmla="*/ 24 h 49"/>
              <a:gd name="T12" fmla="*/ 25 w 49"/>
              <a:gd name="T13" fmla="*/ 46 h 49"/>
              <a:gd name="T14" fmla="*/ 25 w 49"/>
              <a:gd name="T15" fmla="*/ 49 h 49"/>
              <a:gd name="T16" fmla="*/ 25 w 49"/>
              <a:gd name="T17" fmla="*/ 46 h 49"/>
              <a:gd name="T18" fmla="*/ 3 w 49"/>
              <a:gd name="T19" fmla="*/ 24 h 49"/>
              <a:gd name="T20" fmla="*/ 0 w 49"/>
              <a:gd name="T21" fmla="*/ 24 h 49"/>
              <a:gd name="T22" fmla="*/ 3 w 49"/>
              <a:gd name="T23" fmla="*/ 24 h 49"/>
              <a:gd name="T24" fmla="*/ 25 w 49"/>
              <a:gd name="T25"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2"/>
                </a:moveTo>
                <a:lnTo>
                  <a:pt x="25" y="0"/>
                </a:lnTo>
                <a:lnTo>
                  <a:pt x="25" y="2"/>
                </a:lnTo>
                <a:lnTo>
                  <a:pt x="47" y="24"/>
                </a:lnTo>
                <a:lnTo>
                  <a:pt x="49" y="24"/>
                </a:lnTo>
                <a:lnTo>
                  <a:pt x="47" y="24"/>
                </a:lnTo>
                <a:lnTo>
                  <a:pt x="25" y="46"/>
                </a:lnTo>
                <a:lnTo>
                  <a:pt x="25" y="49"/>
                </a:lnTo>
                <a:lnTo>
                  <a:pt x="25" y="46"/>
                </a:lnTo>
                <a:lnTo>
                  <a:pt x="3" y="24"/>
                </a:lnTo>
                <a:lnTo>
                  <a:pt x="0" y="24"/>
                </a:lnTo>
                <a:lnTo>
                  <a:pt x="3" y="24"/>
                </a:lnTo>
                <a:lnTo>
                  <a:pt x="25"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9" name="Freeform 199"/>
          <p:cNvSpPr>
            <a:spLocks/>
          </p:cNvSpPr>
          <p:nvPr/>
        </p:nvSpPr>
        <p:spPr bwMode="auto">
          <a:xfrm>
            <a:off x="4845050" y="4543426"/>
            <a:ext cx="77788" cy="76200"/>
          </a:xfrm>
          <a:custGeom>
            <a:avLst/>
            <a:gdLst>
              <a:gd name="T0" fmla="*/ 25 w 49"/>
              <a:gd name="T1" fmla="*/ 2 h 48"/>
              <a:gd name="T2" fmla="*/ 25 w 49"/>
              <a:gd name="T3" fmla="*/ 0 h 48"/>
              <a:gd name="T4" fmla="*/ 25 w 49"/>
              <a:gd name="T5" fmla="*/ 2 h 48"/>
              <a:gd name="T6" fmla="*/ 47 w 49"/>
              <a:gd name="T7" fmla="*/ 24 h 48"/>
              <a:gd name="T8" fmla="*/ 49 w 49"/>
              <a:gd name="T9" fmla="*/ 24 h 48"/>
              <a:gd name="T10" fmla="*/ 47 w 49"/>
              <a:gd name="T11" fmla="*/ 24 h 48"/>
              <a:gd name="T12" fmla="*/ 25 w 49"/>
              <a:gd name="T13" fmla="*/ 46 h 48"/>
              <a:gd name="T14" fmla="*/ 25 w 49"/>
              <a:gd name="T15" fmla="*/ 48 h 48"/>
              <a:gd name="T16" fmla="*/ 25 w 49"/>
              <a:gd name="T17" fmla="*/ 46 h 48"/>
              <a:gd name="T18" fmla="*/ 3 w 49"/>
              <a:gd name="T19" fmla="*/ 24 h 48"/>
              <a:gd name="T20" fmla="*/ 0 w 49"/>
              <a:gd name="T21" fmla="*/ 24 h 48"/>
              <a:gd name="T22" fmla="*/ 3 w 49"/>
              <a:gd name="T23" fmla="*/ 24 h 48"/>
              <a:gd name="T24" fmla="*/ 25 w 49"/>
              <a:gd name="T25"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5" y="2"/>
                </a:moveTo>
                <a:lnTo>
                  <a:pt x="25" y="0"/>
                </a:lnTo>
                <a:lnTo>
                  <a:pt x="25" y="2"/>
                </a:lnTo>
                <a:lnTo>
                  <a:pt x="47" y="24"/>
                </a:lnTo>
                <a:lnTo>
                  <a:pt x="49" y="24"/>
                </a:lnTo>
                <a:lnTo>
                  <a:pt x="47" y="24"/>
                </a:lnTo>
                <a:lnTo>
                  <a:pt x="25" y="46"/>
                </a:lnTo>
                <a:lnTo>
                  <a:pt x="25" y="48"/>
                </a:lnTo>
                <a:lnTo>
                  <a:pt x="25" y="46"/>
                </a:lnTo>
                <a:lnTo>
                  <a:pt x="3" y="24"/>
                </a:lnTo>
                <a:lnTo>
                  <a:pt x="0" y="24"/>
                </a:lnTo>
                <a:lnTo>
                  <a:pt x="3" y="24"/>
                </a:lnTo>
                <a:lnTo>
                  <a:pt x="25"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0" name="Freeform 200"/>
          <p:cNvSpPr>
            <a:spLocks/>
          </p:cNvSpPr>
          <p:nvPr/>
        </p:nvSpPr>
        <p:spPr bwMode="auto">
          <a:xfrm>
            <a:off x="4978400" y="4691063"/>
            <a:ext cx="77788" cy="76200"/>
          </a:xfrm>
          <a:custGeom>
            <a:avLst/>
            <a:gdLst>
              <a:gd name="T0" fmla="*/ 24 w 49"/>
              <a:gd name="T1" fmla="*/ 2 h 48"/>
              <a:gd name="T2" fmla="*/ 24 w 49"/>
              <a:gd name="T3" fmla="*/ 0 h 48"/>
              <a:gd name="T4" fmla="*/ 24 w 49"/>
              <a:gd name="T5" fmla="*/ 2 h 48"/>
              <a:gd name="T6" fmla="*/ 46 w 49"/>
              <a:gd name="T7" fmla="*/ 24 h 48"/>
              <a:gd name="T8" fmla="*/ 49 w 49"/>
              <a:gd name="T9" fmla="*/ 24 h 48"/>
              <a:gd name="T10" fmla="*/ 46 w 49"/>
              <a:gd name="T11" fmla="*/ 24 h 48"/>
              <a:gd name="T12" fmla="*/ 24 w 49"/>
              <a:gd name="T13" fmla="*/ 46 h 48"/>
              <a:gd name="T14" fmla="*/ 24 w 49"/>
              <a:gd name="T15" fmla="*/ 48 h 48"/>
              <a:gd name="T16" fmla="*/ 24 w 49"/>
              <a:gd name="T17" fmla="*/ 46 h 48"/>
              <a:gd name="T18" fmla="*/ 2 w 49"/>
              <a:gd name="T19" fmla="*/ 24 h 48"/>
              <a:gd name="T20" fmla="*/ 0 w 49"/>
              <a:gd name="T21" fmla="*/ 24 h 48"/>
              <a:gd name="T22" fmla="*/ 2 w 49"/>
              <a:gd name="T23" fmla="*/ 24 h 48"/>
              <a:gd name="T24" fmla="*/ 24 w 49"/>
              <a:gd name="T25"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8">
                <a:moveTo>
                  <a:pt x="24" y="2"/>
                </a:moveTo>
                <a:lnTo>
                  <a:pt x="24" y="0"/>
                </a:lnTo>
                <a:lnTo>
                  <a:pt x="24" y="2"/>
                </a:lnTo>
                <a:lnTo>
                  <a:pt x="46" y="24"/>
                </a:lnTo>
                <a:lnTo>
                  <a:pt x="49" y="24"/>
                </a:lnTo>
                <a:lnTo>
                  <a:pt x="46" y="24"/>
                </a:lnTo>
                <a:lnTo>
                  <a:pt x="24" y="46"/>
                </a:lnTo>
                <a:lnTo>
                  <a:pt x="24" y="48"/>
                </a:lnTo>
                <a:lnTo>
                  <a:pt x="24" y="46"/>
                </a:lnTo>
                <a:lnTo>
                  <a:pt x="2" y="24"/>
                </a:lnTo>
                <a:lnTo>
                  <a:pt x="0" y="24"/>
                </a:lnTo>
                <a:lnTo>
                  <a:pt x="2" y="24"/>
                </a:lnTo>
                <a:lnTo>
                  <a:pt x="24" y="2"/>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1" name="Freeform 201"/>
          <p:cNvSpPr>
            <a:spLocks/>
          </p:cNvSpPr>
          <p:nvPr/>
        </p:nvSpPr>
        <p:spPr bwMode="auto">
          <a:xfrm>
            <a:off x="5118100" y="4713288"/>
            <a:ext cx="77788" cy="77788"/>
          </a:xfrm>
          <a:custGeom>
            <a:avLst/>
            <a:gdLst>
              <a:gd name="T0" fmla="*/ 24 w 49"/>
              <a:gd name="T1" fmla="*/ 3 h 49"/>
              <a:gd name="T2" fmla="*/ 24 w 49"/>
              <a:gd name="T3" fmla="*/ 0 h 49"/>
              <a:gd name="T4" fmla="*/ 24 w 49"/>
              <a:gd name="T5" fmla="*/ 3 h 49"/>
              <a:gd name="T6" fmla="*/ 46 w 49"/>
              <a:gd name="T7" fmla="*/ 25 h 49"/>
              <a:gd name="T8" fmla="*/ 49 w 49"/>
              <a:gd name="T9" fmla="*/ 25 h 49"/>
              <a:gd name="T10" fmla="*/ 46 w 49"/>
              <a:gd name="T11" fmla="*/ 25 h 49"/>
              <a:gd name="T12" fmla="*/ 24 w 49"/>
              <a:gd name="T13" fmla="*/ 47 h 49"/>
              <a:gd name="T14" fmla="*/ 24 w 49"/>
              <a:gd name="T15" fmla="*/ 49 h 49"/>
              <a:gd name="T16" fmla="*/ 24 w 49"/>
              <a:gd name="T17" fmla="*/ 47 h 49"/>
              <a:gd name="T18" fmla="*/ 2 w 49"/>
              <a:gd name="T19" fmla="*/ 25 h 49"/>
              <a:gd name="T20" fmla="*/ 0 w 49"/>
              <a:gd name="T21" fmla="*/ 25 h 49"/>
              <a:gd name="T22" fmla="*/ 2 w 49"/>
              <a:gd name="T23" fmla="*/ 25 h 49"/>
              <a:gd name="T24" fmla="*/ 24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3"/>
                </a:moveTo>
                <a:lnTo>
                  <a:pt x="24" y="0"/>
                </a:lnTo>
                <a:lnTo>
                  <a:pt x="24" y="3"/>
                </a:lnTo>
                <a:lnTo>
                  <a:pt x="46" y="25"/>
                </a:lnTo>
                <a:lnTo>
                  <a:pt x="49" y="25"/>
                </a:lnTo>
                <a:lnTo>
                  <a:pt x="46" y="25"/>
                </a:lnTo>
                <a:lnTo>
                  <a:pt x="24" y="47"/>
                </a:lnTo>
                <a:lnTo>
                  <a:pt x="24" y="49"/>
                </a:lnTo>
                <a:lnTo>
                  <a:pt x="24" y="47"/>
                </a:lnTo>
                <a:lnTo>
                  <a:pt x="2" y="25"/>
                </a:lnTo>
                <a:lnTo>
                  <a:pt x="0" y="25"/>
                </a:lnTo>
                <a:lnTo>
                  <a:pt x="2" y="25"/>
                </a:lnTo>
                <a:lnTo>
                  <a:pt x="24"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2" name="Freeform 202"/>
          <p:cNvSpPr>
            <a:spLocks/>
          </p:cNvSpPr>
          <p:nvPr/>
        </p:nvSpPr>
        <p:spPr bwMode="auto">
          <a:xfrm>
            <a:off x="5249863" y="4783138"/>
            <a:ext cx="77788" cy="77788"/>
          </a:xfrm>
          <a:custGeom>
            <a:avLst/>
            <a:gdLst>
              <a:gd name="T0" fmla="*/ 24 w 49"/>
              <a:gd name="T1" fmla="*/ 3 h 49"/>
              <a:gd name="T2" fmla="*/ 24 w 49"/>
              <a:gd name="T3" fmla="*/ 0 h 49"/>
              <a:gd name="T4" fmla="*/ 24 w 49"/>
              <a:gd name="T5" fmla="*/ 3 h 49"/>
              <a:gd name="T6" fmla="*/ 47 w 49"/>
              <a:gd name="T7" fmla="*/ 25 h 49"/>
              <a:gd name="T8" fmla="*/ 49 w 49"/>
              <a:gd name="T9" fmla="*/ 25 h 49"/>
              <a:gd name="T10" fmla="*/ 47 w 49"/>
              <a:gd name="T11" fmla="*/ 25 h 49"/>
              <a:gd name="T12" fmla="*/ 24 w 49"/>
              <a:gd name="T13" fmla="*/ 47 h 49"/>
              <a:gd name="T14" fmla="*/ 24 w 49"/>
              <a:gd name="T15" fmla="*/ 49 h 49"/>
              <a:gd name="T16" fmla="*/ 24 w 49"/>
              <a:gd name="T17" fmla="*/ 47 h 49"/>
              <a:gd name="T18" fmla="*/ 2 w 49"/>
              <a:gd name="T19" fmla="*/ 25 h 49"/>
              <a:gd name="T20" fmla="*/ 0 w 49"/>
              <a:gd name="T21" fmla="*/ 25 h 49"/>
              <a:gd name="T22" fmla="*/ 2 w 49"/>
              <a:gd name="T23" fmla="*/ 25 h 49"/>
              <a:gd name="T24" fmla="*/ 24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4" y="3"/>
                </a:moveTo>
                <a:lnTo>
                  <a:pt x="24" y="0"/>
                </a:lnTo>
                <a:lnTo>
                  <a:pt x="24" y="3"/>
                </a:lnTo>
                <a:lnTo>
                  <a:pt x="47" y="25"/>
                </a:lnTo>
                <a:lnTo>
                  <a:pt x="49" y="25"/>
                </a:lnTo>
                <a:lnTo>
                  <a:pt x="47" y="25"/>
                </a:lnTo>
                <a:lnTo>
                  <a:pt x="24" y="47"/>
                </a:lnTo>
                <a:lnTo>
                  <a:pt x="24" y="49"/>
                </a:lnTo>
                <a:lnTo>
                  <a:pt x="24" y="47"/>
                </a:lnTo>
                <a:lnTo>
                  <a:pt x="2" y="25"/>
                </a:lnTo>
                <a:lnTo>
                  <a:pt x="0" y="25"/>
                </a:lnTo>
                <a:lnTo>
                  <a:pt x="2" y="25"/>
                </a:lnTo>
                <a:lnTo>
                  <a:pt x="24"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3" name="Freeform 203"/>
          <p:cNvSpPr>
            <a:spLocks/>
          </p:cNvSpPr>
          <p:nvPr/>
        </p:nvSpPr>
        <p:spPr bwMode="auto">
          <a:xfrm>
            <a:off x="5381625" y="4791076"/>
            <a:ext cx="77788" cy="77788"/>
          </a:xfrm>
          <a:custGeom>
            <a:avLst/>
            <a:gdLst>
              <a:gd name="T0" fmla="*/ 25 w 49"/>
              <a:gd name="T1" fmla="*/ 3 h 49"/>
              <a:gd name="T2" fmla="*/ 25 w 49"/>
              <a:gd name="T3" fmla="*/ 0 h 49"/>
              <a:gd name="T4" fmla="*/ 25 w 49"/>
              <a:gd name="T5" fmla="*/ 3 h 49"/>
              <a:gd name="T6" fmla="*/ 47 w 49"/>
              <a:gd name="T7" fmla="*/ 25 h 49"/>
              <a:gd name="T8" fmla="*/ 49 w 49"/>
              <a:gd name="T9" fmla="*/ 25 h 49"/>
              <a:gd name="T10" fmla="*/ 47 w 49"/>
              <a:gd name="T11" fmla="*/ 25 h 49"/>
              <a:gd name="T12" fmla="*/ 25 w 49"/>
              <a:gd name="T13" fmla="*/ 47 h 49"/>
              <a:gd name="T14" fmla="*/ 25 w 49"/>
              <a:gd name="T15" fmla="*/ 49 h 49"/>
              <a:gd name="T16" fmla="*/ 25 w 49"/>
              <a:gd name="T17" fmla="*/ 47 h 49"/>
              <a:gd name="T18" fmla="*/ 3 w 49"/>
              <a:gd name="T19" fmla="*/ 25 h 49"/>
              <a:gd name="T20" fmla="*/ 0 w 49"/>
              <a:gd name="T21" fmla="*/ 25 h 49"/>
              <a:gd name="T22" fmla="*/ 3 w 49"/>
              <a:gd name="T23" fmla="*/ 25 h 49"/>
              <a:gd name="T24" fmla="*/ 25 w 49"/>
              <a:gd name="T25" fmla="*/ 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49">
                <a:moveTo>
                  <a:pt x="25" y="3"/>
                </a:moveTo>
                <a:lnTo>
                  <a:pt x="25" y="0"/>
                </a:lnTo>
                <a:lnTo>
                  <a:pt x="25" y="3"/>
                </a:lnTo>
                <a:lnTo>
                  <a:pt x="47" y="25"/>
                </a:lnTo>
                <a:lnTo>
                  <a:pt x="49" y="25"/>
                </a:lnTo>
                <a:lnTo>
                  <a:pt x="47" y="25"/>
                </a:lnTo>
                <a:lnTo>
                  <a:pt x="25" y="47"/>
                </a:lnTo>
                <a:lnTo>
                  <a:pt x="25" y="49"/>
                </a:lnTo>
                <a:lnTo>
                  <a:pt x="25" y="47"/>
                </a:lnTo>
                <a:lnTo>
                  <a:pt x="3" y="25"/>
                </a:lnTo>
                <a:lnTo>
                  <a:pt x="0" y="25"/>
                </a:lnTo>
                <a:lnTo>
                  <a:pt x="3" y="25"/>
                </a:lnTo>
                <a:lnTo>
                  <a:pt x="25" y="3"/>
                </a:ln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96" name="Rectangle 216"/>
          <p:cNvSpPr>
            <a:spLocks noChangeArrowheads="1"/>
          </p:cNvSpPr>
          <p:nvPr/>
        </p:nvSpPr>
        <p:spPr bwMode="auto">
          <a:xfrm>
            <a:off x="741363" y="5235576"/>
            <a:ext cx="1635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97" name="Rectangle 217"/>
          <p:cNvSpPr>
            <a:spLocks noChangeArrowheads="1"/>
          </p:cNvSpPr>
          <p:nvPr/>
        </p:nvSpPr>
        <p:spPr bwMode="auto">
          <a:xfrm>
            <a:off x="649288" y="4779963"/>
            <a:ext cx="249238"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98" name="Rectangle 218"/>
          <p:cNvSpPr>
            <a:spLocks noChangeArrowheads="1"/>
          </p:cNvSpPr>
          <p:nvPr/>
        </p:nvSpPr>
        <p:spPr bwMode="auto">
          <a:xfrm>
            <a:off x="557213" y="4325938"/>
            <a:ext cx="3413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1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499" name="Rectangle 219"/>
          <p:cNvSpPr>
            <a:spLocks noChangeArrowheads="1"/>
          </p:cNvSpPr>
          <p:nvPr/>
        </p:nvSpPr>
        <p:spPr bwMode="auto">
          <a:xfrm>
            <a:off x="557213" y="3871913"/>
            <a:ext cx="3413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1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0" name="Rectangle 220"/>
          <p:cNvSpPr>
            <a:spLocks noChangeArrowheads="1"/>
          </p:cNvSpPr>
          <p:nvPr/>
        </p:nvSpPr>
        <p:spPr bwMode="auto">
          <a:xfrm>
            <a:off x="557213" y="3417888"/>
            <a:ext cx="3413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1" name="Rectangle 221"/>
          <p:cNvSpPr>
            <a:spLocks noChangeArrowheads="1"/>
          </p:cNvSpPr>
          <p:nvPr/>
        </p:nvSpPr>
        <p:spPr bwMode="auto">
          <a:xfrm>
            <a:off x="557213" y="2963863"/>
            <a:ext cx="3413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2" name="Rectangle 222"/>
          <p:cNvSpPr>
            <a:spLocks noChangeArrowheads="1"/>
          </p:cNvSpPr>
          <p:nvPr/>
        </p:nvSpPr>
        <p:spPr bwMode="auto">
          <a:xfrm>
            <a:off x="557213" y="2508251"/>
            <a:ext cx="341313" cy="211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3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3" name="Rectangle 223"/>
          <p:cNvSpPr>
            <a:spLocks noChangeArrowheads="1"/>
          </p:cNvSpPr>
          <p:nvPr/>
        </p:nvSpPr>
        <p:spPr bwMode="auto">
          <a:xfrm>
            <a:off x="557213" y="2054226"/>
            <a:ext cx="34131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3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4" name="Rectangle 224"/>
          <p:cNvSpPr>
            <a:spLocks noChangeArrowheads="1"/>
          </p:cNvSpPr>
          <p:nvPr/>
        </p:nvSpPr>
        <p:spPr bwMode="auto">
          <a:xfrm>
            <a:off x="792163" y="5432426"/>
            <a:ext cx="4349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198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5" name="Rectangle 225"/>
          <p:cNvSpPr>
            <a:spLocks noChangeArrowheads="1"/>
          </p:cNvSpPr>
          <p:nvPr/>
        </p:nvSpPr>
        <p:spPr bwMode="auto">
          <a:xfrm>
            <a:off x="2141538" y="5432426"/>
            <a:ext cx="4365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199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6" name="Rectangle 226"/>
          <p:cNvSpPr>
            <a:spLocks noChangeArrowheads="1"/>
          </p:cNvSpPr>
          <p:nvPr/>
        </p:nvSpPr>
        <p:spPr bwMode="auto">
          <a:xfrm>
            <a:off x="3492500" y="5432426"/>
            <a:ext cx="4349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0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7" name="Rectangle 227"/>
          <p:cNvSpPr>
            <a:spLocks noChangeArrowheads="1"/>
          </p:cNvSpPr>
          <p:nvPr/>
        </p:nvSpPr>
        <p:spPr bwMode="auto">
          <a:xfrm>
            <a:off x="4841875" y="5432426"/>
            <a:ext cx="4349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01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8" name="Rectangle 228"/>
          <p:cNvSpPr>
            <a:spLocks noChangeArrowheads="1"/>
          </p:cNvSpPr>
          <p:nvPr/>
        </p:nvSpPr>
        <p:spPr bwMode="auto">
          <a:xfrm>
            <a:off x="6191250" y="5432426"/>
            <a:ext cx="436563"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02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09" name="Rectangle 229"/>
          <p:cNvSpPr>
            <a:spLocks noChangeArrowheads="1"/>
          </p:cNvSpPr>
          <p:nvPr/>
        </p:nvSpPr>
        <p:spPr bwMode="auto">
          <a:xfrm>
            <a:off x="7542213" y="5432426"/>
            <a:ext cx="434975"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300" b="0" i="0" u="none" strike="noStrike" cap="none" normalizeH="0" baseline="0" smtClean="0">
                <a:ln>
                  <a:noFill/>
                </a:ln>
                <a:solidFill>
                  <a:srgbClr val="0F1923"/>
                </a:solidFill>
                <a:effectLst/>
                <a:latin typeface="Arial" pitchFamily="34" charset="0"/>
                <a:cs typeface="Arial" pitchFamily="34" charset="0"/>
              </a:rPr>
              <a:t>203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10" name="Freeform 230"/>
          <p:cNvSpPr>
            <a:spLocks noEditPoints="1"/>
          </p:cNvSpPr>
          <p:nvPr/>
        </p:nvSpPr>
        <p:spPr bwMode="auto">
          <a:xfrm>
            <a:off x="1004888" y="6392863"/>
            <a:ext cx="482600" cy="7938"/>
          </a:xfrm>
          <a:custGeom>
            <a:avLst/>
            <a:gdLst>
              <a:gd name="T0" fmla="*/ 0 w 304"/>
              <a:gd name="T1" fmla="*/ 0 h 5"/>
              <a:gd name="T2" fmla="*/ 49 w 304"/>
              <a:gd name="T3" fmla="*/ 0 h 5"/>
              <a:gd name="T4" fmla="*/ 49 w 304"/>
              <a:gd name="T5" fmla="*/ 5 h 5"/>
              <a:gd name="T6" fmla="*/ 0 w 304"/>
              <a:gd name="T7" fmla="*/ 5 h 5"/>
              <a:gd name="T8" fmla="*/ 0 w 304"/>
              <a:gd name="T9" fmla="*/ 0 h 5"/>
              <a:gd name="T10" fmla="*/ 88 w 304"/>
              <a:gd name="T11" fmla="*/ 0 h 5"/>
              <a:gd name="T12" fmla="*/ 132 w 304"/>
              <a:gd name="T13" fmla="*/ 0 h 5"/>
              <a:gd name="T14" fmla="*/ 132 w 304"/>
              <a:gd name="T15" fmla="*/ 5 h 5"/>
              <a:gd name="T16" fmla="*/ 88 w 304"/>
              <a:gd name="T17" fmla="*/ 5 h 5"/>
              <a:gd name="T18" fmla="*/ 88 w 304"/>
              <a:gd name="T19" fmla="*/ 0 h 5"/>
              <a:gd name="T20" fmla="*/ 172 w 304"/>
              <a:gd name="T21" fmla="*/ 0 h 5"/>
              <a:gd name="T22" fmla="*/ 220 w 304"/>
              <a:gd name="T23" fmla="*/ 0 h 5"/>
              <a:gd name="T24" fmla="*/ 220 w 304"/>
              <a:gd name="T25" fmla="*/ 5 h 5"/>
              <a:gd name="T26" fmla="*/ 172 w 304"/>
              <a:gd name="T27" fmla="*/ 5 h 5"/>
              <a:gd name="T28" fmla="*/ 172 w 304"/>
              <a:gd name="T29" fmla="*/ 0 h 5"/>
              <a:gd name="T30" fmla="*/ 260 w 304"/>
              <a:gd name="T31" fmla="*/ 0 h 5"/>
              <a:gd name="T32" fmla="*/ 304 w 304"/>
              <a:gd name="T33" fmla="*/ 0 h 5"/>
              <a:gd name="T34" fmla="*/ 304 w 304"/>
              <a:gd name="T35" fmla="*/ 5 h 5"/>
              <a:gd name="T36" fmla="*/ 260 w 304"/>
              <a:gd name="T37" fmla="*/ 5 h 5"/>
              <a:gd name="T38" fmla="*/ 260 w 304"/>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4" h="5">
                <a:moveTo>
                  <a:pt x="0" y="0"/>
                </a:moveTo>
                <a:lnTo>
                  <a:pt x="49" y="0"/>
                </a:lnTo>
                <a:lnTo>
                  <a:pt x="49" y="5"/>
                </a:lnTo>
                <a:lnTo>
                  <a:pt x="0" y="5"/>
                </a:lnTo>
                <a:lnTo>
                  <a:pt x="0" y="0"/>
                </a:lnTo>
                <a:close/>
                <a:moveTo>
                  <a:pt x="88" y="0"/>
                </a:moveTo>
                <a:lnTo>
                  <a:pt x="132" y="0"/>
                </a:lnTo>
                <a:lnTo>
                  <a:pt x="132" y="5"/>
                </a:lnTo>
                <a:lnTo>
                  <a:pt x="88" y="5"/>
                </a:lnTo>
                <a:lnTo>
                  <a:pt x="88" y="0"/>
                </a:lnTo>
                <a:close/>
                <a:moveTo>
                  <a:pt x="172" y="0"/>
                </a:moveTo>
                <a:lnTo>
                  <a:pt x="220" y="0"/>
                </a:lnTo>
                <a:lnTo>
                  <a:pt x="220" y="5"/>
                </a:lnTo>
                <a:lnTo>
                  <a:pt x="172" y="5"/>
                </a:lnTo>
                <a:lnTo>
                  <a:pt x="172" y="0"/>
                </a:lnTo>
                <a:close/>
                <a:moveTo>
                  <a:pt x="260" y="0"/>
                </a:moveTo>
                <a:lnTo>
                  <a:pt x="304" y="0"/>
                </a:lnTo>
                <a:lnTo>
                  <a:pt x="304" y="5"/>
                </a:lnTo>
                <a:lnTo>
                  <a:pt x="260" y="5"/>
                </a:lnTo>
                <a:lnTo>
                  <a:pt x="260"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1" name="Freeform 231"/>
          <p:cNvSpPr>
            <a:spLocks noEditPoints="1"/>
          </p:cNvSpPr>
          <p:nvPr/>
        </p:nvSpPr>
        <p:spPr bwMode="auto">
          <a:xfrm>
            <a:off x="1549400" y="6392863"/>
            <a:ext cx="482600" cy="7938"/>
          </a:xfrm>
          <a:custGeom>
            <a:avLst/>
            <a:gdLst>
              <a:gd name="T0" fmla="*/ 0 w 304"/>
              <a:gd name="T1" fmla="*/ 0 h 5"/>
              <a:gd name="T2" fmla="*/ 44 w 304"/>
              <a:gd name="T3" fmla="*/ 0 h 5"/>
              <a:gd name="T4" fmla="*/ 44 w 304"/>
              <a:gd name="T5" fmla="*/ 5 h 5"/>
              <a:gd name="T6" fmla="*/ 0 w 304"/>
              <a:gd name="T7" fmla="*/ 5 h 5"/>
              <a:gd name="T8" fmla="*/ 0 w 304"/>
              <a:gd name="T9" fmla="*/ 0 h 5"/>
              <a:gd name="T10" fmla="*/ 83 w 304"/>
              <a:gd name="T11" fmla="*/ 0 h 5"/>
              <a:gd name="T12" fmla="*/ 132 w 304"/>
              <a:gd name="T13" fmla="*/ 0 h 5"/>
              <a:gd name="T14" fmla="*/ 132 w 304"/>
              <a:gd name="T15" fmla="*/ 5 h 5"/>
              <a:gd name="T16" fmla="*/ 83 w 304"/>
              <a:gd name="T17" fmla="*/ 5 h 5"/>
              <a:gd name="T18" fmla="*/ 83 w 304"/>
              <a:gd name="T19" fmla="*/ 0 h 5"/>
              <a:gd name="T20" fmla="*/ 171 w 304"/>
              <a:gd name="T21" fmla="*/ 0 h 5"/>
              <a:gd name="T22" fmla="*/ 215 w 304"/>
              <a:gd name="T23" fmla="*/ 0 h 5"/>
              <a:gd name="T24" fmla="*/ 215 w 304"/>
              <a:gd name="T25" fmla="*/ 5 h 5"/>
              <a:gd name="T26" fmla="*/ 171 w 304"/>
              <a:gd name="T27" fmla="*/ 5 h 5"/>
              <a:gd name="T28" fmla="*/ 171 w 304"/>
              <a:gd name="T29" fmla="*/ 0 h 5"/>
              <a:gd name="T30" fmla="*/ 255 w 304"/>
              <a:gd name="T31" fmla="*/ 0 h 5"/>
              <a:gd name="T32" fmla="*/ 304 w 304"/>
              <a:gd name="T33" fmla="*/ 0 h 5"/>
              <a:gd name="T34" fmla="*/ 304 w 304"/>
              <a:gd name="T35" fmla="*/ 5 h 5"/>
              <a:gd name="T36" fmla="*/ 255 w 304"/>
              <a:gd name="T37" fmla="*/ 5 h 5"/>
              <a:gd name="T38" fmla="*/ 255 w 304"/>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4" h="5">
                <a:moveTo>
                  <a:pt x="0" y="0"/>
                </a:moveTo>
                <a:lnTo>
                  <a:pt x="44" y="0"/>
                </a:lnTo>
                <a:lnTo>
                  <a:pt x="44" y="5"/>
                </a:lnTo>
                <a:lnTo>
                  <a:pt x="0" y="5"/>
                </a:lnTo>
                <a:lnTo>
                  <a:pt x="0" y="0"/>
                </a:lnTo>
                <a:close/>
                <a:moveTo>
                  <a:pt x="83" y="0"/>
                </a:moveTo>
                <a:lnTo>
                  <a:pt x="132" y="0"/>
                </a:lnTo>
                <a:lnTo>
                  <a:pt x="132" y="5"/>
                </a:lnTo>
                <a:lnTo>
                  <a:pt x="83" y="5"/>
                </a:lnTo>
                <a:lnTo>
                  <a:pt x="83" y="0"/>
                </a:lnTo>
                <a:close/>
                <a:moveTo>
                  <a:pt x="171" y="0"/>
                </a:moveTo>
                <a:lnTo>
                  <a:pt x="215" y="0"/>
                </a:lnTo>
                <a:lnTo>
                  <a:pt x="215" y="5"/>
                </a:lnTo>
                <a:lnTo>
                  <a:pt x="171" y="5"/>
                </a:lnTo>
                <a:lnTo>
                  <a:pt x="171" y="0"/>
                </a:lnTo>
                <a:close/>
                <a:moveTo>
                  <a:pt x="255" y="0"/>
                </a:moveTo>
                <a:lnTo>
                  <a:pt x="304" y="0"/>
                </a:lnTo>
                <a:lnTo>
                  <a:pt x="304" y="5"/>
                </a:lnTo>
                <a:lnTo>
                  <a:pt x="255" y="5"/>
                </a:lnTo>
                <a:lnTo>
                  <a:pt x="255"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2" name="Freeform 232"/>
          <p:cNvSpPr>
            <a:spLocks noEditPoints="1"/>
          </p:cNvSpPr>
          <p:nvPr/>
        </p:nvSpPr>
        <p:spPr bwMode="auto">
          <a:xfrm>
            <a:off x="2085975" y="6392863"/>
            <a:ext cx="481013" cy="7938"/>
          </a:xfrm>
          <a:custGeom>
            <a:avLst/>
            <a:gdLst>
              <a:gd name="T0" fmla="*/ 0 w 303"/>
              <a:gd name="T1" fmla="*/ 0 h 5"/>
              <a:gd name="T2" fmla="*/ 49 w 303"/>
              <a:gd name="T3" fmla="*/ 0 h 5"/>
              <a:gd name="T4" fmla="*/ 49 w 303"/>
              <a:gd name="T5" fmla="*/ 5 h 5"/>
              <a:gd name="T6" fmla="*/ 0 w 303"/>
              <a:gd name="T7" fmla="*/ 5 h 5"/>
              <a:gd name="T8" fmla="*/ 0 w 303"/>
              <a:gd name="T9" fmla="*/ 0 h 5"/>
              <a:gd name="T10" fmla="*/ 88 w 303"/>
              <a:gd name="T11" fmla="*/ 0 h 5"/>
              <a:gd name="T12" fmla="*/ 132 w 303"/>
              <a:gd name="T13" fmla="*/ 0 h 5"/>
              <a:gd name="T14" fmla="*/ 132 w 303"/>
              <a:gd name="T15" fmla="*/ 5 h 5"/>
              <a:gd name="T16" fmla="*/ 88 w 303"/>
              <a:gd name="T17" fmla="*/ 5 h 5"/>
              <a:gd name="T18" fmla="*/ 88 w 303"/>
              <a:gd name="T19" fmla="*/ 0 h 5"/>
              <a:gd name="T20" fmla="*/ 171 w 303"/>
              <a:gd name="T21" fmla="*/ 0 h 5"/>
              <a:gd name="T22" fmla="*/ 220 w 303"/>
              <a:gd name="T23" fmla="*/ 0 h 5"/>
              <a:gd name="T24" fmla="*/ 220 w 303"/>
              <a:gd name="T25" fmla="*/ 5 h 5"/>
              <a:gd name="T26" fmla="*/ 171 w 303"/>
              <a:gd name="T27" fmla="*/ 5 h 5"/>
              <a:gd name="T28" fmla="*/ 171 w 303"/>
              <a:gd name="T29" fmla="*/ 0 h 5"/>
              <a:gd name="T30" fmla="*/ 254 w 303"/>
              <a:gd name="T31" fmla="*/ 0 h 5"/>
              <a:gd name="T32" fmla="*/ 303 w 303"/>
              <a:gd name="T33" fmla="*/ 0 h 5"/>
              <a:gd name="T34" fmla="*/ 303 w 303"/>
              <a:gd name="T35" fmla="*/ 5 h 5"/>
              <a:gd name="T36" fmla="*/ 254 w 303"/>
              <a:gd name="T37" fmla="*/ 5 h 5"/>
              <a:gd name="T38" fmla="*/ 254 w 303"/>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3" h="5">
                <a:moveTo>
                  <a:pt x="0" y="0"/>
                </a:moveTo>
                <a:lnTo>
                  <a:pt x="49" y="0"/>
                </a:lnTo>
                <a:lnTo>
                  <a:pt x="49" y="5"/>
                </a:lnTo>
                <a:lnTo>
                  <a:pt x="0" y="5"/>
                </a:lnTo>
                <a:lnTo>
                  <a:pt x="0" y="0"/>
                </a:lnTo>
                <a:close/>
                <a:moveTo>
                  <a:pt x="88" y="0"/>
                </a:moveTo>
                <a:lnTo>
                  <a:pt x="132" y="0"/>
                </a:lnTo>
                <a:lnTo>
                  <a:pt x="132" y="5"/>
                </a:lnTo>
                <a:lnTo>
                  <a:pt x="88" y="5"/>
                </a:lnTo>
                <a:lnTo>
                  <a:pt x="88" y="0"/>
                </a:lnTo>
                <a:close/>
                <a:moveTo>
                  <a:pt x="171" y="0"/>
                </a:moveTo>
                <a:lnTo>
                  <a:pt x="220" y="0"/>
                </a:lnTo>
                <a:lnTo>
                  <a:pt x="220" y="5"/>
                </a:lnTo>
                <a:lnTo>
                  <a:pt x="171" y="5"/>
                </a:lnTo>
                <a:lnTo>
                  <a:pt x="171" y="0"/>
                </a:lnTo>
                <a:close/>
                <a:moveTo>
                  <a:pt x="254" y="0"/>
                </a:moveTo>
                <a:lnTo>
                  <a:pt x="303" y="0"/>
                </a:lnTo>
                <a:lnTo>
                  <a:pt x="303" y="5"/>
                </a:lnTo>
                <a:lnTo>
                  <a:pt x="254" y="5"/>
                </a:lnTo>
                <a:lnTo>
                  <a:pt x="25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3" name="Freeform 233"/>
          <p:cNvSpPr>
            <a:spLocks noEditPoints="1"/>
          </p:cNvSpPr>
          <p:nvPr/>
        </p:nvSpPr>
        <p:spPr bwMode="auto">
          <a:xfrm>
            <a:off x="2630488" y="6392863"/>
            <a:ext cx="473075" cy="7938"/>
          </a:xfrm>
          <a:custGeom>
            <a:avLst/>
            <a:gdLst>
              <a:gd name="T0" fmla="*/ 0 w 298"/>
              <a:gd name="T1" fmla="*/ 0 h 5"/>
              <a:gd name="T2" fmla="*/ 44 w 298"/>
              <a:gd name="T3" fmla="*/ 0 h 5"/>
              <a:gd name="T4" fmla="*/ 44 w 298"/>
              <a:gd name="T5" fmla="*/ 5 h 5"/>
              <a:gd name="T6" fmla="*/ 0 w 298"/>
              <a:gd name="T7" fmla="*/ 5 h 5"/>
              <a:gd name="T8" fmla="*/ 0 w 298"/>
              <a:gd name="T9" fmla="*/ 0 h 5"/>
              <a:gd name="T10" fmla="*/ 83 w 298"/>
              <a:gd name="T11" fmla="*/ 0 h 5"/>
              <a:gd name="T12" fmla="*/ 132 w 298"/>
              <a:gd name="T13" fmla="*/ 0 h 5"/>
              <a:gd name="T14" fmla="*/ 132 w 298"/>
              <a:gd name="T15" fmla="*/ 5 h 5"/>
              <a:gd name="T16" fmla="*/ 83 w 298"/>
              <a:gd name="T17" fmla="*/ 5 h 5"/>
              <a:gd name="T18" fmla="*/ 83 w 298"/>
              <a:gd name="T19" fmla="*/ 0 h 5"/>
              <a:gd name="T20" fmla="*/ 166 w 298"/>
              <a:gd name="T21" fmla="*/ 0 h 5"/>
              <a:gd name="T22" fmla="*/ 215 w 298"/>
              <a:gd name="T23" fmla="*/ 0 h 5"/>
              <a:gd name="T24" fmla="*/ 215 w 298"/>
              <a:gd name="T25" fmla="*/ 5 h 5"/>
              <a:gd name="T26" fmla="*/ 166 w 298"/>
              <a:gd name="T27" fmla="*/ 5 h 5"/>
              <a:gd name="T28" fmla="*/ 166 w 298"/>
              <a:gd name="T29" fmla="*/ 0 h 5"/>
              <a:gd name="T30" fmla="*/ 254 w 298"/>
              <a:gd name="T31" fmla="*/ 0 h 5"/>
              <a:gd name="T32" fmla="*/ 298 w 298"/>
              <a:gd name="T33" fmla="*/ 0 h 5"/>
              <a:gd name="T34" fmla="*/ 298 w 298"/>
              <a:gd name="T35" fmla="*/ 5 h 5"/>
              <a:gd name="T36" fmla="*/ 254 w 298"/>
              <a:gd name="T37" fmla="*/ 5 h 5"/>
              <a:gd name="T38" fmla="*/ 254 w 298"/>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8" h="5">
                <a:moveTo>
                  <a:pt x="0" y="0"/>
                </a:moveTo>
                <a:lnTo>
                  <a:pt x="44" y="0"/>
                </a:lnTo>
                <a:lnTo>
                  <a:pt x="44" y="5"/>
                </a:lnTo>
                <a:lnTo>
                  <a:pt x="0" y="5"/>
                </a:lnTo>
                <a:lnTo>
                  <a:pt x="0" y="0"/>
                </a:lnTo>
                <a:close/>
                <a:moveTo>
                  <a:pt x="83" y="0"/>
                </a:moveTo>
                <a:lnTo>
                  <a:pt x="132" y="0"/>
                </a:lnTo>
                <a:lnTo>
                  <a:pt x="132" y="5"/>
                </a:lnTo>
                <a:lnTo>
                  <a:pt x="83" y="5"/>
                </a:lnTo>
                <a:lnTo>
                  <a:pt x="83" y="0"/>
                </a:lnTo>
                <a:close/>
                <a:moveTo>
                  <a:pt x="166" y="0"/>
                </a:moveTo>
                <a:lnTo>
                  <a:pt x="215" y="0"/>
                </a:lnTo>
                <a:lnTo>
                  <a:pt x="215" y="5"/>
                </a:lnTo>
                <a:lnTo>
                  <a:pt x="166" y="5"/>
                </a:lnTo>
                <a:lnTo>
                  <a:pt x="166" y="0"/>
                </a:lnTo>
                <a:close/>
                <a:moveTo>
                  <a:pt x="254" y="0"/>
                </a:moveTo>
                <a:lnTo>
                  <a:pt x="298" y="0"/>
                </a:lnTo>
                <a:lnTo>
                  <a:pt x="298" y="5"/>
                </a:lnTo>
                <a:lnTo>
                  <a:pt x="254" y="5"/>
                </a:lnTo>
                <a:lnTo>
                  <a:pt x="25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4" name="Freeform 234"/>
          <p:cNvSpPr>
            <a:spLocks noEditPoints="1"/>
          </p:cNvSpPr>
          <p:nvPr/>
        </p:nvSpPr>
        <p:spPr bwMode="auto">
          <a:xfrm>
            <a:off x="3167063" y="6369051"/>
            <a:ext cx="481013" cy="31750"/>
          </a:xfrm>
          <a:custGeom>
            <a:avLst/>
            <a:gdLst>
              <a:gd name="T0" fmla="*/ 0 w 303"/>
              <a:gd name="T1" fmla="*/ 15 h 20"/>
              <a:gd name="T2" fmla="*/ 49 w 303"/>
              <a:gd name="T3" fmla="*/ 15 h 20"/>
              <a:gd name="T4" fmla="*/ 49 w 303"/>
              <a:gd name="T5" fmla="*/ 20 h 20"/>
              <a:gd name="T6" fmla="*/ 0 w 303"/>
              <a:gd name="T7" fmla="*/ 20 h 20"/>
              <a:gd name="T8" fmla="*/ 0 w 303"/>
              <a:gd name="T9" fmla="*/ 15 h 20"/>
              <a:gd name="T10" fmla="*/ 83 w 303"/>
              <a:gd name="T11" fmla="*/ 10 h 20"/>
              <a:gd name="T12" fmla="*/ 132 w 303"/>
              <a:gd name="T13" fmla="*/ 10 h 20"/>
              <a:gd name="T14" fmla="*/ 132 w 303"/>
              <a:gd name="T15" fmla="*/ 20 h 20"/>
              <a:gd name="T16" fmla="*/ 83 w 303"/>
              <a:gd name="T17" fmla="*/ 20 h 20"/>
              <a:gd name="T18" fmla="*/ 83 w 303"/>
              <a:gd name="T19" fmla="*/ 10 h 20"/>
              <a:gd name="T20" fmla="*/ 171 w 303"/>
              <a:gd name="T21" fmla="*/ 5 h 20"/>
              <a:gd name="T22" fmla="*/ 215 w 303"/>
              <a:gd name="T23" fmla="*/ 5 h 20"/>
              <a:gd name="T24" fmla="*/ 215 w 303"/>
              <a:gd name="T25" fmla="*/ 20 h 20"/>
              <a:gd name="T26" fmla="*/ 171 w 303"/>
              <a:gd name="T27" fmla="*/ 20 h 20"/>
              <a:gd name="T28" fmla="*/ 171 w 303"/>
              <a:gd name="T29" fmla="*/ 5 h 20"/>
              <a:gd name="T30" fmla="*/ 254 w 303"/>
              <a:gd name="T31" fmla="*/ 0 h 20"/>
              <a:gd name="T32" fmla="*/ 303 w 303"/>
              <a:gd name="T33" fmla="*/ 0 h 20"/>
              <a:gd name="T34" fmla="*/ 303 w 303"/>
              <a:gd name="T35" fmla="*/ 20 h 20"/>
              <a:gd name="T36" fmla="*/ 254 w 303"/>
              <a:gd name="T37" fmla="*/ 20 h 20"/>
              <a:gd name="T38" fmla="*/ 254 w 303"/>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3" h="20">
                <a:moveTo>
                  <a:pt x="0" y="15"/>
                </a:moveTo>
                <a:lnTo>
                  <a:pt x="49" y="15"/>
                </a:lnTo>
                <a:lnTo>
                  <a:pt x="49" y="20"/>
                </a:lnTo>
                <a:lnTo>
                  <a:pt x="0" y="20"/>
                </a:lnTo>
                <a:lnTo>
                  <a:pt x="0" y="15"/>
                </a:lnTo>
                <a:close/>
                <a:moveTo>
                  <a:pt x="83" y="10"/>
                </a:moveTo>
                <a:lnTo>
                  <a:pt x="132" y="10"/>
                </a:lnTo>
                <a:lnTo>
                  <a:pt x="132" y="20"/>
                </a:lnTo>
                <a:lnTo>
                  <a:pt x="83" y="20"/>
                </a:lnTo>
                <a:lnTo>
                  <a:pt x="83" y="10"/>
                </a:lnTo>
                <a:close/>
                <a:moveTo>
                  <a:pt x="171" y="5"/>
                </a:moveTo>
                <a:lnTo>
                  <a:pt x="215" y="5"/>
                </a:lnTo>
                <a:lnTo>
                  <a:pt x="215" y="20"/>
                </a:lnTo>
                <a:lnTo>
                  <a:pt x="171" y="20"/>
                </a:lnTo>
                <a:lnTo>
                  <a:pt x="171" y="5"/>
                </a:lnTo>
                <a:close/>
                <a:moveTo>
                  <a:pt x="254" y="0"/>
                </a:moveTo>
                <a:lnTo>
                  <a:pt x="303" y="0"/>
                </a:lnTo>
                <a:lnTo>
                  <a:pt x="303" y="20"/>
                </a:lnTo>
                <a:lnTo>
                  <a:pt x="254" y="20"/>
                </a:lnTo>
                <a:lnTo>
                  <a:pt x="25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5" name="Freeform 235"/>
          <p:cNvSpPr>
            <a:spLocks noEditPoints="1"/>
          </p:cNvSpPr>
          <p:nvPr/>
        </p:nvSpPr>
        <p:spPr bwMode="auto">
          <a:xfrm>
            <a:off x="3709988" y="6337301"/>
            <a:ext cx="474663" cy="63500"/>
          </a:xfrm>
          <a:custGeom>
            <a:avLst/>
            <a:gdLst>
              <a:gd name="T0" fmla="*/ 0 w 299"/>
              <a:gd name="T1" fmla="*/ 10 h 40"/>
              <a:gd name="T2" fmla="*/ 44 w 299"/>
              <a:gd name="T3" fmla="*/ 10 h 40"/>
              <a:gd name="T4" fmla="*/ 44 w 299"/>
              <a:gd name="T5" fmla="*/ 40 h 40"/>
              <a:gd name="T6" fmla="*/ 0 w 299"/>
              <a:gd name="T7" fmla="*/ 40 h 40"/>
              <a:gd name="T8" fmla="*/ 0 w 299"/>
              <a:gd name="T9" fmla="*/ 10 h 40"/>
              <a:gd name="T10" fmla="*/ 84 w 299"/>
              <a:gd name="T11" fmla="*/ 10 h 40"/>
              <a:gd name="T12" fmla="*/ 128 w 299"/>
              <a:gd name="T13" fmla="*/ 10 h 40"/>
              <a:gd name="T14" fmla="*/ 128 w 299"/>
              <a:gd name="T15" fmla="*/ 40 h 40"/>
              <a:gd name="T16" fmla="*/ 84 w 299"/>
              <a:gd name="T17" fmla="*/ 40 h 40"/>
              <a:gd name="T18" fmla="*/ 84 w 299"/>
              <a:gd name="T19" fmla="*/ 10 h 40"/>
              <a:gd name="T20" fmla="*/ 167 w 299"/>
              <a:gd name="T21" fmla="*/ 0 h 40"/>
              <a:gd name="T22" fmla="*/ 216 w 299"/>
              <a:gd name="T23" fmla="*/ 0 h 40"/>
              <a:gd name="T24" fmla="*/ 216 w 299"/>
              <a:gd name="T25" fmla="*/ 40 h 40"/>
              <a:gd name="T26" fmla="*/ 167 w 299"/>
              <a:gd name="T27" fmla="*/ 40 h 40"/>
              <a:gd name="T28" fmla="*/ 167 w 299"/>
              <a:gd name="T29" fmla="*/ 0 h 40"/>
              <a:gd name="T30" fmla="*/ 255 w 299"/>
              <a:gd name="T31" fmla="*/ 0 h 40"/>
              <a:gd name="T32" fmla="*/ 299 w 299"/>
              <a:gd name="T33" fmla="*/ 0 h 40"/>
              <a:gd name="T34" fmla="*/ 299 w 299"/>
              <a:gd name="T35" fmla="*/ 40 h 40"/>
              <a:gd name="T36" fmla="*/ 255 w 299"/>
              <a:gd name="T37" fmla="*/ 40 h 40"/>
              <a:gd name="T38" fmla="*/ 255 w 299"/>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9" h="40">
                <a:moveTo>
                  <a:pt x="0" y="10"/>
                </a:moveTo>
                <a:lnTo>
                  <a:pt x="44" y="10"/>
                </a:lnTo>
                <a:lnTo>
                  <a:pt x="44" y="40"/>
                </a:lnTo>
                <a:lnTo>
                  <a:pt x="0" y="40"/>
                </a:lnTo>
                <a:lnTo>
                  <a:pt x="0" y="10"/>
                </a:lnTo>
                <a:close/>
                <a:moveTo>
                  <a:pt x="84" y="10"/>
                </a:moveTo>
                <a:lnTo>
                  <a:pt x="128" y="10"/>
                </a:lnTo>
                <a:lnTo>
                  <a:pt x="128" y="40"/>
                </a:lnTo>
                <a:lnTo>
                  <a:pt x="84" y="40"/>
                </a:lnTo>
                <a:lnTo>
                  <a:pt x="84" y="10"/>
                </a:lnTo>
                <a:close/>
                <a:moveTo>
                  <a:pt x="167" y="0"/>
                </a:moveTo>
                <a:lnTo>
                  <a:pt x="216" y="0"/>
                </a:lnTo>
                <a:lnTo>
                  <a:pt x="216" y="40"/>
                </a:lnTo>
                <a:lnTo>
                  <a:pt x="167" y="40"/>
                </a:lnTo>
                <a:lnTo>
                  <a:pt x="167" y="0"/>
                </a:lnTo>
                <a:close/>
                <a:moveTo>
                  <a:pt x="255" y="0"/>
                </a:moveTo>
                <a:lnTo>
                  <a:pt x="299" y="0"/>
                </a:lnTo>
                <a:lnTo>
                  <a:pt x="299" y="40"/>
                </a:lnTo>
                <a:lnTo>
                  <a:pt x="255" y="40"/>
                </a:lnTo>
                <a:lnTo>
                  <a:pt x="255"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6" name="Freeform 236"/>
          <p:cNvSpPr>
            <a:spLocks noEditPoints="1"/>
          </p:cNvSpPr>
          <p:nvPr/>
        </p:nvSpPr>
        <p:spPr bwMode="auto">
          <a:xfrm>
            <a:off x="4246563" y="6181726"/>
            <a:ext cx="482600" cy="219075"/>
          </a:xfrm>
          <a:custGeom>
            <a:avLst/>
            <a:gdLst>
              <a:gd name="T0" fmla="*/ 0 w 304"/>
              <a:gd name="T1" fmla="*/ 84 h 138"/>
              <a:gd name="T2" fmla="*/ 49 w 304"/>
              <a:gd name="T3" fmla="*/ 84 h 138"/>
              <a:gd name="T4" fmla="*/ 49 w 304"/>
              <a:gd name="T5" fmla="*/ 138 h 138"/>
              <a:gd name="T6" fmla="*/ 0 w 304"/>
              <a:gd name="T7" fmla="*/ 138 h 138"/>
              <a:gd name="T8" fmla="*/ 0 w 304"/>
              <a:gd name="T9" fmla="*/ 84 h 138"/>
              <a:gd name="T10" fmla="*/ 84 w 304"/>
              <a:gd name="T11" fmla="*/ 64 h 138"/>
              <a:gd name="T12" fmla="*/ 132 w 304"/>
              <a:gd name="T13" fmla="*/ 64 h 138"/>
              <a:gd name="T14" fmla="*/ 132 w 304"/>
              <a:gd name="T15" fmla="*/ 138 h 138"/>
              <a:gd name="T16" fmla="*/ 84 w 304"/>
              <a:gd name="T17" fmla="*/ 138 h 138"/>
              <a:gd name="T18" fmla="*/ 84 w 304"/>
              <a:gd name="T19" fmla="*/ 64 h 138"/>
              <a:gd name="T20" fmla="*/ 172 w 304"/>
              <a:gd name="T21" fmla="*/ 40 h 138"/>
              <a:gd name="T22" fmla="*/ 216 w 304"/>
              <a:gd name="T23" fmla="*/ 40 h 138"/>
              <a:gd name="T24" fmla="*/ 216 w 304"/>
              <a:gd name="T25" fmla="*/ 138 h 138"/>
              <a:gd name="T26" fmla="*/ 172 w 304"/>
              <a:gd name="T27" fmla="*/ 138 h 138"/>
              <a:gd name="T28" fmla="*/ 172 w 304"/>
              <a:gd name="T29" fmla="*/ 40 h 138"/>
              <a:gd name="T30" fmla="*/ 255 w 304"/>
              <a:gd name="T31" fmla="*/ 0 h 138"/>
              <a:gd name="T32" fmla="*/ 304 w 304"/>
              <a:gd name="T33" fmla="*/ 0 h 138"/>
              <a:gd name="T34" fmla="*/ 304 w 304"/>
              <a:gd name="T35" fmla="*/ 138 h 138"/>
              <a:gd name="T36" fmla="*/ 255 w 304"/>
              <a:gd name="T37" fmla="*/ 138 h 138"/>
              <a:gd name="T38" fmla="*/ 255 w 304"/>
              <a:gd name="T3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4" h="138">
                <a:moveTo>
                  <a:pt x="0" y="84"/>
                </a:moveTo>
                <a:lnTo>
                  <a:pt x="49" y="84"/>
                </a:lnTo>
                <a:lnTo>
                  <a:pt x="49" y="138"/>
                </a:lnTo>
                <a:lnTo>
                  <a:pt x="0" y="138"/>
                </a:lnTo>
                <a:lnTo>
                  <a:pt x="0" y="84"/>
                </a:lnTo>
                <a:close/>
                <a:moveTo>
                  <a:pt x="84" y="64"/>
                </a:moveTo>
                <a:lnTo>
                  <a:pt x="132" y="64"/>
                </a:lnTo>
                <a:lnTo>
                  <a:pt x="132" y="138"/>
                </a:lnTo>
                <a:lnTo>
                  <a:pt x="84" y="138"/>
                </a:lnTo>
                <a:lnTo>
                  <a:pt x="84" y="64"/>
                </a:lnTo>
                <a:close/>
                <a:moveTo>
                  <a:pt x="172" y="40"/>
                </a:moveTo>
                <a:lnTo>
                  <a:pt x="216" y="40"/>
                </a:lnTo>
                <a:lnTo>
                  <a:pt x="216" y="138"/>
                </a:lnTo>
                <a:lnTo>
                  <a:pt x="172" y="138"/>
                </a:lnTo>
                <a:lnTo>
                  <a:pt x="172" y="40"/>
                </a:lnTo>
                <a:close/>
                <a:moveTo>
                  <a:pt x="255" y="0"/>
                </a:moveTo>
                <a:lnTo>
                  <a:pt x="304" y="0"/>
                </a:lnTo>
                <a:lnTo>
                  <a:pt x="304" y="138"/>
                </a:lnTo>
                <a:lnTo>
                  <a:pt x="255" y="138"/>
                </a:lnTo>
                <a:lnTo>
                  <a:pt x="255"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7" name="Freeform 237"/>
          <p:cNvSpPr>
            <a:spLocks noEditPoints="1"/>
          </p:cNvSpPr>
          <p:nvPr/>
        </p:nvSpPr>
        <p:spPr bwMode="auto">
          <a:xfrm>
            <a:off x="4783138" y="5949951"/>
            <a:ext cx="885825" cy="450850"/>
          </a:xfrm>
          <a:custGeom>
            <a:avLst/>
            <a:gdLst>
              <a:gd name="T0" fmla="*/ 0 w 558"/>
              <a:gd name="T1" fmla="*/ 112 h 284"/>
              <a:gd name="T2" fmla="*/ 49 w 558"/>
              <a:gd name="T3" fmla="*/ 112 h 284"/>
              <a:gd name="T4" fmla="*/ 49 w 558"/>
              <a:gd name="T5" fmla="*/ 284 h 284"/>
              <a:gd name="T6" fmla="*/ 0 w 558"/>
              <a:gd name="T7" fmla="*/ 284 h 284"/>
              <a:gd name="T8" fmla="*/ 0 w 558"/>
              <a:gd name="T9" fmla="*/ 112 h 284"/>
              <a:gd name="T10" fmla="*/ 88 w 558"/>
              <a:gd name="T11" fmla="*/ 122 h 284"/>
              <a:gd name="T12" fmla="*/ 132 w 558"/>
              <a:gd name="T13" fmla="*/ 122 h 284"/>
              <a:gd name="T14" fmla="*/ 132 w 558"/>
              <a:gd name="T15" fmla="*/ 284 h 284"/>
              <a:gd name="T16" fmla="*/ 88 w 558"/>
              <a:gd name="T17" fmla="*/ 284 h 284"/>
              <a:gd name="T18" fmla="*/ 88 w 558"/>
              <a:gd name="T19" fmla="*/ 122 h 284"/>
              <a:gd name="T20" fmla="*/ 172 w 558"/>
              <a:gd name="T21" fmla="*/ 88 h 284"/>
              <a:gd name="T22" fmla="*/ 221 w 558"/>
              <a:gd name="T23" fmla="*/ 88 h 284"/>
              <a:gd name="T24" fmla="*/ 221 w 558"/>
              <a:gd name="T25" fmla="*/ 284 h 284"/>
              <a:gd name="T26" fmla="*/ 172 w 558"/>
              <a:gd name="T27" fmla="*/ 284 h 284"/>
              <a:gd name="T28" fmla="*/ 172 w 558"/>
              <a:gd name="T29" fmla="*/ 88 h 284"/>
              <a:gd name="T30" fmla="*/ 255 w 558"/>
              <a:gd name="T31" fmla="*/ 68 h 284"/>
              <a:gd name="T32" fmla="*/ 304 w 558"/>
              <a:gd name="T33" fmla="*/ 68 h 284"/>
              <a:gd name="T34" fmla="*/ 304 w 558"/>
              <a:gd name="T35" fmla="*/ 284 h 284"/>
              <a:gd name="T36" fmla="*/ 255 w 558"/>
              <a:gd name="T37" fmla="*/ 284 h 284"/>
              <a:gd name="T38" fmla="*/ 255 w 558"/>
              <a:gd name="T39" fmla="*/ 68 h 284"/>
              <a:gd name="T40" fmla="*/ 343 w 558"/>
              <a:gd name="T41" fmla="*/ 117 h 284"/>
              <a:gd name="T42" fmla="*/ 387 w 558"/>
              <a:gd name="T43" fmla="*/ 117 h 284"/>
              <a:gd name="T44" fmla="*/ 387 w 558"/>
              <a:gd name="T45" fmla="*/ 284 h 284"/>
              <a:gd name="T46" fmla="*/ 343 w 558"/>
              <a:gd name="T47" fmla="*/ 284 h 284"/>
              <a:gd name="T48" fmla="*/ 343 w 558"/>
              <a:gd name="T49" fmla="*/ 117 h 284"/>
              <a:gd name="T50" fmla="*/ 426 w 558"/>
              <a:gd name="T51" fmla="*/ 34 h 284"/>
              <a:gd name="T52" fmla="*/ 475 w 558"/>
              <a:gd name="T53" fmla="*/ 34 h 284"/>
              <a:gd name="T54" fmla="*/ 475 w 558"/>
              <a:gd name="T55" fmla="*/ 284 h 284"/>
              <a:gd name="T56" fmla="*/ 426 w 558"/>
              <a:gd name="T57" fmla="*/ 284 h 284"/>
              <a:gd name="T58" fmla="*/ 426 w 558"/>
              <a:gd name="T59" fmla="*/ 34 h 284"/>
              <a:gd name="T60" fmla="*/ 509 w 558"/>
              <a:gd name="T61" fmla="*/ 0 h 284"/>
              <a:gd name="T62" fmla="*/ 558 w 558"/>
              <a:gd name="T63" fmla="*/ 0 h 284"/>
              <a:gd name="T64" fmla="*/ 558 w 558"/>
              <a:gd name="T65" fmla="*/ 284 h 284"/>
              <a:gd name="T66" fmla="*/ 509 w 558"/>
              <a:gd name="T67" fmla="*/ 284 h 284"/>
              <a:gd name="T68" fmla="*/ 509 w 558"/>
              <a:gd name="T69"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8" h="284">
                <a:moveTo>
                  <a:pt x="0" y="112"/>
                </a:moveTo>
                <a:lnTo>
                  <a:pt x="49" y="112"/>
                </a:lnTo>
                <a:lnTo>
                  <a:pt x="49" y="284"/>
                </a:lnTo>
                <a:lnTo>
                  <a:pt x="0" y="284"/>
                </a:lnTo>
                <a:lnTo>
                  <a:pt x="0" y="112"/>
                </a:lnTo>
                <a:close/>
                <a:moveTo>
                  <a:pt x="88" y="122"/>
                </a:moveTo>
                <a:lnTo>
                  <a:pt x="132" y="122"/>
                </a:lnTo>
                <a:lnTo>
                  <a:pt x="132" y="284"/>
                </a:lnTo>
                <a:lnTo>
                  <a:pt x="88" y="284"/>
                </a:lnTo>
                <a:lnTo>
                  <a:pt x="88" y="122"/>
                </a:lnTo>
                <a:close/>
                <a:moveTo>
                  <a:pt x="172" y="88"/>
                </a:moveTo>
                <a:lnTo>
                  <a:pt x="221" y="88"/>
                </a:lnTo>
                <a:lnTo>
                  <a:pt x="221" y="284"/>
                </a:lnTo>
                <a:lnTo>
                  <a:pt x="172" y="284"/>
                </a:lnTo>
                <a:lnTo>
                  <a:pt x="172" y="88"/>
                </a:lnTo>
                <a:close/>
                <a:moveTo>
                  <a:pt x="255" y="68"/>
                </a:moveTo>
                <a:lnTo>
                  <a:pt x="304" y="68"/>
                </a:lnTo>
                <a:lnTo>
                  <a:pt x="304" y="284"/>
                </a:lnTo>
                <a:lnTo>
                  <a:pt x="255" y="284"/>
                </a:lnTo>
                <a:lnTo>
                  <a:pt x="255" y="68"/>
                </a:lnTo>
                <a:close/>
                <a:moveTo>
                  <a:pt x="343" y="117"/>
                </a:moveTo>
                <a:lnTo>
                  <a:pt x="387" y="117"/>
                </a:lnTo>
                <a:lnTo>
                  <a:pt x="387" y="284"/>
                </a:lnTo>
                <a:lnTo>
                  <a:pt x="343" y="284"/>
                </a:lnTo>
                <a:lnTo>
                  <a:pt x="343" y="117"/>
                </a:lnTo>
                <a:close/>
                <a:moveTo>
                  <a:pt x="426" y="34"/>
                </a:moveTo>
                <a:lnTo>
                  <a:pt x="475" y="34"/>
                </a:lnTo>
                <a:lnTo>
                  <a:pt x="475" y="284"/>
                </a:lnTo>
                <a:lnTo>
                  <a:pt x="426" y="284"/>
                </a:lnTo>
                <a:lnTo>
                  <a:pt x="426" y="34"/>
                </a:lnTo>
                <a:close/>
                <a:moveTo>
                  <a:pt x="509" y="0"/>
                </a:moveTo>
                <a:lnTo>
                  <a:pt x="558" y="0"/>
                </a:lnTo>
                <a:lnTo>
                  <a:pt x="558" y="284"/>
                </a:lnTo>
                <a:lnTo>
                  <a:pt x="509" y="284"/>
                </a:lnTo>
                <a:lnTo>
                  <a:pt x="509"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8" name="Freeform 238"/>
          <p:cNvSpPr>
            <a:spLocks noEditPoints="1"/>
          </p:cNvSpPr>
          <p:nvPr/>
        </p:nvSpPr>
        <p:spPr bwMode="auto">
          <a:xfrm>
            <a:off x="5732463" y="5949951"/>
            <a:ext cx="1958975" cy="450850"/>
          </a:xfrm>
          <a:custGeom>
            <a:avLst/>
            <a:gdLst>
              <a:gd name="T0" fmla="*/ 44 w 1234"/>
              <a:gd name="T1" fmla="*/ 14 h 284"/>
              <a:gd name="T2" fmla="*/ 0 w 1234"/>
              <a:gd name="T3" fmla="*/ 284 h 284"/>
              <a:gd name="T4" fmla="*/ 83 w 1234"/>
              <a:gd name="T5" fmla="*/ 58 h 284"/>
              <a:gd name="T6" fmla="*/ 132 w 1234"/>
              <a:gd name="T7" fmla="*/ 284 h 284"/>
              <a:gd name="T8" fmla="*/ 83 w 1234"/>
              <a:gd name="T9" fmla="*/ 58 h 284"/>
              <a:gd name="T10" fmla="*/ 215 w 1234"/>
              <a:gd name="T11" fmla="*/ 53 h 284"/>
              <a:gd name="T12" fmla="*/ 166 w 1234"/>
              <a:gd name="T13" fmla="*/ 284 h 284"/>
              <a:gd name="T14" fmla="*/ 254 w 1234"/>
              <a:gd name="T15" fmla="*/ 44 h 284"/>
              <a:gd name="T16" fmla="*/ 298 w 1234"/>
              <a:gd name="T17" fmla="*/ 284 h 284"/>
              <a:gd name="T18" fmla="*/ 254 w 1234"/>
              <a:gd name="T19" fmla="*/ 44 h 284"/>
              <a:gd name="T20" fmla="*/ 387 w 1234"/>
              <a:gd name="T21" fmla="*/ 49 h 284"/>
              <a:gd name="T22" fmla="*/ 338 w 1234"/>
              <a:gd name="T23" fmla="*/ 284 h 284"/>
              <a:gd name="T24" fmla="*/ 426 w 1234"/>
              <a:gd name="T25" fmla="*/ 49 h 284"/>
              <a:gd name="T26" fmla="*/ 470 w 1234"/>
              <a:gd name="T27" fmla="*/ 284 h 284"/>
              <a:gd name="T28" fmla="*/ 426 w 1234"/>
              <a:gd name="T29" fmla="*/ 49 h 284"/>
              <a:gd name="T30" fmla="*/ 553 w 1234"/>
              <a:gd name="T31" fmla="*/ 53 h 284"/>
              <a:gd name="T32" fmla="*/ 509 w 1234"/>
              <a:gd name="T33" fmla="*/ 284 h 284"/>
              <a:gd name="T34" fmla="*/ 592 w 1234"/>
              <a:gd name="T35" fmla="*/ 63 h 284"/>
              <a:gd name="T36" fmla="*/ 641 w 1234"/>
              <a:gd name="T37" fmla="*/ 284 h 284"/>
              <a:gd name="T38" fmla="*/ 592 w 1234"/>
              <a:gd name="T39" fmla="*/ 63 h 284"/>
              <a:gd name="T40" fmla="*/ 724 w 1234"/>
              <a:gd name="T41" fmla="*/ 44 h 284"/>
              <a:gd name="T42" fmla="*/ 680 w 1234"/>
              <a:gd name="T43" fmla="*/ 284 h 284"/>
              <a:gd name="T44" fmla="*/ 764 w 1234"/>
              <a:gd name="T45" fmla="*/ 39 h 284"/>
              <a:gd name="T46" fmla="*/ 813 w 1234"/>
              <a:gd name="T47" fmla="*/ 284 h 284"/>
              <a:gd name="T48" fmla="*/ 764 w 1234"/>
              <a:gd name="T49" fmla="*/ 39 h 284"/>
              <a:gd name="T50" fmla="*/ 896 w 1234"/>
              <a:gd name="T51" fmla="*/ 93 h 284"/>
              <a:gd name="T52" fmla="*/ 847 w 1234"/>
              <a:gd name="T53" fmla="*/ 284 h 284"/>
              <a:gd name="T54" fmla="*/ 935 w 1234"/>
              <a:gd name="T55" fmla="*/ 73 h 284"/>
              <a:gd name="T56" fmla="*/ 979 w 1234"/>
              <a:gd name="T57" fmla="*/ 284 h 284"/>
              <a:gd name="T58" fmla="*/ 935 w 1234"/>
              <a:gd name="T59" fmla="*/ 73 h 284"/>
              <a:gd name="T60" fmla="*/ 1067 w 1234"/>
              <a:gd name="T61" fmla="*/ 29 h 284"/>
              <a:gd name="T62" fmla="*/ 1018 w 1234"/>
              <a:gd name="T63" fmla="*/ 284 h 284"/>
              <a:gd name="T64" fmla="*/ 1102 w 1234"/>
              <a:gd name="T65" fmla="*/ 5 h 284"/>
              <a:gd name="T66" fmla="*/ 1150 w 1234"/>
              <a:gd name="T67" fmla="*/ 284 h 284"/>
              <a:gd name="T68" fmla="*/ 1102 w 1234"/>
              <a:gd name="T69" fmla="*/ 5 h 284"/>
              <a:gd name="T70" fmla="*/ 1234 w 1234"/>
              <a:gd name="T71" fmla="*/ 0 h 284"/>
              <a:gd name="T72" fmla="*/ 1190 w 1234"/>
              <a:gd name="T73"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284">
                <a:moveTo>
                  <a:pt x="0" y="14"/>
                </a:moveTo>
                <a:lnTo>
                  <a:pt x="44" y="14"/>
                </a:lnTo>
                <a:lnTo>
                  <a:pt x="44" y="284"/>
                </a:lnTo>
                <a:lnTo>
                  <a:pt x="0" y="284"/>
                </a:lnTo>
                <a:lnTo>
                  <a:pt x="0" y="14"/>
                </a:lnTo>
                <a:close/>
                <a:moveTo>
                  <a:pt x="83" y="58"/>
                </a:moveTo>
                <a:lnTo>
                  <a:pt x="132" y="58"/>
                </a:lnTo>
                <a:lnTo>
                  <a:pt x="132" y="284"/>
                </a:lnTo>
                <a:lnTo>
                  <a:pt x="83" y="284"/>
                </a:lnTo>
                <a:lnTo>
                  <a:pt x="83" y="58"/>
                </a:lnTo>
                <a:close/>
                <a:moveTo>
                  <a:pt x="166" y="53"/>
                </a:moveTo>
                <a:lnTo>
                  <a:pt x="215" y="53"/>
                </a:lnTo>
                <a:lnTo>
                  <a:pt x="215" y="284"/>
                </a:lnTo>
                <a:lnTo>
                  <a:pt x="166" y="284"/>
                </a:lnTo>
                <a:lnTo>
                  <a:pt x="166" y="53"/>
                </a:lnTo>
                <a:close/>
                <a:moveTo>
                  <a:pt x="254" y="44"/>
                </a:moveTo>
                <a:lnTo>
                  <a:pt x="298" y="44"/>
                </a:lnTo>
                <a:lnTo>
                  <a:pt x="298" y="284"/>
                </a:lnTo>
                <a:lnTo>
                  <a:pt x="254" y="284"/>
                </a:lnTo>
                <a:lnTo>
                  <a:pt x="254" y="44"/>
                </a:lnTo>
                <a:close/>
                <a:moveTo>
                  <a:pt x="338" y="49"/>
                </a:moveTo>
                <a:lnTo>
                  <a:pt x="387" y="49"/>
                </a:lnTo>
                <a:lnTo>
                  <a:pt x="387" y="284"/>
                </a:lnTo>
                <a:lnTo>
                  <a:pt x="338" y="284"/>
                </a:lnTo>
                <a:lnTo>
                  <a:pt x="338" y="49"/>
                </a:lnTo>
                <a:close/>
                <a:moveTo>
                  <a:pt x="426" y="49"/>
                </a:moveTo>
                <a:lnTo>
                  <a:pt x="470" y="49"/>
                </a:lnTo>
                <a:lnTo>
                  <a:pt x="470" y="284"/>
                </a:lnTo>
                <a:lnTo>
                  <a:pt x="426" y="284"/>
                </a:lnTo>
                <a:lnTo>
                  <a:pt x="426" y="49"/>
                </a:lnTo>
                <a:close/>
                <a:moveTo>
                  <a:pt x="509" y="53"/>
                </a:moveTo>
                <a:lnTo>
                  <a:pt x="553" y="53"/>
                </a:lnTo>
                <a:lnTo>
                  <a:pt x="553" y="284"/>
                </a:lnTo>
                <a:lnTo>
                  <a:pt x="509" y="284"/>
                </a:lnTo>
                <a:lnTo>
                  <a:pt x="509" y="53"/>
                </a:lnTo>
                <a:close/>
                <a:moveTo>
                  <a:pt x="592" y="63"/>
                </a:moveTo>
                <a:lnTo>
                  <a:pt x="641" y="63"/>
                </a:lnTo>
                <a:lnTo>
                  <a:pt x="641" y="284"/>
                </a:lnTo>
                <a:lnTo>
                  <a:pt x="592" y="284"/>
                </a:lnTo>
                <a:lnTo>
                  <a:pt x="592" y="63"/>
                </a:lnTo>
                <a:close/>
                <a:moveTo>
                  <a:pt x="680" y="44"/>
                </a:moveTo>
                <a:lnTo>
                  <a:pt x="724" y="44"/>
                </a:lnTo>
                <a:lnTo>
                  <a:pt x="724" y="284"/>
                </a:lnTo>
                <a:lnTo>
                  <a:pt x="680" y="284"/>
                </a:lnTo>
                <a:lnTo>
                  <a:pt x="680" y="44"/>
                </a:lnTo>
                <a:close/>
                <a:moveTo>
                  <a:pt x="764" y="39"/>
                </a:moveTo>
                <a:lnTo>
                  <a:pt x="813" y="39"/>
                </a:lnTo>
                <a:lnTo>
                  <a:pt x="813" y="284"/>
                </a:lnTo>
                <a:lnTo>
                  <a:pt x="764" y="284"/>
                </a:lnTo>
                <a:lnTo>
                  <a:pt x="764" y="39"/>
                </a:lnTo>
                <a:close/>
                <a:moveTo>
                  <a:pt x="847" y="93"/>
                </a:moveTo>
                <a:lnTo>
                  <a:pt x="896" y="93"/>
                </a:lnTo>
                <a:lnTo>
                  <a:pt x="896" y="284"/>
                </a:lnTo>
                <a:lnTo>
                  <a:pt x="847" y="284"/>
                </a:lnTo>
                <a:lnTo>
                  <a:pt x="847" y="93"/>
                </a:lnTo>
                <a:close/>
                <a:moveTo>
                  <a:pt x="935" y="73"/>
                </a:moveTo>
                <a:lnTo>
                  <a:pt x="979" y="73"/>
                </a:lnTo>
                <a:lnTo>
                  <a:pt x="979" y="284"/>
                </a:lnTo>
                <a:lnTo>
                  <a:pt x="935" y="284"/>
                </a:lnTo>
                <a:lnTo>
                  <a:pt x="935" y="73"/>
                </a:lnTo>
                <a:close/>
                <a:moveTo>
                  <a:pt x="1018" y="29"/>
                </a:moveTo>
                <a:lnTo>
                  <a:pt x="1067" y="29"/>
                </a:lnTo>
                <a:lnTo>
                  <a:pt x="1067" y="284"/>
                </a:lnTo>
                <a:lnTo>
                  <a:pt x="1018" y="284"/>
                </a:lnTo>
                <a:lnTo>
                  <a:pt x="1018" y="29"/>
                </a:lnTo>
                <a:close/>
                <a:moveTo>
                  <a:pt x="1102" y="5"/>
                </a:moveTo>
                <a:lnTo>
                  <a:pt x="1150" y="5"/>
                </a:lnTo>
                <a:lnTo>
                  <a:pt x="1150" y="284"/>
                </a:lnTo>
                <a:lnTo>
                  <a:pt x="1102" y="284"/>
                </a:lnTo>
                <a:lnTo>
                  <a:pt x="1102" y="5"/>
                </a:lnTo>
                <a:close/>
                <a:moveTo>
                  <a:pt x="1190" y="0"/>
                </a:moveTo>
                <a:lnTo>
                  <a:pt x="1234" y="0"/>
                </a:lnTo>
                <a:lnTo>
                  <a:pt x="1234" y="284"/>
                </a:lnTo>
                <a:lnTo>
                  <a:pt x="1190" y="284"/>
                </a:lnTo>
                <a:lnTo>
                  <a:pt x="1190" y="0"/>
                </a:lnTo>
                <a:close/>
              </a:path>
            </a:pathLst>
          </a:custGeom>
          <a:solidFill>
            <a:srgbClr val="879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9" name="Rectangle 239"/>
          <p:cNvSpPr>
            <a:spLocks noChangeArrowheads="1"/>
          </p:cNvSpPr>
          <p:nvPr/>
        </p:nvSpPr>
        <p:spPr bwMode="auto">
          <a:xfrm>
            <a:off x="981075" y="6392863"/>
            <a:ext cx="6740525" cy="14288"/>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520" name="Rectangle 240"/>
          <p:cNvSpPr>
            <a:spLocks noChangeArrowheads="1"/>
          </p:cNvSpPr>
          <p:nvPr/>
        </p:nvSpPr>
        <p:spPr bwMode="auto">
          <a:xfrm>
            <a:off x="3117850" y="6210301"/>
            <a:ext cx="22542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1,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1" name="Rectangle 241"/>
          <p:cNvSpPr>
            <a:spLocks noChangeArrowheads="1"/>
          </p:cNvSpPr>
          <p:nvPr/>
        </p:nvSpPr>
        <p:spPr bwMode="auto">
          <a:xfrm>
            <a:off x="3792538" y="6169026"/>
            <a:ext cx="22542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6,7</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2" name="Rectangle 242"/>
          <p:cNvSpPr>
            <a:spLocks noChangeArrowheads="1"/>
          </p:cNvSpPr>
          <p:nvPr/>
        </p:nvSpPr>
        <p:spPr bwMode="auto">
          <a:xfrm>
            <a:off x="4435475" y="6064251"/>
            <a:ext cx="2952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20,1</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3" name="Rectangle 243"/>
          <p:cNvSpPr>
            <a:spLocks noChangeArrowheads="1"/>
          </p:cNvSpPr>
          <p:nvPr/>
        </p:nvSpPr>
        <p:spPr bwMode="auto">
          <a:xfrm>
            <a:off x="4975225" y="5908676"/>
            <a:ext cx="2952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39,6</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4" name="Rectangle 244"/>
          <p:cNvSpPr>
            <a:spLocks noChangeArrowheads="1"/>
          </p:cNvSpPr>
          <p:nvPr/>
        </p:nvSpPr>
        <p:spPr bwMode="auto">
          <a:xfrm>
            <a:off x="5514975" y="5765801"/>
            <a:ext cx="29527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57,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5" name="Rectangle 245"/>
          <p:cNvSpPr>
            <a:spLocks noChangeArrowheads="1"/>
          </p:cNvSpPr>
          <p:nvPr/>
        </p:nvSpPr>
        <p:spPr bwMode="auto">
          <a:xfrm>
            <a:off x="6189663" y="5846763"/>
            <a:ext cx="295275"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47,4</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6" name="Rectangle 246"/>
          <p:cNvSpPr>
            <a:spLocks noChangeArrowheads="1"/>
          </p:cNvSpPr>
          <p:nvPr/>
        </p:nvSpPr>
        <p:spPr bwMode="auto">
          <a:xfrm>
            <a:off x="6864350" y="5830888"/>
            <a:ext cx="29527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49,2</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527" name="Rectangle 247"/>
          <p:cNvSpPr>
            <a:spLocks noChangeArrowheads="1"/>
          </p:cNvSpPr>
          <p:nvPr/>
        </p:nvSpPr>
        <p:spPr bwMode="auto">
          <a:xfrm>
            <a:off x="7539038" y="5765801"/>
            <a:ext cx="29527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0F1923"/>
                </a:solidFill>
                <a:effectLst/>
                <a:latin typeface="Arial" pitchFamily="34" charset="0"/>
                <a:cs typeface="Arial" pitchFamily="34" charset="0"/>
              </a:rPr>
              <a:t>57,5</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26" name="Textfeld 225"/>
          <p:cNvSpPr txBox="1"/>
          <p:nvPr/>
        </p:nvSpPr>
        <p:spPr>
          <a:xfrm>
            <a:off x="3632201" y="1949278"/>
            <a:ext cx="5116512" cy="360000"/>
          </a:xfrm>
          <a:prstGeom prst="rect">
            <a:avLst/>
          </a:prstGeom>
          <a:solidFill>
            <a:schemeClr val="accent5"/>
          </a:solidFill>
        </p:spPr>
        <p:txBody>
          <a:bodyPr wrap="square" lIns="0" tIns="0" rIns="0" bIns="0" rtlCol="0" anchor="ctr">
            <a:noAutofit/>
          </a:bodyPr>
          <a:lstStyle/>
          <a:p>
            <a:pPr algn="ctr">
              <a:lnSpc>
                <a:spcPct val="110000"/>
              </a:lnSpc>
              <a:spcBef>
                <a:spcPts val="0"/>
              </a:spcBef>
            </a:pPr>
            <a:r>
              <a:rPr lang="de-DE" sz="1400" b="1" dirty="0" smtClean="0">
                <a:solidFill>
                  <a:schemeClr val="bg1"/>
                </a:solidFill>
              </a:rPr>
              <a:t>~40 % </a:t>
            </a:r>
            <a:r>
              <a:rPr lang="de-DE" sz="1400" b="1" dirty="0" err="1" smtClean="0">
                <a:solidFill>
                  <a:schemeClr val="bg1"/>
                </a:solidFill>
              </a:rPr>
              <a:t>of</a:t>
            </a:r>
            <a:r>
              <a:rPr lang="de-DE" sz="1400" b="1" dirty="0" smtClean="0">
                <a:solidFill>
                  <a:schemeClr val="bg1"/>
                </a:solidFill>
              </a:rPr>
              <a:t> </a:t>
            </a:r>
            <a:r>
              <a:rPr lang="de-DE" sz="1400" b="1" dirty="0" err="1" smtClean="0">
                <a:solidFill>
                  <a:schemeClr val="bg1"/>
                </a:solidFill>
              </a:rPr>
              <a:t>cost</a:t>
            </a:r>
            <a:r>
              <a:rPr lang="de-DE" sz="1400" b="1" dirty="0" smtClean="0">
                <a:solidFill>
                  <a:schemeClr val="bg1"/>
                </a:solidFill>
              </a:rPr>
              <a:t> </a:t>
            </a:r>
            <a:r>
              <a:rPr lang="de-DE" sz="1400" b="1" dirty="0" err="1" smtClean="0">
                <a:solidFill>
                  <a:schemeClr val="bg1"/>
                </a:solidFill>
              </a:rPr>
              <a:t>reduction</a:t>
            </a:r>
            <a:r>
              <a:rPr lang="de-DE" sz="1400" b="1" dirty="0" smtClean="0">
                <a:solidFill>
                  <a:schemeClr val="bg1"/>
                </a:solidFill>
              </a:rPr>
              <a:t>  per </a:t>
            </a:r>
            <a:r>
              <a:rPr lang="de-DE" sz="1400" b="1" dirty="0" err="1" smtClean="0">
                <a:solidFill>
                  <a:schemeClr val="bg1"/>
                </a:solidFill>
              </a:rPr>
              <a:t>decade</a:t>
            </a:r>
            <a:r>
              <a:rPr lang="de-DE" sz="1400" b="1" dirty="0" smtClean="0">
                <a:solidFill>
                  <a:schemeClr val="bg1"/>
                </a:solidFill>
              </a:rPr>
              <a:t> </a:t>
            </a:r>
            <a:r>
              <a:rPr lang="de-DE" sz="1400" b="1" dirty="0" err="1" smtClean="0">
                <a:solidFill>
                  <a:schemeClr val="bg1"/>
                </a:solidFill>
              </a:rPr>
              <a:t>since</a:t>
            </a:r>
            <a:r>
              <a:rPr lang="de-DE" sz="1400" b="1" dirty="0" smtClean="0">
                <a:solidFill>
                  <a:schemeClr val="bg1"/>
                </a:solidFill>
              </a:rPr>
              <a:t> 1980</a:t>
            </a:r>
          </a:p>
        </p:txBody>
      </p:sp>
      <p:sp>
        <p:nvSpPr>
          <p:cNvPr id="261" name="Textfeld 260"/>
          <p:cNvSpPr txBox="1"/>
          <p:nvPr/>
        </p:nvSpPr>
        <p:spPr>
          <a:xfrm>
            <a:off x="3632201" y="2357323"/>
            <a:ext cx="5116512" cy="360000"/>
          </a:xfrm>
          <a:prstGeom prst="rect">
            <a:avLst/>
          </a:prstGeom>
          <a:solidFill>
            <a:schemeClr val="accent5"/>
          </a:solidFill>
        </p:spPr>
        <p:txBody>
          <a:bodyPr wrap="square" lIns="0" tIns="0" rIns="0" bIns="0" rtlCol="0" anchor="ctr">
            <a:noAutofit/>
          </a:bodyPr>
          <a:lstStyle/>
          <a:p>
            <a:pPr algn="ctr">
              <a:lnSpc>
                <a:spcPct val="110000"/>
              </a:lnSpc>
              <a:spcBef>
                <a:spcPts val="0"/>
              </a:spcBef>
            </a:pPr>
            <a:r>
              <a:rPr lang="de-DE" sz="1400" b="1" dirty="0" smtClean="0">
                <a:solidFill>
                  <a:schemeClr val="bg1"/>
                </a:solidFill>
              </a:rPr>
              <a:t>&lt;50EUR/MWh </a:t>
            </a:r>
            <a:r>
              <a:rPr lang="de-DE" sz="1400" b="1" dirty="0" err="1" smtClean="0">
                <a:solidFill>
                  <a:schemeClr val="bg1"/>
                </a:solidFill>
              </a:rPr>
              <a:t>within</a:t>
            </a:r>
            <a:r>
              <a:rPr lang="de-DE" sz="1400" b="1" dirty="0" smtClean="0">
                <a:solidFill>
                  <a:schemeClr val="bg1"/>
                </a:solidFill>
              </a:rPr>
              <a:t> </a:t>
            </a:r>
            <a:r>
              <a:rPr lang="de-DE" sz="1400" b="1" dirty="0" err="1" smtClean="0">
                <a:solidFill>
                  <a:schemeClr val="bg1"/>
                </a:solidFill>
              </a:rPr>
              <a:t>next</a:t>
            </a:r>
            <a:r>
              <a:rPr lang="de-DE" sz="1400" b="1" dirty="0" smtClean="0">
                <a:solidFill>
                  <a:schemeClr val="bg1"/>
                </a:solidFill>
              </a:rPr>
              <a:t> 15 </a:t>
            </a:r>
            <a:r>
              <a:rPr lang="de-DE" sz="1400" b="1" dirty="0" err="1" smtClean="0">
                <a:solidFill>
                  <a:schemeClr val="bg1"/>
                </a:solidFill>
              </a:rPr>
              <a:t>years</a:t>
            </a:r>
            <a:r>
              <a:rPr lang="de-DE" sz="1400" b="1" dirty="0" smtClean="0">
                <a:solidFill>
                  <a:schemeClr val="bg1"/>
                </a:solidFill>
              </a:rPr>
              <a:t> in </a:t>
            </a:r>
            <a:r>
              <a:rPr lang="de-DE" sz="1400" b="1" dirty="0" err="1" smtClean="0">
                <a:solidFill>
                  <a:schemeClr val="bg1"/>
                </a:solidFill>
              </a:rPr>
              <a:t>most</a:t>
            </a:r>
            <a:r>
              <a:rPr lang="de-DE" sz="1400" b="1" dirty="0" smtClean="0">
                <a:solidFill>
                  <a:schemeClr val="bg1"/>
                </a:solidFill>
              </a:rPr>
              <a:t> </a:t>
            </a:r>
            <a:r>
              <a:rPr lang="de-DE" sz="1400" b="1" dirty="0" err="1" smtClean="0">
                <a:solidFill>
                  <a:schemeClr val="bg1"/>
                </a:solidFill>
              </a:rPr>
              <a:t>places</a:t>
            </a:r>
            <a:r>
              <a:rPr lang="de-DE" sz="1400" b="1" dirty="0" smtClean="0">
                <a:solidFill>
                  <a:schemeClr val="bg1"/>
                </a:solidFill>
              </a:rPr>
              <a:t> </a:t>
            </a:r>
            <a:r>
              <a:rPr lang="de-DE" sz="1400" b="1" dirty="0" err="1" smtClean="0">
                <a:solidFill>
                  <a:schemeClr val="bg1"/>
                </a:solidFill>
              </a:rPr>
              <a:t>globally</a:t>
            </a:r>
            <a:endParaRPr lang="de-DE" sz="1400" b="1" dirty="0" smtClean="0">
              <a:solidFill>
                <a:schemeClr val="bg1"/>
              </a:solidFill>
            </a:endParaRPr>
          </a:p>
        </p:txBody>
      </p:sp>
      <p:sp>
        <p:nvSpPr>
          <p:cNvPr id="262" name="Textfeld 261"/>
          <p:cNvSpPr txBox="1"/>
          <p:nvPr/>
        </p:nvSpPr>
        <p:spPr>
          <a:xfrm>
            <a:off x="3632201" y="2765368"/>
            <a:ext cx="5116512" cy="360000"/>
          </a:xfrm>
          <a:prstGeom prst="rect">
            <a:avLst/>
          </a:prstGeom>
          <a:solidFill>
            <a:schemeClr val="accent5"/>
          </a:solidFill>
        </p:spPr>
        <p:txBody>
          <a:bodyPr wrap="square" lIns="0" tIns="0" rIns="0" bIns="0" rtlCol="0" anchor="ctr">
            <a:noAutofit/>
          </a:bodyPr>
          <a:lstStyle/>
          <a:p>
            <a:pPr algn="ctr">
              <a:lnSpc>
                <a:spcPct val="110000"/>
              </a:lnSpc>
              <a:spcBef>
                <a:spcPts val="0"/>
              </a:spcBef>
            </a:pPr>
            <a:r>
              <a:rPr lang="de-DE" sz="1400" b="1" dirty="0" smtClean="0">
                <a:solidFill>
                  <a:schemeClr val="bg1"/>
                </a:solidFill>
              </a:rPr>
              <a:t>As </a:t>
            </a:r>
            <a:r>
              <a:rPr lang="de-DE" sz="1400" b="1" dirty="0" err="1" smtClean="0">
                <a:solidFill>
                  <a:schemeClr val="bg1"/>
                </a:solidFill>
              </a:rPr>
              <a:t>of</a:t>
            </a:r>
            <a:r>
              <a:rPr lang="de-DE" sz="1400" b="1" dirty="0" smtClean="0">
                <a:solidFill>
                  <a:schemeClr val="bg1"/>
                </a:solidFill>
              </a:rPr>
              <a:t> ~2020: On par </a:t>
            </a:r>
            <a:r>
              <a:rPr lang="de-DE" sz="1400" b="1" dirty="0" err="1" smtClean="0">
                <a:solidFill>
                  <a:schemeClr val="bg1"/>
                </a:solidFill>
              </a:rPr>
              <a:t>with</a:t>
            </a:r>
            <a:r>
              <a:rPr lang="de-DE" sz="1400" b="1" dirty="0" smtClean="0">
                <a:solidFill>
                  <a:schemeClr val="bg1"/>
                </a:solidFill>
              </a:rPr>
              <a:t> fossil </a:t>
            </a:r>
            <a:r>
              <a:rPr lang="de-DE" sz="1400" b="1" dirty="0" err="1" smtClean="0">
                <a:solidFill>
                  <a:schemeClr val="bg1"/>
                </a:solidFill>
              </a:rPr>
              <a:t>full</a:t>
            </a:r>
            <a:r>
              <a:rPr lang="de-DE" sz="1400" b="1" dirty="0" smtClean="0">
                <a:solidFill>
                  <a:schemeClr val="bg1"/>
                </a:solidFill>
              </a:rPr>
              <a:t> </a:t>
            </a:r>
            <a:r>
              <a:rPr lang="de-DE" sz="1400" b="1" dirty="0" err="1" smtClean="0">
                <a:solidFill>
                  <a:schemeClr val="bg1"/>
                </a:solidFill>
              </a:rPr>
              <a:t>costs</a:t>
            </a:r>
            <a:endParaRPr lang="de-DE" sz="1400" b="1" dirty="0" smtClean="0">
              <a:solidFill>
                <a:schemeClr val="bg1"/>
              </a:solidFill>
            </a:endParaRPr>
          </a:p>
        </p:txBody>
      </p:sp>
      <p:sp>
        <p:nvSpPr>
          <p:cNvPr id="263" name="Textfeld 262"/>
          <p:cNvSpPr txBox="1"/>
          <p:nvPr/>
        </p:nvSpPr>
        <p:spPr>
          <a:xfrm>
            <a:off x="3632201" y="3173412"/>
            <a:ext cx="5116512" cy="360000"/>
          </a:xfrm>
          <a:prstGeom prst="rect">
            <a:avLst/>
          </a:prstGeom>
          <a:solidFill>
            <a:schemeClr val="accent5"/>
          </a:solidFill>
        </p:spPr>
        <p:txBody>
          <a:bodyPr wrap="square" lIns="0" tIns="0" rIns="0" bIns="0" rtlCol="0" anchor="ctr">
            <a:noAutofit/>
          </a:bodyPr>
          <a:lstStyle/>
          <a:p>
            <a:pPr algn="ctr">
              <a:lnSpc>
                <a:spcPct val="110000"/>
              </a:lnSpc>
              <a:spcBef>
                <a:spcPts val="0"/>
              </a:spcBef>
            </a:pPr>
            <a:r>
              <a:rPr lang="de-DE" sz="1400" b="1" dirty="0" smtClean="0">
                <a:solidFill>
                  <a:schemeClr val="bg1"/>
                </a:solidFill>
              </a:rPr>
              <a:t>As </a:t>
            </a:r>
            <a:r>
              <a:rPr lang="de-DE" sz="1400" b="1" dirty="0" err="1" smtClean="0">
                <a:solidFill>
                  <a:schemeClr val="bg1"/>
                </a:solidFill>
              </a:rPr>
              <a:t>of</a:t>
            </a:r>
            <a:r>
              <a:rPr lang="de-DE" sz="1400" b="1" dirty="0" smtClean="0">
                <a:solidFill>
                  <a:schemeClr val="bg1"/>
                </a:solidFill>
              </a:rPr>
              <a:t> ~2025-30: On par </a:t>
            </a:r>
            <a:r>
              <a:rPr lang="de-DE" sz="1400" b="1" dirty="0" err="1" smtClean="0">
                <a:solidFill>
                  <a:schemeClr val="bg1"/>
                </a:solidFill>
              </a:rPr>
              <a:t>with</a:t>
            </a:r>
            <a:r>
              <a:rPr lang="de-DE" sz="1400" b="1" dirty="0" smtClean="0">
                <a:solidFill>
                  <a:schemeClr val="bg1"/>
                </a:solidFill>
              </a:rPr>
              <a:t> fossil variable </a:t>
            </a:r>
            <a:r>
              <a:rPr lang="de-DE" sz="1400" b="1" dirty="0" err="1" smtClean="0">
                <a:solidFill>
                  <a:schemeClr val="bg1"/>
                </a:solidFill>
              </a:rPr>
              <a:t>costs</a:t>
            </a:r>
            <a:endParaRPr lang="de-DE" sz="1400" b="1" dirty="0" smtClean="0">
              <a:solidFill>
                <a:schemeClr val="bg1"/>
              </a:solidFill>
            </a:endParaRPr>
          </a:p>
        </p:txBody>
      </p:sp>
    </p:spTree>
    <p:extLst>
      <p:ext uri="{BB962C8B-B14F-4D97-AF65-F5344CB8AC3E}">
        <p14:creationId xmlns:p14="http://schemas.microsoft.com/office/powerpoint/2010/main" val="140053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4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46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5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5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65" grpId="0" animBg="1"/>
      <p:bldP spid="13466" grpId="0" animBg="1"/>
      <p:bldP spid="261" grpId="0" animBg="1"/>
      <p:bldP spid="262" grpId="0" animBg="1"/>
      <p:bldP spid="26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kt 38" hidden="1"/>
          <p:cNvGraphicFramePr>
            <a:graphicFrameLocks noChangeAspect="1"/>
          </p:cNvGraphicFramePr>
          <p:nvPr>
            <p:custDataLst>
              <p:tags r:id="rId2"/>
            </p:custDataLst>
            <p:extLst>
              <p:ext uri="{D42A27DB-BD31-4B8C-83A1-F6EECF244321}">
                <p14:modId xmlns:p14="http://schemas.microsoft.com/office/powerpoint/2010/main" val="135881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smtClean="0"/>
              <a:t>Big is beautiful: Size will continue to matter for bringing down the costs</a:t>
            </a:r>
            <a:endParaRPr lang="en-GB" dirty="0"/>
          </a:p>
        </p:txBody>
      </p:sp>
      <p:grpSp>
        <p:nvGrpSpPr>
          <p:cNvPr id="4" name="Group 49"/>
          <p:cNvGrpSpPr>
            <a:grpSpLocks noChangeAspect="1"/>
          </p:cNvGrpSpPr>
          <p:nvPr/>
        </p:nvGrpSpPr>
        <p:grpSpPr bwMode="auto">
          <a:xfrm>
            <a:off x="-1215534" y="1268760"/>
            <a:ext cx="7395517" cy="3960440"/>
            <a:chOff x="-295" y="882"/>
            <a:chExt cx="3294" cy="1764"/>
          </a:xfrm>
        </p:grpSpPr>
        <p:sp>
          <p:nvSpPr>
            <p:cNvPr id="5" name="AutoShape 48"/>
            <p:cNvSpPr>
              <a:spLocks noChangeAspect="1" noChangeArrowheads="1" noTextEdit="1"/>
            </p:cNvSpPr>
            <p:nvPr/>
          </p:nvSpPr>
          <p:spPr bwMode="auto">
            <a:xfrm>
              <a:off x="-295" y="882"/>
              <a:ext cx="3294" cy="1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Rectangle 51"/>
            <p:cNvSpPr>
              <a:spLocks noChangeArrowheads="1"/>
            </p:cNvSpPr>
            <p:nvPr/>
          </p:nvSpPr>
          <p:spPr bwMode="auto">
            <a:xfrm>
              <a:off x="492" y="1010"/>
              <a:ext cx="32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6487"/>
                  </a:solidFill>
                  <a:effectLst/>
                  <a:latin typeface="Arial" pitchFamily="34" charset="0"/>
                  <a:cs typeface="Arial" pitchFamily="34" charset="0"/>
                </a:rPr>
                <a:t>LCOE </a:t>
              </a:r>
              <a:br>
                <a:rPr kumimoji="0" lang="en-US" altLang="en-US" sz="1400" b="1" i="0" u="none" strike="noStrike" cap="none" normalizeH="0" baseline="0" dirty="0" smtClean="0">
                  <a:ln>
                    <a:noFill/>
                  </a:ln>
                  <a:solidFill>
                    <a:srgbClr val="006487"/>
                  </a:solidFill>
                  <a:effectLst/>
                  <a:latin typeface="Arial" pitchFamily="34" charset="0"/>
                  <a:cs typeface="Arial" pitchFamily="34" charset="0"/>
                </a:rPr>
              </a:br>
              <a:r>
                <a:rPr kumimoji="0" lang="en-US" altLang="en-US" sz="1400" b="1" i="0" u="none" strike="noStrike" cap="none" normalizeH="0" baseline="0" dirty="0" smtClean="0">
                  <a:ln>
                    <a:noFill/>
                  </a:ln>
                  <a:solidFill>
                    <a:srgbClr val="006487"/>
                  </a:solidFill>
                  <a:effectLst/>
                  <a:latin typeface="Arial" pitchFamily="34" charset="0"/>
                  <a:cs typeface="Arial" pitchFamily="34" charset="0"/>
                </a:rPr>
                <a:t>Onshore</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 name="Rectangle 53"/>
            <p:cNvSpPr>
              <a:spLocks noChangeArrowheads="1"/>
            </p:cNvSpPr>
            <p:nvPr/>
          </p:nvSpPr>
          <p:spPr bwMode="auto">
            <a:xfrm>
              <a:off x="1950" y="1095"/>
              <a:ext cx="41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EB780A"/>
                  </a:solidFill>
                  <a:effectLst/>
                  <a:latin typeface="Arial" pitchFamily="34" charset="0"/>
                  <a:cs typeface="Arial" pitchFamily="34" charset="0"/>
                </a:rPr>
                <a:t>Hub height</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Rectangle 54"/>
            <p:cNvSpPr>
              <a:spLocks noChangeArrowheads="1"/>
            </p:cNvSpPr>
            <p:nvPr/>
          </p:nvSpPr>
          <p:spPr bwMode="auto">
            <a:xfrm>
              <a:off x="492" y="1182"/>
              <a:ext cx="624"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006487"/>
                  </a:solidFill>
                  <a:effectLst/>
                  <a:latin typeface="Arial" pitchFamily="34" charset="0"/>
                  <a:cs typeface="Arial" pitchFamily="34" charset="0"/>
                </a:rPr>
                <a:t>EUR/MWh</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Rectangle 55"/>
            <p:cNvSpPr>
              <a:spLocks noChangeArrowheads="1"/>
            </p:cNvSpPr>
            <p:nvPr/>
          </p:nvSpPr>
          <p:spPr bwMode="auto">
            <a:xfrm>
              <a:off x="2281" y="1182"/>
              <a:ext cx="156"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smtClean="0">
                  <a:ln>
                    <a:noFill/>
                  </a:ln>
                  <a:solidFill>
                    <a:srgbClr val="EB780A"/>
                  </a:solidFill>
                  <a:effectLst/>
                  <a:latin typeface="Arial" pitchFamily="34" charset="0"/>
                  <a:cs typeface="Arial" pitchFamily="34" charset="0"/>
                </a:rPr>
                <a:t>m</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Freeform 56"/>
            <p:cNvSpPr>
              <a:spLocks noEditPoints="1"/>
            </p:cNvSpPr>
            <p:nvPr/>
          </p:nvSpPr>
          <p:spPr bwMode="auto">
            <a:xfrm>
              <a:off x="653" y="1353"/>
              <a:ext cx="1506" cy="774"/>
            </a:xfrm>
            <a:custGeom>
              <a:avLst/>
              <a:gdLst>
                <a:gd name="T0" fmla="*/ 0 w 1506"/>
                <a:gd name="T1" fmla="*/ 768 h 774"/>
                <a:gd name="T2" fmla="*/ 1506 w 1506"/>
                <a:gd name="T3" fmla="*/ 768 h 774"/>
                <a:gd name="T4" fmla="*/ 1506 w 1506"/>
                <a:gd name="T5" fmla="*/ 774 h 774"/>
                <a:gd name="T6" fmla="*/ 0 w 1506"/>
                <a:gd name="T7" fmla="*/ 774 h 774"/>
                <a:gd name="T8" fmla="*/ 0 w 1506"/>
                <a:gd name="T9" fmla="*/ 768 h 774"/>
                <a:gd name="T10" fmla="*/ 0 w 1506"/>
                <a:gd name="T11" fmla="*/ 510 h 774"/>
                <a:gd name="T12" fmla="*/ 1506 w 1506"/>
                <a:gd name="T13" fmla="*/ 510 h 774"/>
                <a:gd name="T14" fmla="*/ 1506 w 1506"/>
                <a:gd name="T15" fmla="*/ 516 h 774"/>
                <a:gd name="T16" fmla="*/ 0 w 1506"/>
                <a:gd name="T17" fmla="*/ 516 h 774"/>
                <a:gd name="T18" fmla="*/ 0 w 1506"/>
                <a:gd name="T19" fmla="*/ 510 h 774"/>
                <a:gd name="T20" fmla="*/ 0 w 1506"/>
                <a:gd name="T21" fmla="*/ 258 h 774"/>
                <a:gd name="T22" fmla="*/ 1506 w 1506"/>
                <a:gd name="T23" fmla="*/ 258 h 774"/>
                <a:gd name="T24" fmla="*/ 1506 w 1506"/>
                <a:gd name="T25" fmla="*/ 264 h 774"/>
                <a:gd name="T26" fmla="*/ 0 w 1506"/>
                <a:gd name="T27" fmla="*/ 264 h 774"/>
                <a:gd name="T28" fmla="*/ 0 w 1506"/>
                <a:gd name="T29" fmla="*/ 258 h 774"/>
                <a:gd name="T30" fmla="*/ 0 w 1506"/>
                <a:gd name="T31" fmla="*/ 0 h 774"/>
                <a:gd name="T32" fmla="*/ 1506 w 1506"/>
                <a:gd name="T33" fmla="*/ 0 h 774"/>
                <a:gd name="T34" fmla="*/ 1506 w 1506"/>
                <a:gd name="T35" fmla="*/ 6 h 774"/>
                <a:gd name="T36" fmla="*/ 0 w 1506"/>
                <a:gd name="T37" fmla="*/ 6 h 774"/>
                <a:gd name="T38" fmla="*/ 0 w 1506"/>
                <a:gd name="T39"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6" h="774">
                  <a:moveTo>
                    <a:pt x="0" y="768"/>
                  </a:moveTo>
                  <a:lnTo>
                    <a:pt x="1506" y="768"/>
                  </a:lnTo>
                  <a:lnTo>
                    <a:pt x="1506" y="774"/>
                  </a:lnTo>
                  <a:lnTo>
                    <a:pt x="0" y="774"/>
                  </a:lnTo>
                  <a:lnTo>
                    <a:pt x="0" y="768"/>
                  </a:lnTo>
                  <a:close/>
                  <a:moveTo>
                    <a:pt x="0" y="510"/>
                  </a:moveTo>
                  <a:lnTo>
                    <a:pt x="1506" y="510"/>
                  </a:lnTo>
                  <a:lnTo>
                    <a:pt x="1506" y="516"/>
                  </a:lnTo>
                  <a:lnTo>
                    <a:pt x="0" y="516"/>
                  </a:lnTo>
                  <a:lnTo>
                    <a:pt x="0" y="510"/>
                  </a:lnTo>
                  <a:close/>
                  <a:moveTo>
                    <a:pt x="0" y="258"/>
                  </a:moveTo>
                  <a:lnTo>
                    <a:pt x="1506" y="258"/>
                  </a:lnTo>
                  <a:lnTo>
                    <a:pt x="1506" y="264"/>
                  </a:lnTo>
                  <a:lnTo>
                    <a:pt x="0" y="264"/>
                  </a:lnTo>
                  <a:lnTo>
                    <a:pt x="0" y="258"/>
                  </a:lnTo>
                  <a:close/>
                  <a:moveTo>
                    <a:pt x="0" y="0"/>
                  </a:moveTo>
                  <a:lnTo>
                    <a:pt x="1506" y="0"/>
                  </a:lnTo>
                  <a:lnTo>
                    <a:pt x="1506" y="6"/>
                  </a:lnTo>
                  <a:lnTo>
                    <a:pt x="0" y="6"/>
                  </a:lnTo>
                  <a:lnTo>
                    <a:pt x="0" y="0"/>
                  </a:lnTo>
                  <a:close/>
                </a:path>
              </a:pathLst>
            </a:custGeom>
            <a:solidFill>
              <a:srgbClr val="878889"/>
            </a:solidFill>
            <a:ln w="9525" cap="flat">
              <a:solidFill>
                <a:srgbClr val="878889"/>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2" name="Rectangle 57"/>
            <p:cNvSpPr>
              <a:spLocks noChangeArrowheads="1"/>
            </p:cNvSpPr>
            <p:nvPr/>
          </p:nvSpPr>
          <p:spPr bwMode="auto">
            <a:xfrm>
              <a:off x="2150" y="1353"/>
              <a:ext cx="24" cy="1026"/>
            </a:xfrm>
            <a:prstGeom prst="rect">
              <a:avLst/>
            </a:prstGeom>
            <a:solidFill>
              <a:srgbClr val="EB780A"/>
            </a:solidFill>
            <a:ln w="9525" cap="flat">
              <a:solidFill>
                <a:srgbClr val="EB780A"/>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3" name="Rectangle 58"/>
            <p:cNvSpPr>
              <a:spLocks noChangeArrowheads="1"/>
            </p:cNvSpPr>
            <p:nvPr/>
          </p:nvSpPr>
          <p:spPr bwMode="auto">
            <a:xfrm>
              <a:off x="644" y="1356"/>
              <a:ext cx="18" cy="1020"/>
            </a:xfrm>
            <a:prstGeom prst="rect">
              <a:avLst/>
            </a:prstGeom>
            <a:solidFill>
              <a:srgbClr val="006487"/>
            </a:solidFill>
            <a:ln w="9525" cap="flat">
              <a:solidFill>
                <a:srgbClr val="00648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4" name="Rectangle 59"/>
            <p:cNvSpPr>
              <a:spLocks noChangeArrowheads="1"/>
            </p:cNvSpPr>
            <p:nvPr/>
          </p:nvSpPr>
          <p:spPr bwMode="auto">
            <a:xfrm>
              <a:off x="650" y="2373"/>
              <a:ext cx="1512" cy="12"/>
            </a:xfrm>
            <a:prstGeom prst="rect">
              <a:avLst/>
            </a:prstGeom>
            <a:solidFill>
              <a:srgbClr val="0F1923"/>
            </a:solidFill>
            <a:ln w="9525"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60"/>
            <p:cNvSpPr>
              <a:spLocks/>
            </p:cNvSpPr>
            <p:nvPr/>
          </p:nvSpPr>
          <p:spPr bwMode="auto">
            <a:xfrm>
              <a:off x="644" y="1353"/>
              <a:ext cx="1477" cy="877"/>
            </a:xfrm>
            <a:custGeom>
              <a:avLst/>
              <a:gdLst>
                <a:gd name="T0" fmla="*/ 145 w 3939"/>
                <a:gd name="T1" fmla="*/ 365 h 2339"/>
                <a:gd name="T2" fmla="*/ 271 w 3939"/>
                <a:gd name="T3" fmla="*/ 553 h 2339"/>
                <a:gd name="T4" fmla="*/ 385 w 3939"/>
                <a:gd name="T5" fmla="*/ 909 h 2339"/>
                <a:gd name="T6" fmla="*/ 510 w 3939"/>
                <a:gd name="T7" fmla="*/ 1272 h 2339"/>
                <a:gd name="T8" fmla="*/ 617 w 3939"/>
                <a:gd name="T9" fmla="*/ 1412 h 2339"/>
                <a:gd name="T10" fmla="*/ 725 w 3939"/>
                <a:gd name="T11" fmla="*/ 1474 h 2339"/>
                <a:gd name="T12" fmla="*/ 964 w 3939"/>
                <a:gd name="T13" fmla="*/ 1522 h 2339"/>
                <a:gd name="T14" fmla="*/ 1094 w 3939"/>
                <a:gd name="T15" fmla="*/ 1538 h 2339"/>
                <a:gd name="T16" fmla="*/ 1318 w 3939"/>
                <a:gd name="T17" fmla="*/ 1602 h 2339"/>
                <a:gd name="T18" fmla="*/ 1558 w 3939"/>
                <a:gd name="T19" fmla="*/ 1666 h 2339"/>
                <a:gd name="T20" fmla="*/ 1689 w 3939"/>
                <a:gd name="T21" fmla="*/ 1700 h 2339"/>
                <a:gd name="T22" fmla="*/ 1912 w 3939"/>
                <a:gd name="T23" fmla="*/ 1811 h 2339"/>
                <a:gd name="T24" fmla="*/ 2037 w 3939"/>
                <a:gd name="T25" fmla="*/ 1842 h 2339"/>
                <a:gd name="T26" fmla="*/ 2152 w 3939"/>
                <a:gd name="T27" fmla="*/ 1891 h 2339"/>
                <a:gd name="T28" fmla="*/ 2392 w 3939"/>
                <a:gd name="T29" fmla="*/ 1987 h 2339"/>
                <a:gd name="T30" fmla="*/ 2630 w 3939"/>
                <a:gd name="T31" fmla="*/ 2066 h 2339"/>
                <a:gd name="T32" fmla="*/ 2739 w 3939"/>
                <a:gd name="T33" fmla="*/ 2098 h 2339"/>
                <a:gd name="T34" fmla="*/ 2870 w 3939"/>
                <a:gd name="T35" fmla="*/ 2114 h 2339"/>
                <a:gd name="T36" fmla="*/ 2979 w 3939"/>
                <a:gd name="T37" fmla="*/ 2146 h 2339"/>
                <a:gd name="T38" fmla="*/ 3110 w 3939"/>
                <a:gd name="T39" fmla="*/ 2162 h 2339"/>
                <a:gd name="T40" fmla="*/ 3334 w 3939"/>
                <a:gd name="T41" fmla="*/ 2226 h 2339"/>
                <a:gd name="T42" fmla="*/ 3459 w 3939"/>
                <a:gd name="T43" fmla="*/ 2242 h 2339"/>
                <a:gd name="T44" fmla="*/ 3699 w 3939"/>
                <a:gd name="T45" fmla="*/ 2274 h 2339"/>
                <a:gd name="T46" fmla="*/ 3924 w 3939"/>
                <a:gd name="T47" fmla="*/ 2306 h 2339"/>
                <a:gd name="T48" fmla="*/ 3919 w 3939"/>
                <a:gd name="T49" fmla="*/ 2337 h 2339"/>
                <a:gd name="T50" fmla="*/ 3695 w 3939"/>
                <a:gd name="T51" fmla="*/ 2305 h 2339"/>
                <a:gd name="T52" fmla="*/ 3455 w 3939"/>
                <a:gd name="T53" fmla="*/ 2273 h 2339"/>
                <a:gd name="T54" fmla="*/ 3325 w 3939"/>
                <a:gd name="T55" fmla="*/ 2257 h 2339"/>
                <a:gd name="T56" fmla="*/ 3101 w 3939"/>
                <a:gd name="T57" fmla="*/ 2193 h 2339"/>
                <a:gd name="T58" fmla="*/ 2975 w 3939"/>
                <a:gd name="T59" fmla="*/ 2177 h 2339"/>
                <a:gd name="T60" fmla="*/ 2861 w 3939"/>
                <a:gd name="T61" fmla="*/ 2145 h 2339"/>
                <a:gd name="T62" fmla="*/ 2735 w 3939"/>
                <a:gd name="T63" fmla="*/ 2129 h 2339"/>
                <a:gd name="T64" fmla="*/ 2621 w 3939"/>
                <a:gd name="T65" fmla="*/ 2097 h 2339"/>
                <a:gd name="T66" fmla="*/ 2379 w 3939"/>
                <a:gd name="T67" fmla="*/ 2016 h 2339"/>
                <a:gd name="T68" fmla="*/ 2139 w 3939"/>
                <a:gd name="T69" fmla="*/ 1920 h 2339"/>
                <a:gd name="T70" fmla="*/ 2030 w 3939"/>
                <a:gd name="T71" fmla="*/ 1873 h 2339"/>
                <a:gd name="T72" fmla="*/ 1899 w 3939"/>
                <a:gd name="T73" fmla="*/ 1840 h 2339"/>
                <a:gd name="T74" fmla="*/ 1674 w 3939"/>
                <a:gd name="T75" fmla="*/ 1727 h 2339"/>
                <a:gd name="T76" fmla="*/ 1549 w 3939"/>
                <a:gd name="T77" fmla="*/ 1697 h 2339"/>
                <a:gd name="T78" fmla="*/ 1309 w 3939"/>
                <a:gd name="T79" fmla="*/ 1633 h 2339"/>
                <a:gd name="T80" fmla="*/ 1085 w 3939"/>
                <a:gd name="T81" fmla="*/ 1569 h 2339"/>
                <a:gd name="T82" fmla="*/ 959 w 3939"/>
                <a:gd name="T83" fmla="*/ 1553 h 2339"/>
                <a:gd name="T84" fmla="*/ 718 w 3939"/>
                <a:gd name="T85" fmla="*/ 1505 h 2339"/>
                <a:gd name="T86" fmla="*/ 602 w 3939"/>
                <a:gd name="T87" fmla="*/ 1439 h 2339"/>
                <a:gd name="T88" fmla="*/ 485 w 3939"/>
                <a:gd name="T89" fmla="*/ 1291 h 2339"/>
                <a:gd name="T90" fmla="*/ 354 w 3939"/>
                <a:gd name="T91" fmla="*/ 918 h 2339"/>
                <a:gd name="T92" fmla="*/ 244 w 3939"/>
                <a:gd name="T93" fmla="*/ 570 h 2339"/>
                <a:gd name="T94" fmla="*/ 114 w 3939"/>
                <a:gd name="T95" fmla="*/ 374 h 2339"/>
                <a:gd name="T96" fmla="*/ 13 w 3939"/>
                <a:gd name="T97" fmla="*/ 2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9" h="2339">
                  <a:moveTo>
                    <a:pt x="33" y="13"/>
                  </a:moveTo>
                  <a:lnTo>
                    <a:pt x="145" y="365"/>
                  </a:lnTo>
                  <a:lnTo>
                    <a:pt x="143" y="361"/>
                  </a:lnTo>
                  <a:lnTo>
                    <a:pt x="271" y="553"/>
                  </a:lnTo>
                  <a:cubicBezTo>
                    <a:pt x="272" y="554"/>
                    <a:pt x="272" y="555"/>
                    <a:pt x="273" y="557"/>
                  </a:cubicBezTo>
                  <a:lnTo>
                    <a:pt x="385" y="909"/>
                  </a:lnTo>
                  <a:lnTo>
                    <a:pt x="513" y="1276"/>
                  </a:lnTo>
                  <a:lnTo>
                    <a:pt x="510" y="1272"/>
                  </a:lnTo>
                  <a:lnTo>
                    <a:pt x="622" y="1416"/>
                  </a:lnTo>
                  <a:lnTo>
                    <a:pt x="617" y="1412"/>
                  </a:lnTo>
                  <a:lnTo>
                    <a:pt x="729" y="1476"/>
                  </a:lnTo>
                  <a:lnTo>
                    <a:pt x="725" y="1474"/>
                  </a:lnTo>
                  <a:lnTo>
                    <a:pt x="853" y="1506"/>
                  </a:lnTo>
                  <a:lnTo>
                    <a:pt x="964" y="1522"/>
                  </a:lnTo>
                  <a:lnTo>
                    <a:pt x="1091" y="1538"/>
                  </a:lnTo>
                  <a:cubicBezTo>
                    <a:pt x="1092" y="1538"/>
                    <a:pt x="1093" y="1538"/>
                    <a:pt x="1094" y="1538"/>
                  </a:cubicBezTo>
                  <a:lnTo>
                    <a:pt x="1206" y="1570"/>
                  </a:lnTo>
                  <a:lnTo>
                    <a:pt x="1318" y="1602"/>
                  </a:lnTo>
                  <a:lnTo>
                    <a:pt x="1445" y="1634"/>
                  </a:lnTo>
                  <a:lnTo>
                    <a:pt x="1558" y="1666"/>
                  </a:lnTo>
                  <a:lnTo>
                    <a:pt x="1685" y="1698"/>
                  </a:lnTo>
                  <a:cubicBezTo>
                    <a:pt x="1687" y="1698"/>
                    <a:pt x="1688" y="1699"/>
                    <a:pt x="1689" y="1700"/>
                  </a:cubicBezTo>
                  <a:lnTo>
                    <a:pt x="1801" y="1764"/>
                  </a:lnTo>
                  <a:lnTo>
                    <a:pt x="1912" y="1811"/>
                  </a:lnTo>
                  <a:lnTo>
                    <a:pt x="1909" y="1810"/>
                  </a:lnTo>
                  <a:lnTo>
                    <a:pt x="2037" y="1842"/>
                  </a:lnTo>
                  <a:cubicBezTo>
                    <a:pt x="2038" y="1842"/>
                    <a:pt x="2039" y="1842"/>
                    <a:pt x="2040" y="1843"/>
                  </a:cubicBezTo>
                  <a:lnTo>
                    <a:pt x="2152" y="1891"/>
                  </a:lnTo>
                  <a:lnTo>
                    <a:pt x="2279" y="1938"/>
                  </a:lnTo>
                  <a:lnTo>
                    <a:pt x="2392" y="1987"/>
                  </a:lnTo>
                  <a:lnTo>
                    <a:pt x="2519" y="2034"/>
                  </a:lnTo>
                  <a:lnTo>
                    <a:pt x="2630" y="2066"/>
                  </a:lnTo>
                  <a:lnTo>
                    <a:pt x="2742" y="2098"/>
                  </a:lnTo>
                  <a:lnTo>
                    <a:pt x="2739" y="2098"/>
                  </a:lnTo>
                  <a:lnTo>
                    <a:pt x="2867" y="2114"/>
                  </a:lnTo>
                  <a:cubicBezTo>
                    <a:pt x="2868" y="2114"/>
                    <a:pt x="2869" y="2114"/>
                    <a:pt x="2870" y="2114"/>
                  </a:cubicBezTo>
                  <a:lnTo>
                    <a:pt x="2982" y="2146"/>
                  </a:lnTo>
                  <a:lnTo>
                    <a:pt x="2979" y="2146"/>
                  </a:lnTo>
                  <a:lnTo>
                    <a:pt x="3107" y="2162"/>
                  </a:lnTo>
                  <a:cubicBezTo>
                    <a:pt x="3108" y="2162"/>
                    <a:pt x="3109" y="2162"/>
                    <a:pt x="3110" y="2162"/>
                  </a:cubicBezTo>
                  <a:lnTo>
                    <a:pt x="3222" y="2194"/>
                  </a:lnTo>
                  <a:lnTo>
                    <a:pt x="3334" y="2226"/>
                  </a:lnTo>
                  <a:lnTo>
                    <a:pt x="3331" y="2226"/>
                  </a:lnTo>
                  <a:lnTo>
                    <a:pt x="3459" y="2242"/>
                  </a:lnTo>
                  <a:lnTo>
                    <a:pt x="3572" y="2258"/>
                  </a:lnTo>
                  <a:lnTo>
                    <a:pt x="3699" y="2274"/>
                  </a:lnTo>
                  <a:lnTo>
                    <a:pt x="3812" y="2290"/>
                  </a:lnTo>
                  <a:lnTo>
                    <a:pt x="3924" y="2306"/>
                  </a:lnTo>
                  <a:cubicBezTo>
                    <a:pt x="3932" y="2307"/>
                    <a:pt x="3939" y="2315"/>
                    <a:pt x="3937" y="2324"/>
                  </a:cubicBezTo>
                  <a:cubicBezTo>
                    <a:pt x="3936" y="2332"/>
                    <a:pt x="3928" y="2339"/>
                    <a:pt x="3919" y="2337"/>
                  </a:cubicBezTo>
                  <a:lnTo>
                    <a:pt x="3807" y="2321"/>
                  </a:lnTo>
                  <a:lnTo>
                    <a:pt x="3695" y="2305"/>
                  </a:lnTo>
                  <a:lnTo>
                    <a:pt x="3567" y="2289"/>
                  </a:lnTo>
                  <a:lnTo>
                    <a:pt x="3455" y="2273"/>
                  </a:lnTo>
                  <a:lnTo>
                    <a:pt x="3327" y="2257"/>
                  </a:lnTo>
                  <a:cubicBezTo>
                    <a:pt x="3327" y="2257"/>
                    <a:pt x="3326" y="2257"/>
                    <a:pt x="3325" y="2257"/>
                  </a:cubicBezTo>
                  <a:lnTo>
                    <a:pt x="3213" y="2225"/>
                  </a:lnTo>
                  <a:lnTo>
                    <a:pt x="3101" y="2193"/>
                  </a:lnTo>
                  <a:lnTo>
                    <a:pt x="3103" y="2193"/>
                  </a:lnTo>
                  <a:lnTo>
                    <a:pt x="2975" y="2177"/>
                  </a:lnTo>
                  <a:cubicBezTo>
                    <a:pt x="2975" y="2177"/>
                    <a:pt x="2974" y="2177"/>
                    <a:pt x="2973" y="2177"/>
                  </a:cubicBezTo>
                  <a:lnTo>
                    <a:pt x="2861" y="2145"/>
                  </a:lnTo>
                  <a:lnTo>
                    <a:pt x="2863" y="2145"/>
                  </a:lnTo>
                  <a:lnTo>
                    <a:pt x="2735" y="2129"/>
                  </a:lnTo>
                  <a:cubicBezTo>
                    <a:pt x="2735" y="2129"/>
                    <a:pt x="2734" y="2129"/>
                    <a:pt x="2733" y="2129"/>
                  </a:cubicBezTo>
                  <a:lnTo>
                    <a:pt x="2621" y="2097"/>
                  </a:lnTo>
                  <a:lnTo>
                    <a:pt x="2508" y="2064"/>
                  </a:lnTo>
                  <a:lnTo>
                    <a:pt x="2379" y="2016"/>
                  </a:lnTo>
                  <a:lnTo>
                    <a:pt x="2268" y="1968"/>
                  </a:lnTo>
                  <a:lnTo>
                    <a:pt x="2139" y="1920"/>
                  </a:lnTo>
                  <a:lnTo>
                    <a:pt x="2027" y="1872"/>
                  </a:lnTo>
                  <a:lnTo>
                    <a:pt x="2030" y="1873"/>
                  </a:lnTo>
                  <a:lnTo>
                    <a:pt x="1902" y="1841"/>
                  </a:lnTo>
                  <a:cubicBezTo>
                    <a:pt x="1901" y="1841"/>
                    <a:pt x="1900" y="1841"/>
                    <a:pt x="1899" y="1840"/>
                  </a:cubicBezTo>
                  <a:lnTo>
                    <a:pt x="1786" y="1791"/>
                  </a:lnTo>
                  <a:lnTo>
                    <a:pt x="1674" y="1727"/>
                  </a:lnTo>
                  <a:lnTo>
                    <a:pt x="1678" y="1729"/>
                  </a:lnTo>
                  <a:lnTo>
                    <a:pt x="1549" y="1697"/>
                  </a:lnTo>
                  <a:lnTo>
                    <a:pt x="1438" y="1665"/>
                  </a:lnTo>
                  <a:lnTo>
                    <a:pt x="1309" y="1633"/>
                  </a:lnTo>
                  <a:lnTo>
                    <a:pt x="1197" y="1601"/>
                  </a:lnTo>
                  <a:lnTo>
                    <a:pt x="1085" y="1569"/>
                  </a:lnTo>
                  <a:lnTo>
                    <a:pt x="1087" y="1569"/>
                  </a:lnTo>
                  <a:lnTo>
                    <a:pt x="959" y="1553"/>
                  </a:lnTo>
                  <a:lnTo>
                    <a:pt x="846" y="1537"/>
                  </a:lnTo>
                  <a:lnTo>
                    <a:pt x="718" y="1505"/>
                  </a:lnTo>
                  <a:cubicBezTo>
                    <a:pt x="716" y="1505"/>
                    <a:pt x="715" y="1504"/>
                    <a:pt x="714" y="1503"/>
                  </a:cubicBezTo>
                  <a:lnTo>
                    <a:pt x="602" y="1439"/>
                  </a:lnTo>
                  <a:cubicBezTo>
                    <a:pt x="600" y="1438"/>
                    <a:pt x="598" y="1437"/>
                    <a:pt x="597" y="1435"/>
                  </a:cubicBezTo>
                  <a:lnTo>
                    <a:pt x="485" y="1291"/>
                  </a:lnTo>
                  <a:cubicBezTo>
                    <a:pt x="484" y="1290"/>
                    <a:pt x="483" y="1288"/>
                    <a:pt x="482" y="1287"/>
                  </a:cubicBezTo>
                  <a:lnTo>
                    <a:pt x="354" y="918"/>
                  </a:lnTo>
                  <a:lnTo>
                    <a:pt x="242" y="566"/>
                  </a:lnTo>
                  <a:lnTo>
                    <a:pt x="244" y="570"/>
                  </a:lnTo>
                  <a:lnTo>
                    <a:pt x="116" y="378"/>
                  </a:lnTo>
                  <a:cubicBezTo>
                    <a:pt x="115" y="377"/>
                    <a:pt x="115" y="376"/>
                    <a:pt x="114" y="374"/>
                  </a:cubicBezTo>
                  <a:lnTo>
                    <a:pt x="2" y="22"/>
                  </a:lnTo>
                  <a:cubicBezTo>
                    <a:pt x="0" y="14"/>
                    <a:pt x="4" y="5"/>
                    <a:pt x="13" y="2"/>
                  </a:cubicBezTo>
                  <a:cubicBezTo>
                    <a:pt x="21" y="0"/>
                    <a:pt x="30" y="4"/>
                    <a:pt x="33" y="13"/>
                  </a:cubicBezTo>
                  <a:close/>
                </a:path>
              </a:pathLst>
            </a:custGeom>
            <a:solidFill>
              <a:srgbClr val="006487"/>
            </a:solidFill>
            <a:ln w="9525" cap="flat">
              <a:solidFill>
                <a:srgbClr val="00648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61"/>
            <p:cNvSpPr>
              <a:spLocks/>
            </p:cNvSpPr>
            <p:nvPr/>
          </p:nvSpPr>
          <p:spPr bwMode="auto">
            <a:xfrm>
              <a:off x="644" y="1778"/>
              <a:ext cx="1525" cy="505"/>
            </a:xfrm>
            <a:custGeom>
              <a:avLst/>
              <a:gdLst>
                <a:gd name="T0" fmla="*/ 15 w 4067"/>
                <a:gd name="T1" fmla="*/ 1315 h 1347"/>
                <a:gd name="T2" fmla="*/ 607 w 4067"/>
                <a:gd name="T3" fmla="*/ 1251 h 1347"/>
                <a:gd name="T4" fmla="*/ 1198 w 4067"/>
                <a:gd name="T5" fmla="*/ 1171 h 1347"/>
                <a:gd name="T6" fmla="*/ 1191 w 4067"/>
                <a:gd name="T7" fmla="*/ 1174 h 1347"/>
                <a:gd name="T8" fmla="*/ 1783 w 4067"/>
                <a:gd name="T9" fmla="*/ 726 h 1347"/>
                <a:gd name="T10" fmla="*/ 1790 w 4067"/>
                <a:gd name="T11" fmla="*/ 723 h 1347"/>
                <a:gd name="T12" fmla="*/ 2382 w 4067"/>
                <a:gd name="T13" fmla="*/ 627 h 1347"/>
                <a:gd name="T14" fmla="*/ 2973 w 4067"/>
                <a:gd name="T15" fmla="*/ 499 h 1347"/>
                <a:gd name="T16" fmla="*/ 2970 w 4067"/>
                <a:gd name="T17" fmla="*/ 500 h 1347"/>
                <a:gd name="T18" fmla="*/ 3562 w 4067"/>
                <a:gd name="T19" fmla="*/ 228 h 1347"/>
                <a:gd name="T20" fmla="*/ 4042 w 4067"/>
                <a:gd name="T21" fmla="*/ 4 h 1347"/>
                <a:gd name="T22" fmla="*/ 4063 w 4067"/>
                <a:gd name="T23" fmla="*/ 12 h 1347"/>
                <a:gd name="T24" fmla="*/ 4055 w 4067"/>
                <a:gd name="T25" fmla="*/ 33 h 1347"/>
                <a:gd name="T26" fmla="*/ 3575 w 4067"/>
                <a:gd name="T27" fmla="*/ 257 h 1347"/>
                <a:gd name="T28" fmla="*/ 2983 w 4067"/>
                <a:gd name="T29" fmla="*/ 529 h 1347"/>
                <a:gd name="T30" fmla="*/ 2980 w 4067"/>
                <a:gd name="T31" fmla="*/ 530 h 1347"/>
                <a:gd name="T32" fmla="*/ 2387 w 4067"/>
                <a:gd name="T33" fmla="*/ 658 h 1347"/>
                <a:gd name="T34" fmla="*/ 1795 w 4067"/>
                <a:gd name="T35" fmla="*/ 754 h 1347"/>
                <a:gd name="T36" fmla="*/ 1802 w 4067"/>
                <a:gd name="T37" fmla="*/ 751 h 1347"/>
                <a:gd name="T38" fmla="*/ 1210 w 4067"/>
                <a:gd name="T39" fmla="*/ 1199 h 1347"/>
                <a:gd name="T40" fmla="*/ 1203 w 4067"/>
                <a:gd name="T41" fmla="*/ 1202 h 1347"/>
                <a:gd name="T42" fmla="*/ 610 w 4067"/>
                <a:gd name="T43" fmla="*/ 1282 h 1347"/>
                <a:gd name="T44" fmla="*/ 18 w 4067"/>
                <a:gd name="T45" fmla="*/ 1346 h 1347"/>
                <a:gd name="T46" fmla="*/ 1 w 4067"/>
                <a:gd name="T47" fmla="*/ 1332 h 1347"/>
                <a:gd name="T48" fmla="*/ 15 w 4067"/>
                <a:gd name="T49" fmla="*/ 1315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67" h="1347">
                  <a:moveTo>
                    <a:pt x="15" y="1315"/>
                  </a:moveTo>
                  <a:lnTo>
                    <a:pt x="607" y="1251"/>
                  </a:lnTo>
                  <a:lnTo>
                    <a:pt x="1198" y="1171"/>
                  </a:lnTo>
                  <a:lnTo>
                    <a:pt x="1191" y="1174"/>
                  </a:lnTo>
                  <a:lnTo>
                    <a:pt x="1783" y="726"/>
                  </a:lnTo>
                  <a:cubicBezTo>
                    <a:pt x="1785" y="724"/>
                    <a:pt x="1787" y="723"/>
                    <a:pt x="1790" y="723"/>
                  </a:cubicBezTo>
                  <a:lnTo>
                    <a:pt x="2382" y="627"/>
                  </a:lnTo>
                  <a:lnTo>
                    <a:pt x="2973" y="499"/>
                  </a:lnTo>
                  <a:lnTo>
                    <a:pt x="2970" y="500"/>
                  </a:lnTo>
                  <a:lnTo>
                    <a:pt x="3562" y="228"/>
                  </a:lnTo>
                  <a:lnTo>
                    <a:pt x="4042" y="4"/>
                  </a:lnTo>
                  <a:cubicBezTo>
                    <a:pt x="4050" y="0"/>
                    <a:pt x="4059" y="4"/>
                    <a:pt x="4063" y="12"/>
                  </a:cubicBezTo>
                  <a:cubicBezTo>
                    <a:pt x="4067" y="20"/>
                    <a:pt x="4063" y="29"/>
                    <a:pt x="4055" y="33"/>
                  </a:cubicBezTo>
                  <a:lnTo>
                    <a:pt x="3575" y="257"/>
                  </a:lnTo>
                  <a:lnTo>
                    <a:pt x="2983" y="529"/>
                  </a:lnTo>
                  <a:cubicBezTo>
                    <a:pt x="2982" y="529"/>
                    <a:pt x="2981" y="530"/>
                    <a:pt x="2980" y="530"/>
                  </a:cubicBezTo>
                  <a:lnTo>
                    <a:pt x="2387" y="658"/>
                  </a:lnTo>
                  <a:lnTo>
                    <a:pt x="1795" y="754"/>
                  </a:lnTo>
                  <a:lnTo>
                    <a:pt x="1802" y="751"/>
                  </a:lnTo>
                  <a:lnTo>
                    <a:pt x="1210" y="1199"/>
                  </a:lnTo>
                  <a:cubicBezTo>
                    <a:pt x="1208" y="1201"/>
                    <a:pt x="1205" y="1202"/>
                    <a:pt x="1203" y="1202"/>
                  </a:cubicBezTo>
                  <a:lnTo>
                    <a:pt x="610" y="1282"/>
                  </a:lnTo>
                  <a:lnTo>
                    <a:pt x="18" y="1346"/>
                  </a:lnTo>
                  <a:cubicBezTo>
                    <a:pt x="9" y="1347"/>
                    <a:pt x="2" y="1341"/>
                    <a:pt x="1" y="1332"/>
                  </a:cubicBezTo>
                  <a:cubicBezTo>
                    <a:pt x="0" y="1323"/>
                    <a:pt x="6" y="1316"/>
                    <a:pt x="15" y="1315"/>
                  </a:cubicBezTo>
                  <a:close/>
                </a:path>
              </a:pathLst>
            </a:custGeom>
            <a:solidFill>
              <a:srgbClr val="EB780A"/>
            </a:solidFill>
            <a:ln w="9525" cap="flat">
              <a:solidFill>
                <a:srgbClr val="EB780A"/>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17" name="Rectangle 62"/>
            <p:cNvSpPr>
              <a:spLocks noChangeArrowheads="1"/>
            </p:cNvSpPr>
            <p:nvPr/>
          </p:nvSpPr>
          <p:spPr bwMode="auto">
            <a:xfrm>
              <a:off x="2207" y="2308"/>
              <a:ext cx="126"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EB780A"/>
                  </a:solidFill>
                  <a:effectLst/>
                  <a:latin typeface="Arial" pitchFamily="34" charset="0"/>
                  <a:cs typeface="Arial" pitchFamily="34" charset="0"/>
                </a:rPr>
                <a:t>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8" name="Rectangle 63"/>
            <p:cNvSpPr>
              <a:spLocks noChangeArrowheads="1"/>
            </p:cNvSpPr>
            <p:nvPr/>
          </p:nvSpPr>
          <p:spPr bwMode="auto">
            <a:xfrm>
              <a:off x="2207" y="2053"/>
              <a:ext cx="192"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EB780A"/>
                  </a:solidFill>
                  <a:effectLst/>
                  <a:latin typeface="Arial" pitchFamily="34" charset="0"/>
                  <a:cs typeface="Arial" pitchFamily="34" charset="0"/>
                </a:rPr>
                <a:t>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9" name="Rectangle 64"/>
            <p:cNvSpPr>
              <a:spLocks noChangeArrowheads="1"/>
            </p:cNvSpPr>
            <p:nvPr/>
          </p:nvSpPr>
          <p:spPr bwMode="auto">
            <a:xfrm>
              <a:off x="2207" y="1797"/>
              <a:ext cx="26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EB780A"/>
                  </a:solidFill>
                  <a:effectLst/>
                  <a:latin typeface="Arial" pitchFamily="34" charset="0"/>
                  <a:cs typeface="Arial" pitchFamily="34" charset="0"/>
                </a:rPr>
                <a:t>1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0" name="Rectangle 65"/>
            <p:cNvSpPr>
              <a:spLocks noChangeArrowheads="1"/>
            </p:cNvSpPr>
            <p:nvPr/>
          </p:nvSpPr>
          <p:spPr bwMode="auto">
            <a:xfrm>
              <a:off x="2207" y="1541"/>
              <a:ext cx="26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EB780A"/>
                  </a:solidFill>
                  <a:effectLst/>
                  <a:latin typeface="Arial" pitchFamily="34" charset="0"/>
                  <a:cs typeface="Arial" pitchFamily="34" charset="0"/>
                </a:rPr>
                <a:t>15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1" name="Rectangle 66"/>
            <p:cNvSpPr>
              <a:spLocks noChangeArrowheads="1"/>
            </p:cNvSpPr>
            <p:nvPr/>
          </p:nvSpPr>
          <p:spPr bwMode="auto">
            <a:xfrm>
              <a:off x="2207" y="1286"/>
              <a:ext cx="264"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EB780A"/>
                  </a:solidFill>
                  <a:effectLst/>
                  <a:latin typeface="Arial" pitchFamily="34" charset="0"/>
                  <a:cs typeface="Arial" pitchFamily="34" charset="0"/>
                </a:rPr>
                <a:t>2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2" name="Rectangle 67"/>
            <p:cNvSpPr>
              <a:spLocks noChangeArrowheads="1"/>
            </p:cNvSpPr>
            <p:nvPr/>
          </p:nvSpPr>
          <p:spPr bwMode="auto">
            <a:xfrm>
              <a:off x="574" y="2308"/>
              <a:ext cx="44"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6487"/>
                  </a:solidFill>
                  <a:effectLst/>
                  <a:latin typeface="Arial" pitchFamily="34" charset="0"/>
                  <a:cs typeface="Arial" pitchFamily="34" charset="0"/>
                </a:rPr>
                <a:t>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3" name="Rectangle 68"/>
            <p:cNvSpPr>
              <a:spLocks noChangeArrowheads="1"/>
            </p:cNvSpPr>
            <p:nvPr/>
          </p:nvSpPr>
          <p:spPr bwMode="auto">
            <a:xfrm>
              <a:off x="499" y="2053"/>
              <a:ext cx="13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6487"/>
                  </a:solidFill>
                  <a:effectLst/>
                  <a:latin typeface="Arial" pitchFamily="34" charset="0"/>
                  <a:cs typeface="Arial" pitchFamily="34" charset="0"/>
                </a:rPr>
                <a:t>1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4" name="Rectangle 69"/>
            <p:cNvSpPr>
              <a:spLocks noChangeArrowheads="1"/>
            </p:cNvSpPr>
            <p:nvPr/>
          </p:nvSpPr>
          <p:spPr bwMode="auto">
            <a:xfrm>
              <a:off x="499" y="1797"/>
              <a:ext cx="13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6487"/>
                  </a:solidFill>
                  <a:effectLst/>
                  <a:latin typeface="Arial" pitchFamily="34" charset="0"/>
                  <a:cs typeface="Arial" pitchFamily="34" charset="0"/>
                </a:rPr>
                <a:t>2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5" name="Rectangle 70"/>
            <p:cNvSpPr>
              <a:spLocks noChangeArrowheads="1"/>
            </p:cNvSpPr>
            <p:nvPr/>
          </p:nvSpPr>
          <p:spPr bwMode="auto">
            <a:xfrm>
              <a:off x="499" y="1541"/>
              <a:ext cx="13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smtClean="0">
                  <a:ln>
                    <a:noFill/>
                  </a:ln>
                  <a:solidFill>
                    <a:srgbClr val="006487"/>
                  </a:solidFill>
                  <a:effectLst/>
                  <a:latin typeface="Arial" pitchFamily="34" charset="0"/>
                  <a:cs typeface="Arial" pitchFamily="34" charset="0"/>
                </a:rPr>
                <a:t>3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6" name="Rectangle 71"/>
            <p:cNvSpPr>
              <a:spLocks noChangeArrowheads="1"/>
            </p:cNvSpPr>
            <p:nvPr/>
          </p:nvSpPr>
          <p:spPr bwMode="auto">
            <a:xfrm>
              <a:off x="499" y="1286"/>
              <a:ext cx="13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006487"/>
                  </a:solidFill>
                  <a:effectLst/>
                  <a:latin typeface="Arial" pitchFamily="34" charset="0"/>
                  <a:cs typeface="Arial" pitchFamily="34" charset="0"/>
                </a:rPr>
                <a:t>400</a:t>
              </a: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7" name="Rectangle 72"/>
            <p:cNvSpPr>
              <a:spLocks noChangeArrowheads="1"/>
            </p:cNvSpPr>
            <p:nvPr/>
          </p:nvSpPr>
          <p:spPr bwMode="auto">
            <a:xfrm>
              <a:off x="526" y="2448"/>
              <a:ext cx="324"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smtClean="0">
                  <a:ln>
                    <a:noFill/>
                  </a:ln>
                  <a:solidFill>
                    <a:srgbClr val="0F1923"/>
                  </a:solidFill>
                  <a:effectLst/>
                  <a:latin typeface="Arial" pitchFamily="34" charset="0"/>
                  <a:cs typeface="Arial" pitchFamily="34" charset="0"/>
                </a:rPr>
                <a:t>198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8" name="Rectangle 73"/>
            <p:cNvSpPr>
              <a:spLocks noChangeArrowheads="1"/>
            </p:cNvSpPr>
            <p:nvPr/>
          </p:nvSpPr>
          <p:spPr bwMode="auto">
            <a:xfrm>
              <a:off x="971" y="2448"/>
              <a:ext cx="323"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smtClean="0">
                  <a:ln>
                    <a:noFill/>
                  </a:ln>
                  <a:solidFill>
                    <a:srgbClr val="0F1923"/>
                  </a:solidFill>
                  <a:effectLst/>
                  <a:latin typeface="Arial" pitchFamily="34" charset="0"/>
                  <a:cs typeface="Arial" pitchFamily="34" charset="0"/>
                </a:rPr>
                <a:t>199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9" name="Rectangle 74"/>
            <p:cNvSpPr>
              <a:spLocks noChangeArrowheads="1"/>
            </p:cNvSpPr>
            <p:nvPr/>
          </p:nvSpPr>
          <p:spPr bwMode="auto">
            <a:xfrm>
              <a:off x="1415" y="2448"/>
              <a:ext cx="324"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smtClean="0">
                  <a:ln>
                    <a:noFill/>
                  </a:ln>
                  <a:solidFill>
                    <a:srgbClr val="0F1923"/>
                  </a:solidFill>
                  <a:effectLst/>
                  <a:latin typeface="Arial" pitchFamily="34" charset="0"/>
                  <a:cs typeface="Arial" pitchFamily="34" charset="0"/>
                </a:rPr>
                <a:t>200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0" name="Rectangle 75"/>
            <p:cNvSpPr>
              <a:spLocks noChangeArrowheads="1"/>
            </p:cNvSpPr>
            <p:nvPr/>
          </p:nvSpPr>
          <p:spPr bwMode="auto">
            <a:xfrm>
              <a:off x="1859" y="2448"/>
              <a:ext cx="324" cy="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smtClean="0">
                  <a:ln>
                    <a:noFill/>
                  </a:ln>
                  <a:solidFill>
                    <a:srgbClr val="0F1923"/>
                  </a:solidFill>
                  <a:effectLst/>
                  <a:latin typeface="Arial" pitchFamily="34" charset="0"/>
                  <a:cs typeface="Arial" pitchFamily="34" charset="0"/>
                </a:rPr>
                <a:t>2010</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31" name="Text Box 4"/>
          <p:cNvSpPr txBox="1">
            <a:spLocks noChangeArrowheads="1"/>
          </p:cNvSpPr>
          <p:nvPr/>
        </p:nvSpPr>
        <p:spPr bwMode="auto">
          <a:xfrm>
            <a:off x="539749" y="5447398"/>
            <a:ext cx="8208963" cy="718452"/>
          </a:xfrm>
          <a:prstGeom prst="rect">
            <a:avLst/>
          </a:prstGeom>
          <a:solidFill>
            <a:schemeClr val="accent1"/>
          </a:solidFill>
          <a:ln w="9525" algn="ctr">
            <a:noFill/>
            <a:miter lim="800000"/>
            <a:headEnd/>
            <a:tailEnd/>
          </a:ln>
          <a:effectLst/>
        </p:spPr>
        <p:txBody>
          <a:bodyPr wrap="square" lIns="108000" tIns="54000" rIns="108000" bIns="54000">
            <a:spAutoFit/>
          </a:bodyPr>
          <a:lstStyle/>
          <a:p>
            <a:pPr>
              <a:lnSpc>
                <a:spcPct val="110000"/>
              </a:lnSpc>
              <a:spcBef>
                <a:spcPts val="0"/>
              </a:spcBef>
            </a:pPr>
            <a:r>
              <a:rPr lang="en-US" b="1" dirty="0" smtClean="0">
                <a:solidFill>
                  <a:schemeClr val="bg1"/>
                </a:solidFill>
              </a:rPr>
              <a:t>70% of the LCOE reduction since 1980 can be attributed to size growth of wind turbines.</a:t>
            </a:r>
            <a:endParaRPr lang="en-US" b="1" dirty="0">
              <a:solidFill>
                <a:schemeClr val="bg1"/>
              </a:solidFill>
            </a:endParaRPr>
          </a:p>
        </p:txBody>
      </p:sp>
      <p:sp>
        <p:nvSpPr>
          <p:cNvPr id="32" name="Textfeld 31"/>
          <p:cNvSpPr txBox="1"/>
          <p:nvPr/>
        </p:nvSpPr>
        <p:spPr>
          <a:xfrm>
            <a:off x="5111483" y="1407939"/>
            <a:ext cx="3637229" cy="554571"/>
          </a:xfrm>
          <a:prstGeom prst="rect">
            <a:avLst/>
          </a:prstGeom>
          <a:noFill/>
        </p:spPr>
        <p:txBody>
          <a:bodyPr wrap="none" lIns="0" tIns="0" rIns="0" bIns="0" rtlCol="0">
            <a:noAutofit/>
          </a:bodyPr>
          <a:lstStyle/>
          <a:p>
            <a:pPr>
              <a:lnSpc>
                <a:spcPct val="110000"/>
              </a:lnSpc>
              <a:spcBef>
                <a:spcPts val="0"/>
              </a:spcBef>
            </a:pPr>
            <a:r>
              <a:rPr lang="de-DE" sz="1400" b="1" dirty="0" err="1" smtClean="0">
                <a:solidFill>
                  <a:schemeClr val="accent4"/>
                </a:solidFill>
              </a:rPr>
              <a:t>Challenges</a:t>
            </a:r>
            <a:r>
              <a:rPr lang="de-DE" sz="1400" b="1" dirty="0" smtClean="0">
                <a:solidFill>
                  <a:schemeClr val="accent4"/>
                </a:solidFill>
              </a:rPr>
              <a:t> </a:t>
            </a:r>
            <a:r>
              <a:rPr lang="de-DE" sz="1400" b="1" dirty="0" err="1" smtClean="0">
                <a:solidFill>
                  <a:schemeClr val="accent4"/>
                </a:solidFill>
              </a:rPr>
              <a:t>ahead</a:t>
            </a:r>
            <a:endParaRPr lang="en-GB" sz="1400" b="1" dirty="0" err="1" smtClean="0">
              <a:solidFill>
                <a:schemeClr val="accent4"/>
              </a:solidFill>
            </a:endParaRPr>
          </a:p>
        </p:txBody>
      </p:sp>
      <p:cxnSp>
        <p:nvCxnSpPr>
          <p:cNvPr id="33" name="Gerade Verbindung 32"/>
          <p:cNvCxnSpPr>
            <a:stCxn id="32" idx="1"/>
            <a:endCxn id="32" idx="3"/>
          </p:cNvCxnSpPr>
          <p:nvPr/>
        </p:nvCxnSpPr>
        <p:spPr bwMode="auto">
          <a:xfrm>
            <a:off x="5111483" y="1685225"/>
            <a:ext cx="3637229" cy="0"/>
          </a:xfrm>
          <a:prstGeom prst="line">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9" name="Gruppieren 48"/>
          <p:cNvGrpSpPr/>
          <p:nvPr/>
        </p:nvGrpSpPr>
        <p:grpSpPr>
          <a:xfrm>
            <a:off x="5111480" y="1899738"/>
            <a:ext cx="3637233" cy="1672780"/>
            <a:chOff x="5580112" y="1899738"/>
            <a:chExt cx="3168601" cy="1457254"/>
          </a:xfrm>
        </p:grpSpPr>
        <p:grpSp>
          <p:nvGrpSpPr>
            <p:cNvPr id="47" name="Gruppieren 46"/>
            <p:cNvGrpSpPr/>
            <p:nvPr/>
          </p:nvGrpSpPr>
          <p:grpSpPr>
            <a:xfrm>
              <a:off x="5580113" y="2037684"/>
              <a:ext cx="3168600" cy="1319308"/>
              <a:chOff x="5580113" y="2037684"/>
              <a:chExt cx="3168600" cy="1319308"/>
            </a:xfrm>
          </p:grpSpPr>
          <p:pic>
            <p:nvPicPr>
              <p:cNvPr id="16390" name="Picture 6" descr="File:Tree Sparrow August 2007 Osaka Japan.jpg"/>
              <p:cNvPicPr>
                <a:picLocks noChangeAspect="1" noChangeArrowheads="1"/>
              </p:cNvPicPr>
              <p:nvPr/>
            </p:nvPicPr>
            <p:blipFill rotWithShape="1">
              <a:blip r:embed="rId7">
                <a:extLst>
                  <a:ext uri="{28A0092B-C50C-407E-A947-70E740481C1C}">
                    <a14:useLocalDpi xmlns:a14="http://schemas.microsoft.com/office/drawing/2010/main" val="0"/>
                  </a:ext>
                </a:extLst>
              </a:blip>
              <a:srcRect l="6851" r="6851" b="1519"/>
              <a:stretch/>
            </p:blipFill>
            <p:spPr bwMode="auto">
              <a:xfrm>
                <a:off x="5580113" y="2037684"/>
                <a:ext cx="1728737" cy="1319307"/>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File:Ostrich and chick.jpg"/>
              <p:cNvPicPr>
                <a:picLocks noChangeAspect="1" noChangeArrowheads="1"/>
              </p:cNvPicPr>
              <p:nvPr/>
            </p:nvPicPr>
            <p:blipFill rotWithShape="1">
              <a:blip r:embed="rId8">
                <a:extLst>
                  <a:ext uri="{28A0092B-C50C-407E-A947-70E740481C1C}">
                    <a14:useLocalDpi xmlns:a14="http://schemas.microsoft.com/office/drawing/2010/main" val="0"/>
                  </a:ext>
                </a:extLst>
              </a:blip>
              <a:srcRect l="15288" t="13958" r="8845" b="964"/>
              <a:stretch/>
            </p:blipFill>
            <p:spPr bwMode="auto">
              <a:xfrm>
                <a:off x="7164413" y="2037684"/>
                <a:ext cx="1568628" cy="1319307"/>
              </a:xfrm>
              <a:prstGeom prst="rect">
                <a:avLst/>
              </a:prstGeom>
              <a:noFill/>
              <a:extLst>
                <a:ext uri="{909E8E84-426E-40DD-AFC4-6F175D3DCCD1}">
                  <a14:hiddenFill xmlns:a14="http://schemas.microsoft.com/office/drawing/2010/main">
                    <a:solidFill>
                      <a:srgbClr val="FFFFFF"/>
                    </a:solidFill>
                  </a14:hiddenFill>
                </a:ext>
              </a:extLst>
            </p:spPr>
          </p:pic>
          <p:sp>
            <p:nvSpPr>
              <p:cNvPr id="34" name="Rechteck 33"/>
              <p:cNvSpPr/>
              <p:nvPr/>
            </p:nvSpPr>
            <p:spPr bwMode="auto">
              <a:xfrm>
                <a:off x="5580113" y="2963846"/>
                <a:ext cx="3168600" cy="393146"/>
              </a:xfrm>
              <a:prstGeom prst="rect">
                <a:avLst/>
              </a:prstGeom>
              <a:solidFill>
                <a:srgbClr val="006487">
                  <a:alpha val="50980"/>
                </a:srgbClr>
              </a:solidFill>
              <a:ln>
                <a:no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Over-proportional </a:t>
                </a:r>
                <a:r>
                  <a:rPr lang="de-DE" sz="1600" b="1" dirty="0" err="1" smtClean="0">
                    <a:solidFill>
                      <a:schemeClr val="bg1"/>
                    </a:solidFill>
                  </a:rPr>
                  <a:t>cost</a:t>
                </a:r>
                <a:r>
                  <a:rPr lang="de-DE" sz="1600" b="1" dirty="0" smtClean="0">
                    <a:solidFill>
                      <a:schemeClr val="bg1"/>
                    </a:solidFill>
                  </a:rPr>
                  <a:t> </a:t>
                </a:r>
                <a:r>
                  <a:rPr lang="de-DE" sz="1600" b="1" dirty="0" err="1" smtClean="0">
                    <a:solidFill>
                      <a:schemeClr val="bg1"/>
                    </a:solidFill>
                  </a:rPr>
                  <a:t>growth</a:t>
                </a:r>
                <a:endParaRPr lang="de-DE" sz="1600" b="1" dirty="0" smtClean="0">
                  <a:solidFill>
                    <a:schemeClr val="bg1"/>
                  </a:solidFill>
                </a:endParaRPr>
              </a:p>
            </p:txBody>
          </p:sp>
        </p:grpSp>
        <p:sp>
          <p:nvSpPr>
            <p:cNvPr id="44" name="Textfeld 43"/>
            <p:cNvSpPr txBox="1"/>
            <p:nvPr/>
          </p:nvSpPr>
          <p:spPr>
            <a:xfrm>
              <a:off x="5580112" y="1899738"/>
              <a:ext cx="2952327" cy="914400"/>
            </a:xfrm>
            <a:prstGeom prst="rect">
              <a:avLst/>
            </a:prstGeom>
            <a:noFill/>
          </p:spPr>
          <p:txBody>
            <a:bodyPr wrap="none" lIns="0" tIns="0" rIns="0" bIns="0" rtlCol="0">
              <a:noAutofit/>
            </a:bodyPr>
            <a:lstStyle/>
            <a:p>
              <a:pPr>
                <a:lnSpc>
                  <a:spcPct val="110000"/>
                </a:lnSpc>
                <a:spcBef>
                  <a:spcPts val="0"/>
                </a:spcBef>
              </a:pPr>
              <a:r>
                <a:rPr lang="de-DE" sz="800" dirty="0" err="1" smtClean="0">
                  <a:solidFill>
                    <a:schemeClr val="bg2">
                      <a:lumMod val="75000"/>
                    </a:schemeClr>
                  </a:solidFill>
                </a:rPr>
                <a:t>Sources</a:t>
              </a:r>
              <a:r>
                <a:rPr lang="de-DE" sz="800" dirty="0" smtClean="0">
                  <a:solidFill>
                    <a:schemeClr val="bg2">
                      <a:lumMod val="75000"/>
                    </a:schemeClr>
                  </a:solidFill>
                </a:rPr>
                <a:t>: </a:t>
              </a:r>
              <a:r>
                <a:rPr lang="de-DE" sz="800" dirty="0" err="1" smtClean="0">
                  <a:solidFill>
                    <a:schemeClr val="bg2">
                      <a:lumMod val="75000"/>
                    </a:schemeClr>
                  </a:solidFill>
                </a:rPr>
                <a:t>Laitche</a:t>
              </a:r>
              <a:r>
                <a:rPr lang="de-DE" sz="800" dirty="0" smtClean="0">
                  <a:solidFill>
                    <a:schemeClr val="bg2">
                      <a:lumMod val="75000"/>
                    </a:schemeClr>
                  </a:solidFill>
                </a:rPr>
                <a:t> (</a:t>
              </a:r>
              <a:r>
                <a:rPr lang="de-DE" sz="800" dirty="0" err="1" smtClean="0">
                  <a:solidFill>
                    <a:schemeClr val="bg2">
                      <a:lumMod val="75000"/>
                    </a:schemeClr>
                  </a:solidFill>
                </a:rPr>
                <a:t>left</a:t>
              </a:r>
              <a:r>
                <a:rPr lang="de-DE" sz="800" dirty="0" smtClean="0">
                  <a:solidFill>
                    <a:schemeClr val="bg2">
                      <a:lumMod val="75000"/>
                    </a:schemeClr>
                  </a:solidFill>
                </a:rPr>
                <a:t>), Andrew </a:t>
              </a:r>
              <a:r>
                <a:rPr lang="de-DE" sz="800" dirty="0" err="1" smtClean="0">
                  <a:solidFill>
                    <a:schemeClr val="bg2">
                      <a:lumMod val="75000"/>
                    </a:schemeClr>
                  </a:solidFill>
                </a:rPr>
                <a:t>Massyn</a:t>
              </a:r>
              <a:r>
                <a:rPr lang="de-DE" sz="800" dirty="0">
                  <a:solidFill>
                    <a:schemeClr val="bg2">
                      <a:lumMod val="75000"/>
                    </a:schemeClr>
                  </a:solidFill>
                </a:rPr>
                <a:t> </a:t>
              </a:r>
              <a:r>
                <a:rPr lang="de-DE" sz="800" dirty="0" smtClean="0">
                  <a:solidFill>
                    <a:schemeClr val="bg2">
                      <a:lumMod val="75000"/>
                    </a:schemeClr>
                  </a:solidFill>
                </a:rPr>
                <a:t>(</a:t>
              </a:r>
              <a:r>
                <a:rPr lang="de-DE" sz="800" dirty="0" err="1" smtClean="0">
                  <a:solidFill>
                    <a:schemeClr val="bg2">
                      <a:lumMod val="75000"/>
                    </a:schemeClr>
                  </a:solidFill>
                </a:rPr>
                <a:t>right</a:t>
              </a:r>
              <a:r>
                <a:rPr lang="de-DE" sz="800" dirty="0" smtClean="0">
                  <a:solidFill>
                    <a:schemeClr val="bg2">
                      <a:lumMod val="75000"/>
                    </a:schemeClr>
                  </a:solidFill>
                </a:rPr>
                <a:t>) (</a:t>
              </a:r>
              <a:r>
                <a:rPr lang="de-DE" sz="800" dirty="0" err="1" smtClean="0">
                  <a:solidFill>
                    <a:schemeClr val="bg2">
                      <a:lumMod val="75000"/>
                    </a:schemeClr>
                  </a:solidFill>
                </a:rPr>
                <a:t>public</a:t>
              </a:r>
              <a:r>
                <a:rPr lang="de-DE" sz="800" dirty="0" smtClean="0">
                  <a:solidFill>
                    <a:schemeClr val="bg2">
                      <a:lumMod val="75000"/>
                    </a:schemeClr>
                  </a:solidFill>
                </a:rPr>
                <a:t> </a:t>
              </a:r>
              <a:r>
                <a:rPr lang="de-DE" sz="800" dirty="0" err="1" smtClean="0">
                  <a:solidFill>
                    <a:schemeClr val="bg2">
                      <a:lumMod val="75000"/>
                    </a:schemeClr>
                  </a:solidFill>
                </a:rPr>
                <a:t>domain</a:t>
              </a:r>
              <a:r>
                <a:rPr lang="de-DE" sz="800" dirty="0" smtClean="0">
                  <a:solidFill>
                    <a:schemeClr val="bg2">
                      <a:lumMod val="75000"/>
                    </a:schemeClr>
                  </a:solidFill>
                </a:rPr>
                <a:t>)</a:t>
              </a:r>
              <a:endParaRPr lang="en-GB" sz="800" dirty="0" err="1" smtClean="0">
                <a:solidFill>
                  <a:schemeClr val="bg2">
                    <a:lumMod val="75000"/>
                  </a:schemeClr>
                </a:solidFill>
              </a:endParaRPr>
            </a:p>
          </p:txBody>
        </p:sp>
      </p:grpSp>
      <p:grpSp>
        <p:nvGrpSpPr>
          <p:cNvPr id="48" name="Gruppieren 47"/>
          <p:cNvGrpSpPr/>
          <p:nvPr/>
        </p:nvGrpSpPr>
        <p:grpSpPr>
          <a:xfrm>
            <a:off x="5111482" y="3696568"/>
            <a:ext cx="3637232" cy="1676648"/>
            <a:chOff x="5580112" y="3552552"/>
            <a:chExt cx="3168601" cy="1460624"/>
          </a:xfrm>
        </p:grpSpPr>
        <p:pic>
          <p:nvPicPr>
            <p:cNvPr id="16398" name="Picture 14" descr="http://www.siemens.com/press/pool/de/pressebilder/2011/renewable_energy/soere201104/300dpi/soere201104-02_300dpi.jpg"/>
            <p:cNvPicPr>
              <a:picLocks noChangeAspect="1" noChangeArrowheads="1"/>
            </p:cNvPicPr>
            <p:nvPr/>
          </p:nvPicPr>
          <p:blipFill rotWithShape="1">
            <a:blip r:embed="rId9">
              <a:extLst>
                <a:ext uri="{28A0092B-C50C-407E-A947-70E740481C1C}">
                  <a14:useLocalDpi xmlns:a14="http://schemas.microsoft.com/office/drawing/2010/main" val="0"/>
                </a:ext>
              </a:extLst>
            </a:blip>
            <a:srcRect l="24289" t="28276" r="19864"/>
            <a:stretch/>
          </p:blipFill>
          <p:spPr bwMode="auto">
            <a:xfrm>
              <a:off x="7348327" y="3713450"/>
              <a:ext cx="1400386" cy="1299726"/>
            </a:xfrm>
            <a:prstGeom prst="rect">
              <a:avLst/>
            </a:prstGeom>
            <a:noFill/>
            <a:extLst>
              <a:ext uri="{909E8E84-426E-40DD-AFC4-6F175D3DCCD1}">
                <a14:hiddenFill xmlns:a14="http://schemas.microsoft.com/office/drawing/2010/main">
                  <a:solidFill>
                    <a:srgbClr val="FFFFFF"/>
                  </a:solidFill>
                </a14:hiddenFill>
              </a:ext>
            </a:extLst>
          </p:spPr>
        </p:pic>
        <p:pic>
          <p:nvPicPr>
            <p:cNvPr id="16396" name="Picture 12" descr="http://www.plm.automation.siemens.com/de_at/Images/airbus-group-innovations_large_tcm761-223153.jpg"/>
            <p:cNvPicPr>
              <a:picLocks noChangeAspect="1" noChangeArrowheads="1"/>
            </p:cNvPicPr>
            <p:nvPr/>
          </p:nvPicPr>
          <p:blipFill rotWithShape="1">
            <a:blip r:embed="rId10">
              <a:extLst>
                <a:ext uri="{28A0092B-C50C-407E-A947-70E740481C1C}">
                  <a14:useLocalDpi xmlns:a14="http://schemas.microsoft.com/office/drawing/2010/main" val="0"/>
                </a:ext>
              </a:extLst>
            </a:blip>
            <a:srcRect l="3411" r="1203"/>
            <a:stretch/>
          </p:blipFill>
          <p:spPr bwMode="auto">
            <a:xfrm>
              <a:off x="5580114" y="3713449"/>
              <a:ext cx="1768214" cy="1297396"/>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bwMode="auto">
            <a:xfrm>
              <a:off x="5580113" y="4617699"/>
              <a:ext cx="3168600" cy="393146"/>
            </a:xfrm>
            <a:prstGeom prst="rect">
              <a:avLst/>
            </a:prstGeom>
            <a:solidFill>
              <a:srgbClr val="006487">
                <a:alpha val="50980"/>
              </a:srgbClr>
            </a:solidFill>
            <a:ln>
              <a:no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err="1" smtClean="0">
                  <a:solidFill>
                    <a:schemeClr val="bg1"/>
                  </a:solidFill>
                </a:rPr>
                <a:t>Planning</a:t>
              </a:r>
              <a:r>
                <a:rPr lang="de-DE" sz="1600" b="1" dirty="0" smtClean="0">
                  <a:solidFill>
                    <a:schemeClr val="bg1"/>
                  </a:solidFill>
                </a:rPr>
                <a:t> </a:t>
              </a:r>
              <a:r>
                <a:rPr lang="de-DE" sz="1600" b="1" dirty="0" err="1" smtClean="0">
                  <a:solidFill>
                    <a:schemeClr val="bg1"/>
                  </a:solidFill>
                </a:rPr>
                <a:t>restrictions</a:t>
              </a:r>
              <a:endParaRPr lang="de-DE" sz="1600" b="1" dirty="0" smtClean="0">
                <a:solidFill>
                  <a:schemeClr val="bg1"/>
                </a:solidFill>
              </a:endParaRPr>
            </a:p>
          </p:txBody>
        </p:sp>
        <p:sp>
          <p:nvSpPr>
            <p:cNvPr id="51" name="Textfeld 50"/>
            <p:cNvSpPr txBox="1"/>
            <p:nvPr/>
          </p:nvSpPr>
          <p:spPr>
            <a:xfrm>
              <a:off x="5580112" y="3552552"/>
              <a:ext cx="2952327" cy="914400"/>
            </a:xfrm>
            <a:prstGeom prst="rect">
              <a:avLst/>
            </a:prstGeom>
            <a:noFill/>
          </p:spPr>
          <p:txBody>
            <a:bodyPr wrap="none" lIns="0" tIns="0" rIns="0" bIns="0" rtlCol="0">
              <a:noAutofit/>
            </a:bodyPr>
            <a:lstStyle/>
            <a:p>
              <a:pPr>
                <a:lnSpc>
                  <a:spcPct val="110000"/>
                </a:lnSpc>
                <a:spcBef>
                  <a:spcPts val="0"/>
                </a:spcBef>
              </a:pPr>
              <a:r>
                <a:rPr lang="de-DE" sz="800" dirty="0" err="1" smtClean="0">
                  <a:solidFill>
                    <a:schemeClr val="bg2">
                      <a:lumMod val="75000"/>
                    </a:schemeClr>
                  </a:solidFill>
                </a:rPr>
                <a:t>Sources</a:t>
              </a:r>
              <a:r>
                <a:rPr lang="de-DE" sz="800" dirty="0" smtClean="0">
                  <a:solidFill>
                    <a:schemeClr val="bg2">
                      <a:lumMod val="75000"/>
                    </a:schemeClr>
                  </a:solidFill>
                </a:rPr>
                <a:t>: Airbus (</a:t>
              </a:r>
              <a:r>
                <a:rPr lang="de-DE" sz="800" dirty="0" err="1" smtClean="0">
                  <a:solidFill>
                    <a:schemeClr val="bg2">
                      <a:lumMod val="75000"/>
                    </a:schemeClr>
                  </a:solidFill>
                </a:rPr>
                <a:t>left</a:t>
              </a:r>
              <a:r>
                <a:rPr lang="de-DE" sz="800" dirty="0" smtClean="0">
                  <a:solidFill>
                    <a:schemeClr val="bg2">
                      <a:lumMod val="75000"/>
                    </a:schemeClr>
                  </a:solidFill>
                </a:rPr>
                <a:t>), Siemens (</a:t>
              </a:r>
              <a:r>
                <a:rPr lang="de-DE" sz="800" dirty="0" err="1" smtClean="0">
                  <a:solidFill>
                    <a:schemeClr val="bg2">
                      <a:lumMod val="75000"/>
                    </a:schemeClr>
                  </a:solidFill>
                </a:rPr>
                <a:t>right</a:t>
              </a:r>
              <a:r>
                <a:rPr lang="de-DE" sz="800" dirty="0" smtClean="0">
                  <a:solidFill>
                    <a:schemeClr val="bg2">
                      <a:lumMod val="75000"/>
                    </a:schemeClr>
                  </a:solidFill>
                </a:rPr>
                <a:t>)</a:t>
              </a:r>
              <a:endParaRPr lang="en-GB" sz="800" dirty="0" err="1" smtClean="0">
                <a:solidFill>
                  <a:schemeClr val="bg2">
                    <a:lumMod val="75000"/>
                  </a:schemeClr>
                </a:solidFill>
              </a:endParaRPr>
            </a:p>
          </p:txBody>
        </p:sp>
      </p:grpSp>
    </p:spTree>
    <p:extLst>
      <p:ext uri="{BB962C8B-B14F-4D97-AF65-F5344CB8AC3E}">
        <p14:creationId xmlns:p14="http://schemas.microsoft.com/office/powerpoint/2010/main" val="3805271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703802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7" name="Picture 3"/>
          <p:cNvPicPr>
            <a:picLocks noChangeAspect="1"/>
          </p:cNvPicPr>
          <p:nvPr/>
        </p:nvPicPr>
        <p:blipFill rotWithShape="1">
          <a:blip r:embed="rId6">
            <a:extLst>
              <a:ext uri="{28A0092B-C50C-407E-A947-70E740481C1C}">
                <a14:useLocalDpi xmlns:a14="http://schemas.microsoft.com/office/drawing/2010/main" val="0"/>
              </a:ext>
            </a:extLst>
          </a:blip>
          <a:srcRect l="8413" t="12330" b="6973"/>
          <a:stretch/>
        </p:blipFill>
        <p:spPr>
          <a:xfrm>
            <a:off x="2988022" y="1755753"/>
            <a:ext cx="1569880" cy="922346"/>
          </a:xfrm>
          <a:prstGeom prst="rect">
            <a:avLst/>
          </a:prstGeom>
          <a:ln w="19050">
            <a:solidFill>
              <a:schemeClr val="bg1"/>
            </a:solidFill>
          </a:ln>
        </p:spPr>
      </p:pic>
      <p:sp>
        <p:nvSpPr>
          <p:cNvPr id="2" name="Titel 1"/>
          <p:cNvSpPr>
            <a:spLocks noGrp="1"/>
          </p:cNvSpPr>
          <p:nvPr>
            <p:ph type="title"/>
          </p:nvPr>
        </p:nvSpPr>
        <p:spPr/>
        <p:txBody>
          <a:bodyPr/>
          <a:lstStyle/>
          <a:p>
            <a:r>
              <a:rPr lang="de-DE" dirty="0" smtClean="0"/>
              <a:t>Think </a:t>
            </a:r>
            <a:r>
              <a:rPr lang="de-DE" dirty="0" err="1" smtClean="0"/>
              <a:t>big</a:t>
            </a:r>
            <a:r>
              <a:rPr lang="de-DE" dirty="0" smtClean="0"/>
              <a:t>, </a:t>
            </a:r>
            <a:r>
              <a:rPr lang="de-DE" dirty="0" err="1" smtClean="0"/>
              <a:t>think</a:t>
            </a:r>
            <a:r>
              <a:rPr lang="de-DE" dirty="0" smtClean="0"/>
              <a:t> </a:t>
            </a:r>
            <a:r>
              <a:rPr lang="de-DE" dirty="0" err="1" smtClean="0"/>
              <a:t>bigger</a:t>
            </a:r>
            <a:r>
              <a:rPr lang="de-DE" dirty="0" smtClean="0"/>
              <a:t>: Wind power </a:t>
            </a:r>
            <a:r>
              <a:rPr lang="de-DE" dirty="0" err="1" smtClean="0"/>
              <a:t>has</a:t>
            </a:r>
            <a:r>
              <a:rPr lang="de-DE" dirty="0" smtClean="0"/>
              <a:t> </a:t>
            </a:r>
            <a:r>
              <a:rPr lang="de-DE" dirty="0" err="1" smtClean="0"/>
              <a:t>to</a:t>
            </a:r>
            <a:r>
              <a:rPr lang="de-DE" dirty="0" smtClean="0"/>
              <a:t> </a:t>
            </a:r>
            <a:r>
              <a:rPr lang="de-DE" dirty="0" err="1" smtClean="0"/>
              <a:t>acknowledge</a:t>
            </a:r>
            <a:r>
              <a:rPr lang="de-DE" dirty="0" smtClean="0"/>
              <a:t> a larger </a:t>
            </a:r>
            <a:r>
              <a:rPr lang="de-DE" dirty="0" err="1" smtClean="0"/>
              <a:t>role</a:t>
            </a:r>
            <a:r>
              <a:rPr lang="de-DE" dirty="0" smtClean="0"/>
              <a:t> – </a:t>
            </a:r>
            <a:r>
              <a:rPr lang="de-DE" dirty="0" err="1" smtClean="0"/>
              <a:t>combined</a:t>
            </a:r>
            <a:r>
              <a:rPr lang="de-DE" dirty="0" smtClean="0"/>
              <a:t> </a:t>
            </a:r>
            <a:r>
              <a:rPr lang="de-DE" dirty="0" err="1" smtClean="0"/>
              <a:t>with</a:t>
            </a:r>
            <a:r>
              <a:rPr lang="de-DE" dirty="0" smtClean="0"/>
              <a:t> </a:t>
            </a:r>
            <a:r>
              <a:rPr lang="de-DE" dirty="0" err="1" smtClean="0"/>
              <a:t>enlarged</a:t>
            </a:r>
            <a:r>
              <a:rPr lang="de-DE" dirty="0" smtClean="0"/>
              <a:t> </a:t>
            </a:r>
            <a:r>
              <a:rPr lang="de-DE" dirty="0" err="1" smtClean="0"/>
              <a:t>opportunities</a:t>
            </a:r>
            <a:r>
              <a:rPr lang="de-DE" dirty="0" smtClean="0"/>
              <a:t>!</a:t>
            </a:r>
            <a:endParaRPr lang="en-GB" dirty="0"/>
          </a:p>
        </p:txBody>
      </p:sp>
      <p:sp>
        <p:nvSpPr>
          <p:cNvPr id="9" name="Rechteck 8"/>
          <p:cNvSpPr/>
          <p:nvPr/>
        </p:nvSpPr>
        <p:spPr bwMode="auto">
          <a:xfrm>
            <a:off x="539750" y="1772817"/>
            <a:ext cx="2448272" cy="4536503"/>
          </a:xfrm>
          <a:prstGeom prst="rect">
            <a:avLst/>
          </a:prstGeom>
          <a:solidFill>
            <a:srgbClr val="73B4C8"/>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36000" rIns="72000" bIns="36000" numCol="1" spcCol="72000" rtlCol="0" anchor="b">
            <a:noAutofit/>
          </a:bodyPr>
          <a:lstStyle/>
          <a:p>
            <a:pPr algn="r">
              <a:lnSpc>
                <a:spcPct val="110000"/>
              </a:lnSpc>
              <a:spcBef>
                <a:spcPct val="0"/>
              </a:spcBef>
              <a:buFont typeface="Wingdings" charset="0"/>
              <a:buNone/>
            </a:pPr>
            <a:r>
              <a:rPr lang="de-DE" sz="1800" b="1" dirty="0" smtClean="0">
                <a:solidFill>
                  <a:schemeClr val="bg1"/>
                </a:solidFill>
              </a:rPr>
              <a:t>Energy </a:t>
            </a:r>
            <a:r>
              <a:rPr lang="de-DE" sz="1800" b="1" dirty="0" err="1" smtClean="0">
                <a:solidFill>
                  <a:schemeClr val="bg1"/>
                </a:solidFill>
              </a:rPr>
              <a:t>system</a:t>
            </a:r>
            <a:r>
              <a:rPr lang="de-DE" sz="1800" b="1" dirty="0" smtClean="0">
                <a:solidFill>
                  <a:schemeClr val="bg1"/>
                </a:solidFill>
              </a:rPr>
              <a:t/>
            </a:r>
            <a:br>
              <a:rPr lang="de-DE" sz="1800" b="1" dirty="0" smtClean="0">
                <a:solidFill>
                  <a:schemeClr val="bg1"/>
                </a:solidFill>
              </a:rPr>
            </a:br>
            <a:r>
              <a:rPr lang="de-DE" sz="1800" dirty="0" smtClean="0">
                <a:solidFill>
                  <a:schemeClr val="bg1"/>
                </a:solidFill>
              </a:rPr>
              <a:t>(</a:t>
            </a:r>
            <a:r>
              <a:rPr lang="de-DE" sz="1800" dirty="0" err="1" smtClean="0">
                <a:solidFill>
                  <a:schemeClr val="bg1"/>
                </a:solidFill>
              </a:rPr>
              <a:t>incl</a:t>
            </a:r>
            <a:r>
              <a:rPr lang="de-DE" sz="1800" dirty="0" smtClean="0">
                <a:solidFill>
                  <a:schemeClr val="bg1"/>
                </a:solidFill>
              </a:rPr>
              <a:t> </a:t>
            </a:r>
            <a:r>
              <a:rPr lang="de-DE" sz="1800" dirty="0" err="1" smtClean="0">
                <a:solidFill>
                  <a:schemeClr val="bg1"/>
                </a:solidFill>
              </a:rPr>
              <a:t>heat</a:t>
            </a:r>
            <a:r>
              <a:rPr lang="de-DE" sz="1800" dirty="0" smtClean="0">
                <a:solidFill>
                  <a:schemeClr val="bg1"/>
                </a:solidFill>
              </a:rPr>
              <a:t> </a:t>
            </a:r>
            <a:r>
              <a:rPr lang="de-DE" sz="1800" dirty="0" err="1" smtClean="0">
                <a:solidFill>
                  <a:schemeClr val="bg1"/>
                </a:solidFill>
              </a:rPr>
              <a:t>and</a:t>
            </a:r>
            <a:r>
              <a:rPr lang="de-DE" sz="1800" dirty="0" smtClean="0">
                <a:solidFill>
                  <a:schemeClr val="bg1"/>
                </a:solidFill>
              </a:rPr>
              <a:t> </a:t>
            </a:r>
            <a:r>
              <a:rPr lang="de-DE" sz="1800" dirty="0" err="1" smtClean="0">
                <a:solidFill>
                  <a:schemeClr val="bg1"/>
                </a:solidFill>
              </a:rPr>
              <a:t>mobility</a:t>
            </a:r>
            <a:r>
              <a:rPr lang="de-DE" sz="1800" dirty="0" smtClean="0">
                <a:solidFill>
                  <a:schemeClr val="bg1"/>
                </a:solidFill>
              </a:rPr>
              <a:t>)</a:t>
            </a:r>
            <a:endParaRPr lang="en-GB" sz="1800" dirty="0" smtClean="0">
              <a:solidFill>
                <a:schemeClr val="bg1"/>
              </a:solidFill>
            </a:endParaRPr>
          </a:p>
        </p:txBody>
      </p:sp>
      <p:sp>
        <p:nvSpPr>
          <p:cNvPr id="8" name="Rechteck 7"/>
          <p:cNvSpPr/>
          <p:nvPr/>
        </p:nvSpPr>
        <p:spPr bwMode="auto">
          <a:xfrm>
            <a:off x="755774" y="1772817"/>
            <a:ext cx="2232248" cy="3744415"/>
          </a:xfrm>
          <a:prstGeom prst="rect">
            <a:avLst/>
          </a:prstGeom>
          <a:solidFill>
            <a:srgbClr val="3C91AF"/>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36000" rIns="72000" bIns="36000" numCol="1" spcCol="72000" rtlCol="0" anchor="b">
            <a:noAutofit/>
          </a:bodyPr>
          <a:lstStyle/>
          <a:p>
            <a:pPr algn="r">
              <a:lnSpc>
                <a:spcPct val="110000"/>
              </a:lnSpc>
              <a:spcBef>
                <a:spcPct val="0"/>
              </a:spcBef>
              <a:buFont typeface="Wingdings" charset="0"/>
              <a:buNone/>
            </a:pPr>
            <a:r>
              <a:rPr lang="de-DE" sz="1800" b="1" dirty="0" smtClean="0">
                <a:solidFill>
                  <a:schemeClr val="bg1"/>
                </a:solidFill>
              </a:rPr>
              <a:t>Power </a:t>
            </a:r>
            <a:r>
              <a:rPr lang="de-DE" sz="1800" b="1" dirty="0" err="1" smtClean="0">
                <a:solidFill>
                  <a:schemeClr val="bg1"/>
                </a:solidFill>
              </a:rPr>
              <a:t>system</a:t>
            </a:r>
            <a:r>
              <a:rPr lang="de-DE" sz="1800" b="1" dirty="0" smtClean="0">
                <a:solidFill>
                  <a:schemeClr val="bg1"/>
                </a:solidFill>
              </a:rPr>
              <a:t> </a:t>
            </a:r>
            <a:br>
              <a:rPr lang="de-DE" sz="1800" b="1" dirty="0" smtClean="0">
                <a:solidFill>
                  <a:schemeClr val="bg1"/>
                </a:solidFill>
              </a:rPr>
            </a:br>
            <a:endParaRPr lang="en-GB" sz="1800" b="1" dirty="0" smtClean="0">
              <a:solidFill>
                <a:schemeClr val="bg1"/>
              </a:solidFill>
            </a:endParaRPr>
          </a:p>
        </p:txBody>
      </p:sp>
      <p:sp>
        <p:nvSpPr>
          <p:cNvPr id="7" name="Rechteck 6"/>
          <p:cNvSpPr/>
          <p:nvPr/>
        </p:nvSpPr>
        <p:spPr bwMode="auto">
          <a:xfrm>
            <a:off x="971798" y="1772817"/>
            <a:ext cx="2016224" cy="2448271"/>
          </a:xfrm>
          <a:prstGeom prst="rect">
            <a:avLst/>
          </a:prstGeom>
          <a:solidFill>
            <a:srgbClr val="147391"/>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36000" rIns="72000" bIns="36000" numCol="1" spcCol="72000" rtlCol="0" anchor="b">
            <a:noAutofit/>
          </a:bodyPr>
          <a:lstStyle/>
          <a:p>
            <a:pPr algn="r">
              <a:lnSpc>
                <a:spcPct val="110000"/>
              </a:lnSpc>
              <a:spcBef>
                <a:spcPct val="0"/>
              </a:spcBef>
              <a:buFont typeface="Wingdings" charset="0"/>
              <a:buNone/>
            </a:pPr>
            <a:r>
              <a:rPr lang="de-DE" b="1" dirty="0" smtClean="0">
                <a:solidFill>
                  <a:schemeClr val="bg1"/>
                </a:solidFill>
              </a:rPr>
              <a:t>Wind </a:t>
            </a:r>
            <a:r>
              <a:rPr lang="de-DE" b="1" dirty="0" err="1" smtClean="0">
                <a:solidFill>
                  <a:schemeClr val="bg1"/>
                </a:solidFill>
              </a:rPr>
              <a:t>fleet</a:t>
            </a:r>
            <a:endParaRPr lang="en-GB" sz="1800" b="1" dirty="0" smtClean="0">
              <a:solidFill>
                <a:schemeClr val="bg1"/>
              </a:solidFill>
            </a:endParaRPr>
          </a:p>
        </p:txBody>
      </p:sp>
      <p:sp>
        <p:nvSpPr>
          <p:cNvPr id="5" name="Rechteck 4"/>
          <p:cNvSpPr/>
          <p:nvPr/>
        </p:nvSpPr>
        <p:spPr bwMode="auto">
          <a:xfrm>
            <a:off x="1187822" y="1772816"/>
            <a:ext cx="1800200" cy="1810565"/>
          </a:xfrm>
          <a:prstGeom prst="rect">
            <a:avLst/>
          </a:prstGeom>
          <a:solidFill>
            <a:srgbClr val="005578"/>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36000" rIns="72000" bIns="36000" numCol="1" spcCol="72000" rtlCol="0" anchor="b">
            <a:noAutofit/>
          </a:bodyPr>
          <a:lstStyle/>
          <a:p>
            <a:pPr algn="r">
              <a:lnSpc>
                <a:spcPct val="110000"/>
              </a:lnSpc>
              <a:spcBef>
                <a:spcPct val="0"/>
              </a:spcBef>
              <a:buFont typeface="Wingdings" charset="0"/>
              <a:buNone/>
            </a:pPr>
            <a:r>
              <a:rPr lang="de-DE" sz="1800" b="1" dirty="0" smtClean="0">
                <a:solidFill>
                  <a:schemeClr val="bg1"/>
                </a:solidFill>
              </a:rPr>
              <a:t>Wind </a:t>
            </a:r>
            <a:r>
              <a:rPr lang="de-DE" sz="1800" b="1" dirty="0" err="1" smtClean="0">
                <a:solidFill>
                  <a:schemeClr val="bg1"/>
                </a:solidFill>
              </a:rPr>
              <a:t>farm</a:t>
            </a:r>
            <a:endParaRPr lang="en-GB" sz="1800" b="1" dirty="0" smtClean="0">
              <a:solidFill>
                <a:schemeClr val="bg1"/>
              </a:solidFill>
            </a:endParaRPr>
          </a:p>
        </p:txBody>
      </p:sp>
      <p:sp>
        <p:nvSpPr>
          <p:cNvPr id="4" name="Rechteck 3"/>
          <p:cNvSpPr/>
          <p:nvPr/>
        </p:nvSpPr>
        <p:spPr bwMode="auto">
          <a:xfrm>
            <a:off x="1403846" y="1772816"/>
            <a:ext cx="1584176" cy="905282"/>
          </a:xfrm>
          <a:prstGeom prst="rect">
            <a:avLst/>
          </a:prstGeom>
          <a:solidFill>
            <a:srgbClr val="00374B"/>
          </a:solidFill>
          <a:ln w="1905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36000" tIns="36000" rIns="72000" bIns="36000" numCol="1" spcCol="72000" rtlCol="0" anchor="ctr">
            <a:noAutofit/>
          </a:bodyPr>
          <a:lstStyle/>
          <a:p>
            <a:pPr algn="r">
              <a:lnSpc>
                <a:spcPct val="110000"/>
              </a:lnSpc>
              <a:spcBef>
                <a:spcPct val="0"/>
              </a:spcBef>
              <a:buFont typeface="Wingdings" charset="0"/>
              <a:buNone/>
            </a:pPr>
            <a:r>
              <a:rPr lang="de-DE" sz="1800" b="1" dirty="0" smtClean="0">
                <a:solidFill>
                  <a:schemeClr val="bg1"/>
                </a:solidFill>
              </a:rPr>
              <a:t>Turbine</a:t>
            </a:r>
            <a:endParaRPr lang="en-GB" sz="1800" b="1" dirty="0" smtClean="0">
              <a:solidFill>
                <a:schemeClr val="bg1"/>
              </a:solidFill>
            </a:endParaRPr>
          </a:p>
        </p:txBody>
      </p:sp>
      <p:sp>
        <p:nvSpPr>
          <p:cNvPr id="11" name="Textfeld 10"/>
          <p:cNvSpPr txBox="1"/>
          <p:nvPr/>
        </p:nvSpPr>
        <p:spPr>
          <a:xfrm>
            <a:off x="4572000" y="1721664"/>
            <a:ext cx="4176713" cy="905282"/>
          </a:xfrm>
          <a:prstGeom prst="rect">
            <a:avLst/>
          </a:prstGeom>
          <a:noFill/>
        </p:spPr>
        <p:txBody>
          <a:bodyPr wrap="square" lIns="0" tIns="72000" rIns="0" bIns="0" rtlCol="0">
            <a:noAutofit/>
          </a:bodyPr>
          <a:lstStyle/>
          <a:p>
            <a:pPr marL="171450" indent="-171450">
              <a:lnSpc>
                <a:spcPct val="110000"/>
              </a:lnSpc>
              <a:spcBef>
                <a:spcPts val="0"/>
              </a:spcBef>
              <a:buFont typeface="Arial" panose="020B0604020202020204" pitchFamily="34" charset="0"/>
              <a:buChar char="•"/>
            </a:pPr>
            <a:r>
              <a:rPr lang="de-DE" sz="1400" b="1" dirty="0" smtClean="0">
                <a:solidFill>
                  <a:schemeClr val="tx1"/>
                </a:solidFill>
              </a:rPr>
              <a:t>New </a:t>
            </a:r>
            <a:r>
              <a:rPr lang="de-DE" sz="1400" b="1" dirty="0" err="1" smtClean="0">
                <a:solidFill>
                  <a:schemeClr val="tx1"/>
                </a:solidFill>
              </a:rPr>
              <a:t>materials</a:t>
            </a:r>
            <a:endParaRPr lang="de-DE" sz="1400" b="1"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smtClean="0">
                <a:solidFill>
                  <a:schemeClr val="tx1"/>
                </a:solidFill>
              </a:rPr>
              <a:t>New </a:t>
            </a:r>
            <a:r>
              <a:rPr lang="de-DE" sz="1400" dirty="0" err="1" smtClean="0">
                <a:solidFill>
                  <a:schemeClr val="tx1"/>
                </a:solidFill>
              </a:rPr>
              <a:t>generator</a:t>
            </a:r>
            <a:r>
              <a:rPr lang="de-DE" sz="1400" dirty="0" smtClean="0">
                <a:solidFill>
                  <a:schemeClr val="tx1"/>
                </a:solidFill>
              </a:rPr>
              <a:t> </a:t>
            </a:r>
            <a:r>
              <a:rPr lang="de-DE" sz="1400" dirty="0" err="1" smtClean="0">
                <a:solidFill>
                  <a:schemeClr val="tx1"/>
                </a:solidFill>
              </a:rPr>
              <a:t>concepts</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smtClean="0">
                <a:solidFill>
                  <a:schemeClr val="tx1"/>
                </a:solidFill>
              </a:rPr>
              <a:t>Next </a:t>
            </a:r>
            <a:r>
              <a:rPr lang="de-DE" sz="1400" dirty="0" err="1" smtClean="0">
                <a:solidFill>
                  <a:schemeClr val="tx1"/>
                </a:solidFill>
              </a:rPr>
              <a:t>generation</a:t>
            </a:r>
            <a:r>
              <a:rPr lang="de-DE" sz="1400" dirty="0" smtClean="0">
                <a:solidFill>
                  <a:schemeClr val="tx1"/>
                </a:solidFill>
              </a:rPr>
              <a:t> modular </a:t>
            </a:r>
            <a:r>
              <a:rPr lang="de-DE" sz="1400" dirty="0" err="1" smtClean="0">
                <a:solidFill>
                  <a:schemeClr val="tx1"/>
                </a:solidFill>
              </a:rPr>
              <a:t>concepts</a:t>
            </a:r>
            <a:endParaRPr lang="de-DE" sz="1400" dirty="0">
              <a:solidFill>
                <a:schemeClr val="tx1"/>
              </a:solidFill>
            </a:endParaRPr>
          </a:p>
          <a:p>
            <a:pPr>
              <a:lnSpc>
                <a:spcPct val="110000"/>
              </a:lnSpc>
              <a:spcBef>
                <a:spcPts val="0"/>
              </a:spcBef>
            </a:pPr>
            <a:endParaRPr lang="en-GB" sz="1400" dirty="0" err="1" smtClean="0">
              <a:solidFill>
                <a:schemeClr val="tx1"/>
              </a:solidFill>
            </a:endParaRPr>
          </a:p>
        </p:txBody>
      </p:sp>
      <p:sp>
        <p:nvSpPr>
          <p:cNvPr id="12" name="Textfeld 11"/>
          <p:cNvSpPr txBox="1"/>
          <p:nvPr/>
        </p:nvSpPr>
        <p:spPr>
          <a:xfrm>
            <a:off x="4572000" y="1407939"/>
            <a:ext cx="4176713" cy="580901"/>
          </a:xfrm>
          <a:prstGeom prst="rect">
            <a:avLst/>
          </a:prstGeom>
          <a:noFill/>
        </p:spPr>
        <p:txBody>
          <a:bodyPr wrap="none" lIns="0" tIns="36000" rIns="0" bIns="0" rtlCol="0">
            <a:noAutofit/>
          </a:bodyPr>
          <a:lstStyle/>
          <a:p>
            <a:pPr>
              <a:lnSpc>
                <a:spcPct val="110000"/>
              </a:lnSpc>
              <a:spcBef>
                <a:spcPts val="0"/>
              </a:spcBef>
            </a:pPr>
            <a:r>
              <a:rPr lang="de-DE" sz="1400" b="1" dirty="0" err="1" smtClean="0">
                <a:solidFill>
                  <a:schemeClr val="accent5"/>
                </a:solidFill>
              </a:rPr>
              <a:t>Examples</a:t>
            </a:r>
            <a:endParaRPr lang="en-GB" sz="1400" b="1" dirty="0" err="1" smtClean="0">
              <a:solidFill>
                <a:schemeClr val="accent5"/>
              </a:solidFill>
            </a:endParaRPr>
          </a:p>
        </p:txBody>
      </p:sp>
      <p:cxnSp>
        <p:nvCxnSpPr>
          <p:cNvPr id="13" name="Gerade Verbindung 12"/>
          <p:cNvCxnSpPr>
            <a:stCxn id="12" idx="1"/>
            <a:endCxn id="12" idx="3"/>
          </p:cNvCxnSpPr>
          <p:nvPr/>
        </p:nvCxnSpPr>
        <p:spPr bwMode="auto">
          <a:xfrm>
            <a:off x="4572000" y="1698390"/>
            <a:ext cx="4176713" cy="0"/>
          </a:xfrm>
          <a:prstGeom prst="line">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feld 14"/>
          <p:cNvSpPr txBox="1"/>
          <p:nvPr/>
        </p:nvSpPr>
        <p:spPr>
          <a:xfrm>
            <a:off x="4572000" y="2626945"/>
            <a:ext cx="4176713" cy="905282"/>
          </a:xfrm>
          <a:prstGeom prst="rect">
            <a:avLst/>
          </a:prstGeom>
          <a:noFill/>
        </p:spPr>
        <p:txBody>
          <a:bodyPr wrap="square" lIns="0" tIns="72000" rIns="0" bIns="0" rtlCol="0">
            <a:noAutofit/>
          </a:bodyPr>
          <a:lstStyle/>
          <a:p>
            <a:pPr marL="171450" indent="-171450">
              <a:lnSpc>
                <a:spcPct val="110000"/>
              </a:lnSpc>
              <a:spcBef>
                <a:spcPts val="0"/>
              </a:spcBef>
              <a:buFont typeface="Arial" panose="020B0604020202020204" pitchFamily="34" charset="0"/>
              <a:buChar char="•"/>
            </a:pPr>
            <a:r>
              <a:rPr lang="de-DE" sz="1400" dirty="0" smtClean="0">
                <a:solidFill>
                  <a:schemeClr val="tx1"/>
                </a:solidFill>
              </a:rPr>
              <a:t>Flexible park </a:t>
            </a:r>
            <a:r>
              <a:rPr lang="de-DE" sz="1400" dirty="0" err="1" smtClean="0">
                <a:solidFill>
                  <a:schemeClr val="tx1"/>
                </a:solidFill>
              </a:rPr>
              <a:t>configurations</a:t>
            </a:r>
            <a:r>
              <a:rPr lang="de-DE" sz="1400" dirty="0" smtClean="0">
                <a:solidFill>
                  <a:schemeClr val="tx1"/>
                </a:solidFill>
              </a:rPr>
              <a:t>, </a:t>
            </a:r>
            <a:r>
              <a:rPr lang="de-DE" sz="1400" dirty="0" err="1" smtClean="0">
                <a:solidFill>
                  <a:schemeClr val="tx1"/>
                </a:solidFill>
              </a:rPr>
              <a:t>based</a:t>
            </a:r>
            <a:r>
              <a:rPr lang="de-DE" sz="1400" dirty="0" smtClean="0">
                <a:solidFill>
                  <a:schemeClr val="tx1"/>
                </a:solidFill>
              </a:rPr>
              <a:t> on real-time </a:t>
            </a:r>
            <a:r>
              <a:rPr lang="de-DE" sz="1400" dirty="0" err="1" smtClean="0">
                <a:solidFill>
                  <a:schemeClr val="tx1"/>
                </a:solidFill>
              </a:rPr>
              <a:t>data</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smtClean="0">
                <a:solidFill>
                  <a:schemeClr val="tx1"/>
                </a:solidFill>
              </a:rPr>
              <a:t>Farm </a:t>
            </a:r>
            <a:r>
              <a:rPr lang="de-DE" sz="1400" dirty="0" err="1" smtClean="0">
                <a:solidFill>
                  <a:schemeClr val="tx1"/>
                </a:solidFill>
              </a:rPr>
              <a:t>availability</a:t>
            </a:r>
            <a:r>
              <a:rPr lang="de-DE" sz="1400" dirty="0" smtClean="0">
                <a:solidFill>
                  <a:schemeClr val="tx1"/>
                </a:solidFill>
              </a:rPr>
              <a:t> </a:t>
            </a:r>
            <a:r>
              <a:rPr lang="de-DE" sz="1400" dirty="0" err="1" smtClean="0">
                <a:solidFill>
                  <a:schemeClr val="tx1"/>
                </a:solidFill>
              </a:rPr>
              <a:t>management</a:t>
            </a:r>
            <a:endParaRPr lang="de-DE" sz="1400" dirty="0">
              <a:solidFill>
                <a:schemeClr val="tx1"/>
              </a:solidFill>
            </a:endParaRPr>
          </a:p>
          <a:p>
            <a:pPr>
              <a:lnSpc>
                <a:spcPct val="110000"/>
              </a:lnSpc>
              <a:spcBef>
                <a:spcPts val="0"/>
              </a:spcBef>
            </a:pPr>
            <a:endParaRPr lang="en-GB" sz="1400" dirty="0" err="1" smtClean="0">
              <a:solidFill>
                <a:schemeClr val="tx1"/>
              </a:solidFill>
            </a:endParaRPr>
          </a:p>
        </p:txBody>
      </p:sp>
      <p:sp>
        <p:nvSpPr>
          <p:cNvPr id="16" name="Textfeld 15"/>
          <p:cNvSpPr txBox="1"/>
          <p:nvPr/>
        </p:nvSpPr>
        <p:spPr>
          <a:xfrm>
            <a:off x="4572000" y="3532227"/>
            <a:ext cx="4176713" cy="905282"/>
          </a:xfrm>
          <a:prstGeom prst="rect">
            <a:avLst/>
          </a:prstGeom>
          <a:noFill/>
        </p:spPr>
        <p:txBody>
          <a:bodyPr wrap="square" lIns="0" tIns="72000" rIns="0" bIns="0" rtlCol="0">
            <a:noAutofit/>
          </a:bodyPr>
          <a:lstStyle/>
          <a:p>
            <a:pPr marL="171450" indent="-171450">
              <a:lnSpc>
                <a:spcPct val="110000"/>
              </a:lnSpc>
              <a:spcBef>
                <a:spcPts val="0"/>
              </a:spcBef>
              <a:buFont typeface="Arial" panose="020B0604020202020204" pitchFamily="34" charset="0"/>
              <a:buChar char="•"/>
            </a:pPr>
            <a:r>
              <a:rPr lang="de-DE" sz="1400" dirty="0" smtClean="0">
                <a:solidFill>
                  <a:schemeClr val="tx1"/>
                </a:solidFill>
              </a:rPr>
              <a:t>Digital </a:t>
            </a:r>
            <a:r>
              <a:rPr lang="de-DE" sz="1400" dirty="0" err="1" smtClean="0">
                <a:solidFill>
                  <a:schemeClr val="tx1"/>
                </a:solidFill>
              </a:rPr>
              <a:t>learning</a:t>
            </a:r>
            <a:r>
              <a:rPr lang="de-DE" sz="1400" dirty="0" smtClean="0">
                <a:solidFill>
                  <a:schemeClr val="tx1"/>
                </a:solidFill>
              </a:rPr>
              <a:t> </a:t>
            </a:r>
            <a:r>
              <a:rPr lang="de-DE" sz="1400" dirty="0" err="1" smtClean="0">
                <a:solidFill>
                  <a:schemeClr val="tx1"/>
                </a:solidFill>
              </a:rPr>
              <a:t>loops</a:t>
            </a:r>
            <a:r>
              <a:rPr lang="de-DE" sz="1400" dirty="0" smtClean="0">
                <a:solidFill>
                  <a:schemeClr val="tx1"/>
                </a:solidFill>
              </a:rPr>
              <a:t> </a:t>
            </a:r>
            <a:r>
              <a:rPr lang="de-DE" sz="1400" dirty="0" err="1" smtClean="0">
                <a:solidFill>
                  <a:schemeClr val="tx1"/>
                </a:solidFill>
              </a:rPr>
              <a:t>across</a:t>
            </a:r>
            <a:r>
              <a:rPr lang="de-DE" sz="1400" dirty="0" smtClean="0">
                <a:solidFill>
                  <a:schemeClr val="tx1"/>
                </a:solidFill>
              </a:rPr>
              <a:t> </a:t>
            </a:r>
            <a:r>
              <a:rPr lang="de-DE" sz="1400" dirty="0" err="1" smtClean="0">
                <a:solidFill>
                  <a:schemeClr val="tx1"/>
                </a:solidFill>
              </a:rPr>
              <a:t>fleet</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err="1" smtClean="0">
                <a:solidFill>
                  <a:schemeClr val="tx1"/>
                </a:solidFill>
              </a:rPr>
              <a:t>Self-learning</a:t>
            </a:r>
            <a:r>
              <a:rPr lang="de-DE" sz="1400" dirty="0" smtClean="0">
                <a:solidFill>
                  <a:schemeClr val="tx1"/>
                </a:solidFill>
              </a:rPr>
              <a:t> </a:t>
            </a:r>
            <a:r>
              <a:rPr lang="de-DE" sz="1400" dirty="0" err="1" smtClean="0">
                <a:solidFill>
                  <a:schemeClr val="tx1"/>
                </a:solidFill>
              </a:rPr>
              <a:t>preventive</a:t>
            </a:r>
            <a:r>
              <a:rPr lang="de-DE" sz="1400" dirty="0" smtClean="0">
                <a:solidFill>
                  <a:schemeClr val="tx1"/>
                </a:solidFill>
              </a:rPr>
              <a:t> </a:t>
            </a:r>
            <a:r>
              <a:rPr lang="de-DE" sz="1400" dirty="0" err="1" smtClean="0">
                <a:solidFill>
                  <a:schemeClr val="tx1"/>
                </a:solidFill>
              </a:rPr>
              <a:t>maintenance</a:t>
            </a:r>
            <a:r>
              <a:rPr lang="de-DE" sz="1400" dirty="0" smtClean="0">
                <a:solidFill>
                  <a:schemeClr val="tx1"/>
                </a:solidFill>
              </a:rPr>
              <a:t> </a:t>
            </a:r>
            <a:endParaRPr lang="en-GB" sz="1400" dirty="0" err="1" smtClean="0">
              <a:solidFill>
                <a:schemeClr val="tx1"/>
              </a:solidFill>
            </a:endParaRPr>
          </a:p>
        </p:txBody>
      </p:sp>
      <p:sp>
        <p:nvSpPr>
          <p:cNvPr id="17" name="Textfeld 16"/>
          <p:cNvSpPr txBox="1"/>
          <p:nvPr/>
        </p:nvSpPr>
        <p:spPr>
          <a:xfrm>
            <a:off x="4572000" y="4169935"/>
            <a:ext cx="4176713" cy="1172856"/>
          </a:xfrm>
          <a:prstGeom prst="rect">
            <a:avLst/>
          </a:prstGeom>
          <a:noFill/>
        </p:spPr>
        <p:txBody>
          <a:bodyPr wrap="square" lIns="0" tIns="72000" rIns="0" bIns="0" rtlCol="0">
            <a:noAutofit/>
          </a:bodyPr>
          <a:lstStyle/>
          <a:p>
            <a:pPr marL="171450" indent="-171450">
              <a:lnSpc>
                <a:spcPct val="110000"/>
              </a:lnSpc>
              <a:spcBef>
                <a:spcPts val="0"/>
              </a:spcBef>
              <a:buFont typeface="Arial" panose="020B0604020202020204" pitchFamily="34" charset="0"/>
              <a:buChar char="•"/>
            </a:pPr>
            <a:r>
              <a:rPr lang="de-DE" sz="1400" dirty="0" smtClean="0">
                <a:solidFill>
                  <a:schemeClr val="tx1"/>
                </a:solidFill>
              </a:rPr>
              <a:t>Virtual power </a:t>
            </a:r>
            <a:r>
              <a:rPr lang="de-DE" sz="1400" dirty="0" err="1" smtClean="0">
                <a:solidFill>
                  <a:schemeClr val="tx1"/>
                </a:solidFill>
              </a:rPr>
              <a:t>plants</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err="1" smtClean="0">
                <a:solidFill>
                  <a:schemeClr val="tx1"/>
                </a:solidFill>
              </a:rPr>
              <a:t>Optimised</a:t>
            </a:r>
            <a:r>
              <a:rPr lang="de-DE" sz="1400" dirty="0" smtClean="0">
                <a:solidFill>
                  <a:schemeClr val="tx1"/>
                </a:solidFill>
              </a:rPr>
              <a:t> </a:t>
            </a:r>
            <a:r>
              <a:rPr lang="de-DE" sz="1400" dirty="0" err="1" smtClean="0">
                <a:solidFill>
                  <a:schemeClr val="tx1"/>
                </a:solidFill>
              </a:rPr>
              <a:t>demand</a:t>
            </a:r>
            <a:r>
              <a:rPr lang="de-DE" sz="1400" dirty="0" smtClean="0">
                <a:solidFill>
                  <a:schemeClr val="tx1"/>
                </a:solidFill>
              </a:rPr>
              <a:t> </a:t>
            </a:r>
            <a:r>
              <a:rPr lang="de-DE" sz="1400" dirty="0" err="1" smtClean="0">
                <a:solidFill>
                  <a:schemeClr val="tx1"/>
                </a:solidFill>
              </a:rPr>
              <a:t>forecasts</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err="1" smtClean="0">
                <a:solidFill>
                  <a:schemeClr val="tx1"/>
                </a:solidFill>
              </a:rPr>
              <a:t>Dispatchable</a:t>
            </a:r>
            <a:r>
              <a:rPr lang="de-DE" sz="1400" dirty="0" smtClean="0">
                <a:solidFill>
                  <a:schemeClr val="tx1"/>
                </a:solidFill>
              </a:rPr>
              <a:t> wind </a:t>
            </a:r>
            <a:r>
              <a:rPr lang="de-DE" sz="1400" dirty="0" err="1" smtClean="0">
                <a:solidFill>
                  <a:schemeClr val="tx1"/>
                </a:solidFill>
              </a:rPr>
              <a:t>generation</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err="1" smtClean="0">
                <a:solidFill>
                  <a:schemeClr val="tx1"/>
                </a:solidFill>
              </a:rPr>
              <a:t>Auxiliary</a:t>
            </a:r>
            <a:r>
              <a:rPr lang="de-DE" sz="1400" dirty="0" smtClean="0">
                <a:solidFill>
                  <a:schemeClr val="tx1"/>
                </a:solidFill>
              </a:rPr>
              <a:t> </a:t>
            </a:r>
            <a:r>
              <a:rPr lang="de-DE" sz="1400" dirty="0" err="1" smtClean="0">
                <a:solidFill>
                  <a:schemeClr val="tx1"/>
                </a:solidFill>
              </a:rPr>
              <a:t>services</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smtClean="0">
                <a:solidFill>
                  <a:schemeClr val="tx1"/>
                </a:solidFill>
              </a:rPr>
              <a:t>Smart </a:t>
            </a:r>
            <a:r>
              <a:rPr lang="de-DE" sz="1400" dirty="0" err="1" smtClean="0">
                <a:solidFill>
                  <a:schemeClr val="tx1"/>
                </a:solidFill>
              </a:rPr>
              <a:t>demand</a:t>
            </a:r>
            <a:r>
              <a:rPr lang="de-DE" sz="1400" dirty="0" smtClean="0">
                <a:solidFill>
                  <a:schemeClr val="tx1"/>
                </a:solidFill>
              </a:rPr>
              <a:t>/</a:t>
            </a:r>
            <a:r>
              <a:rPr lang="de-DE" sz="1400" dirty="0" err="1" smtClean="0">
                <a:solidFill>
                  <a:schemeClr val="tx1"/>
                </a:solidFill>
              </a:rPr>
              <a:t>supply</a:t>
            </a:r>
            <a:r>
              <a:rPr lang="de-DE" sz="1400" dirty="0" smtClean="0">
                <a:solidFill>
                  <a:schemeClr val="tx1"/>
                </a:solidFill>
              </a:rPr>
              <a:t> </a:t>
            </a:r>
            <a:r>
              <a:rPr lang="de-DE" sz="1400" dirty="0" err="1" smtClean="0">
                <a:solidFill>
                  <a:schemeClr val="tx1"/>
                </a:solidFill>
              </a:rPr>
              <a:t>management</a:t>
            </a:r>
            <a:r>
              <a:rPr lang="de-DE" sz="1400" dirty="0" smtClean="0">
                <a:solidFill>
                  <a:schemeClr val="tx1"/>
                </a:solidFill>
              </a:rPr>
              <a:t> power</a:t>
            </a:r>
            <a:endParaRPr lang="en-GB" sz="1400" dirty="0" err="1" smtClean="0">
              <a:solidFill>
                <a:schemeClr val="tx1"/>
              </a:solidFill>
            </a:endParaRPr>
          </a:p>
        </p:txBody>
      </p:sp>
      <p:sp>
        <p:nvSpPr>
          <p:cNvPr id="18" name="Textfeld 17"/>
          <p:cNvSpPr txBox="1"/>
          <p:nvPr/>
        </p:nvSpPr>
        <p:spPr>
          <a:xfrm>
            <a:off x="4572000" y="5466079"/>
            <a:ext cx="4176713" cy="775832"/>
          </a:xfrm>
          <a:prstGeom prst="rect">
            <a:avLst/>
          </a:prstGeom>
          <a:noFill/>
        </p:spPr>
        <p:txBody>
          <a:bodyPr wrap="square" lIns="0" tIns="72000" rIns="0" bIns="0" rtlCol="0">
            <a:noAutofit/>
          </a:bodyPr>
          <a:lstStyle/>
          <a:p>
            <a:pPr marL="171450" indent="-171450">
              <a:lnSpc>
                <a:spcPct val="110000"/>
              </a:lnSpc>
              <a:spcBef>
                <a:spcPts val="0"/>
              </a:spcBef>
              <a:buFont typeface="Arial" panose="020B0604020202020204" pitchFamily="34" charset="0"/>
              <a:buChar char="•"/>
            </a:pPr>
            <a:r>
              <a:rPr lang="de-DE" sz="1400" dirty="0" smtClean="0">
                <a:solidFill>
                  <a:schemeClr val="tx1"/>
                </a:solidFill>
              </a:rPr>
              <a:t>Power 2 X</a:t>
            </a:r>
          </a:p>
          <a:p>
            <a:pPr marL="171450" indent="-171450">
              <a:lnSpc>
                <a:spcPct val="110000"/>
              </a:lnSpc>
              <a:spcBef>
                <a:spcPts val="0"/>
              </a:spcBef>
              <a:buFont typeface="Arial" panose="020B0604020202020204" pitchFamily="34" charset="0"/>
              <a:buChar char="•"/>
            </a:pPr>
            <a:r>
              <a:rPr lang="de-DE" sz="1400" dirty="0" err="1" smtClean="0">
                <a:solidFill>
                  <a:schemeClr val="tx1"/>
                </a:solidFill>
              </a:rPr>
              <a:t>Opportunistic</a:t>
            </a:r>
            <a:r>
              <a:rPr lang="de-DE" sz="1400" dirty="0" smtClean="0">
                <a:solidFill>
                  <a:schemeClr val="tx1"/>
                </a:solidFill>
              </a:rPr>
              <a:t> </a:t>
            </a:r>
            <a:r>
              <a:rPr lang="de-DE" sz="1400" dirty="0" err="1" smtClean="0">
                <a:solidFill>
                  <a:schemeClr val="tx1"/>
                </a:solidFill>
              </a:rPr>
              <a:t>use</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power </a:t>
            </a:r>
            <a:r>
              <a:rPr lang="de-DE" sz="1400" dirty="0" err="1" smtClean="0">
                <a:solidFill>
                  <a:schemeClr val="tx1"/>
                </a:solidFill>
              </a:rPr>
              <a:t>to</a:t>
            </a:r>
            <a:r>
              <a:rPr lang="de-DE" sz="1400" dirty="0" smtClean="0">
                <a:solidFill>
                  <a:schemeClr val="tx1"/>
                </a:solidFill>
              </a:rPr>
              <a:t> </a:t>
            </a:r>
            <a:r>
              <a:rPr lang="de-DE" sz="1400" dirty="0" err="1" smtClean="0">
                <a:solidFill>
                  <a:schemeClr val="tx1"/>
                </a:solidFill>
              </a:rPr>
              <a:t>heat</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r>
              <a:rPr lang="de-DE" sz="1400" dirty="0" smtClean="0">
                <a:solidFill>
                  <a:schemeClr val="tx1"/>
                </a:solidFill>
              </a:rPr>
              <a:t>Power </a:t>
            </a:r>
            <a:r>
              <a:rPr lang="de-DE" sz="1400" dirty="0" err="1" smtClean="0">
                <a:solidFill>
                  <a:schemeClr val="tx1"/>
                </a:solidFill>
              </a:rPr>
              <a:t>to</a:t>
            </a:r>
            <a:r>
              <a:rPr lang="de-DE" sz="1400" dirty="0" smtClean="0">
                <a:solidFill>
                  <a:schemeClr val="tx1"/>
                </a:solidFill>
              </a:rPr>
              <a:t> </a:t>
            </a:r>
            <a:r>
              <a:rPr lang="de-DE" sz="1400" dirty="0" err="1" smtClean="0">
                <a:solidFill>
                  <a:schemeClr val="tx1"/>
                </a:solidFill>
              </a:rPr>
              <a:t>mobility</a:t>
            </a:r>
            <a:r>
              <a:rPr lang="de-DE" sz="1400" dirty="0" smtClean="0">
                <a:solidFill>
                  <a:schemeClr val="tx1"/>
                </a:solidFill>
              </a:rPr>
              <a:t>: Demand </a:t>
            </a:r>
            <a:r>
              <a:rPr lang="de-DE" sz="1400" dirty="0" err="1" smtClean="0">
                <a:solidFill>
                  <a:schemeClr val="tx1"/>
                </a:solidFill>
              </a:rPr>
              <a:t>management</a:t>
            </a: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endParaRPr lang="de-DE" sz="1400" dirty="0" smtClean="0">
              <a:solidFill>
                <a:schemeClr val="tx1"/>
              </a:solidFill>
            </a:endParaRPr>
          </a:p>
          <a:p>
            <a:pPr marL="171450" indent="-171450">
              <a:lnSpc>
                <a:spcPct val="110000"/>
              </a:lnSpc>
              <a:spcBef>
                <a:spcPts val="0"/>
              </a:spcBef>
              <a:buFont typeface="Arial" panose="020B0604020202020204" pitchFamily="34" charset="0"/>
              <a:buChar char="•"/>
            </a:pPr>
            <a:endParaRPr lang="en-GB" sz="1400" dirty="0" err="1" smtClean="0">
              <a:solidFill>
                <a:schemeClr val="tx1"/>
              </a:solidFill>
            </a:endParaRPr>
          </a:p>
        </p:txBody>
      </p:sp>
      <p:cxnSp>
        <p:nvCxnSpPr>
          <p:cNvPr id="23" name="Gerade Verbindung 22"/>
          <p:cNvCxnSpPr/>
          <p:nvPr/>
        </p:nvCxnSpPr>
        <p:spPr bwMode="auto">
          <a:xfrm>
            <a:off x="4572000" y="2678098"/>
            <a:ext cx="4176713" cy="0"/>
          </a:xfrm>
          <a:prstGeom prst="line">
            <a:avLst/>
          </a:prstGeom>
          <a:solidFill>
            <a:schemeClr val="tx2"/>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p:nvCxnSpPr>
        <p:spPr bwMode="auto">
          <a:xfrm>
            <a:off x="4572000" y="3583381"/>
            <a:ext cx="4176713" cy="0"/>
          </a:xfrm>
          <a:prstGeom prst="line">
            <a:avLst/>
          </a:prstGeom>
          <a:solidFill>
            <a:schemeClr val="tx2"/>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p:nvCxnSpPr>
        <p:spPr bwMode="auto">
          <a:xfrm>
            <a:off x="4572000" y="4221088"/>
            <a:ext cx="4176713" cy="0"/>
          </a:xfrm>
          <a:prstGeom prst="line">
            <a:avLst/>
          </a:prstGeom>
          <a:solidFill>
            <a:schemeClr val="tx2"/>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p:nvCxnSpPr>
        <p:spPr bwMode="auto">
          <a:xfrm>
            <a:off x="4572000" y="5517232"/>
            <a:ext cx="4176713" cy="0"/>
          </a:xfrm>
          <a:prstGeom prst="line">
            <a:avLst/>
          </a:prstGeom>
          <a:solidFill>
            <a:schemeClr val="tx2"/>
          </a:solidFill>
          <a:ln w="63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8212" name="Picture 20" descr="http://www.siemens.com/press/pool/de/pressebilder/photonews/PN200826/PN200826-02_072dpi.jpg"/>
          <p:cNvPicPr>
            <a:picLocks noChangeAspect="1" noChangeArrowheads="1"/>
          </p:cNvPicPr>
          <p:nvPr/>
        </p:nvPicPr>
        <p:blipFill rotWithShape="1">
          <a:blip r:embed="rId7">
            <a:extLst>
              <a:ext uri="{28A0092B-C50C-407E-A947-70E740481C1C}">
                <a14:useLocalDpi xmlns:a14="http://schemas.microsoft.com/office/drawing/2010/main" val="0"/>
              </a:ext>
            </a:extLst>
          </a:blip>
          <a:srcRect b="20185"/>
          <a:stretch/>
        </p:blipFill>
        <p:spPr bwMode="auto">
          <a:xfrm>
            <a:off x="2988022" y="2678100"/>
            <a:ext cx="1569880" cy="905281"/>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8214" name="Picture 22" descr="https://www.siemens.com/customer-magazine/en/home/energy/power-transmission-and-distribution/3-003-zukunft-der-turbinenwartung-big-data-smart-data/_jcr_content/gem.adapt.916.high.jpg/1443456100224.jpg"/>
          <p:cNvPicPr>
            <a:picLocks noChangeAspect="1" noChangeArrowheads="1"/>
          </p:cNvPicPr>
          <p:nvPr/>
        </p:nvPicPr>
        <p:blipFill rotWithShape="1">
          <a:blip r:embed="rId8">
            <a:extLst>
              <a:ext uri="{28A0092B-C50C-407E-A947-70E740481C1C}">
                <a14:useLocalDpi xmlns:a14="http://schemas.microsoft.com/office/drawing/2010/main" val="0"/>
              </a:ext>
            </a:extLst>
          </a:blip>
          <a:srcRect l="6991"/>
          <a:stretch/>
        </p:blipFill>
        <p:spPr bwMode="auto">
          <a:xfrm>
            <a:off x="2988022" y="3583380"/>
            <a:ext cx="1583978" cy="637707"/>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8216" name="Picture 24" descr="http://www.energy.siemens.com/hq/pool/hq/services/renewable-energy/wind-power/service-solutions/optimization-tab/Opt6_Reactive_power_at_1024px.jpg"/>
          <p:cNvPicPr>
            <a:picLocks noChangeAspect="1" noChangeArrowheads="1"/>
          </p:cNvPicPr>
          <p:nvPr/>
        </p:nvPicPr>
        <p:blipFill rotWithShape="1">
          <a:blip r:embed="rId9">
            <a:extLst>
              <a:ext uri="{28A0092B-C50C-407E-A947-70E740481C1C}">
                <a14:useLocalDpi xmlns:a14="http://schemas.microsoft.com/office/drawing/2010/main" val="0"/>
              </a:ext>
            </a:extLst>
          </a:blip>
          <a:srcRect l="7192" t="11187" r="41605" b="32738"/>
          <a:stretch/>
        </p:blipFill>
        <p:spPr bwMode="auto">
          <a:xfrm>
            <a:off x="2988022" y="4221089"/>
            <a:ext cx="1548171" cy="1296144"/>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pic>
        <p:nvPicPr>
          <p:cNvPr id="8219" name="Picture 27" descr="http://www.nwe.siemens.com/windpower/jobs/about_us/PublishingImages/Power-Matrix-750x560.jpg"/>
          <p:cNvPicPr>
            <a:picLocks noChangeAspect="1" noChangeArrowheads="1"/>
          </p:cNvPicPr>
          <p:nvPr/>
        </p:nvPicPr>
        <p:blipFill rotWithShape="1">
          <a:blip r:embed="rId10">
            <a:extLst>
              <a:ext uri="{28A0092B-C50C-407E-A947-70E740481C1C}">
                <a14:useLocalDpi xmlns:a14="http://schemas.microsoft.com/office/drawing/2010/main" val="0"/>
              </a:ext>
            </a:extLst>
          </a:blip>
          <a:srcRect l="32461" t="48697" b="5176"/>
          <a:stretch/>
        </p:blipFill>
        <p:spPr bwMode="auto">
          <a:xfrm>
            <a:off x="2988022" y="5518011"/>
            <a:ext cx="1548171" cy="789486"/>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cxnSp>
        <p:nvCxnSpPr>
          <p:cNvPr id="30" name="Gerade Verbindung 29"/>
          <p:cNvCxnSpPr/>
          <p:nvPr/>
        </p:nvCxnSpPr>
        <p:spPr bwMode="auto">
          <a:xfrm>
            <a:off x="539750" y="1698390"/>
            <a:ext cx="4176713" cy="0"/>
          </a:xfrm>
          <a:prstGeom prst="line">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59678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2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2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2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2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7" grpId="0" animBg="1"/>
      <p:bldP spid="5" grpId="0" animBg="1"/>
      <p:bldP spid="15" grpId="0"/>
      <p:bldP spid="16" grpId="0"/>
      <p:bldP spid="17"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418" y="1412776"/>
            <a:ext cx="8837581" cy="4968551"/>
          </a:xfrm>
          <a:prstGeom prst="rect">
            <a:avLst/>
          </a:prstGeom>
        </p:spPr>
      </p:pic>
      <p:sp>
        <p:nvSpPr>
          <p:cNvPr id="2" name="Title 1"/>
          <p:cNvSpPr>
            <a:spLocks noGrp="1"/>
          </p:cNvSpPr>
          <p:nvPr>
            <p:ph type="title"/>
          </p:nvPr>
        </p:nvSpPr>
        <p:spPr/>
        <p:txBody>
          <a:bodyPr/>
          <a:lstStyle/>
          <a:p>
            <a:r>
              <a:rPr lang="en-US" b="0" dirty="0" smtClean="0">
                <a:latin typeface="+mj-lt"/>
              </a:rPr>
              <a:t>Example: Potential from </a:t>
            </a:r>
            <a:r>
              <a:rPr lang="en-US" b="0" dirty="0" err="1" smtClean="0">
                <a:latin typeface="+mj-lt"/>
              </a:rPr>
              <a:t>digitalisation</a:t>
            </a:r>
            <a:r>
              <a:rPr lang="en-US" b="0" dirty="0" smtClean="0">
                <a:latin typeface="+mj-lt"/>
              </a:rPr>
              <a:t/>
            </a:r>
            <a:br>
              <a:rPr lang="en-US" b="0" dirty="0" smtClean="0">
                <a:latin typeface="+mj-lt"/>
              </a:rPr>
            </a:br>
            <a:r>
              <a:rPr lang="en-US" dirty="0" smtClean="0">
                <a:latin typeface="+mj-lt"/>
              </a:rPr>
              <a:t>Remote diagnostics: using data to</a:t>
            </a:r>
            <a:br>
              <a:rPr lang="en-US" dirty="0" smtClean="0">
                <a:latin typeface="+mj-lt"/>
              </a:rPr>
            </a:br>
            <a:r>
              <a:rPr lang="en-US" dirty="0" smtClean="0">
                <a:latin typeface="+mj-lt"/>
              </a:rPr>
              <a:t>increase efficiency and reduce downtime </a:t>
            </a:r>
            <a:endParaRPr lang="en-US" dirty="0">
              <a:latin typeface="+mj-lt"/>
            </a:endParaRP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7553" t="5125" r="3962" b="6645"/>
          <a:stretch/>
        </p:blipFill>
        <p:spPr>
          <a:xfrm>
            <a:off x="16334" y="1412776"/>
            <a:ext cx="6643898" cy="4968551"/>
          </a:xfrm>
          <a:prstGeom prst="rect">
            <a:avLst/>
          </a:prstGeom>
        </p:spPr>
      </p:pic>
      <p:sp>
        <p:nvSpPr>
          <p:cNvPr id="19" name="TextBox 18"/>
          <p:cNvSpPr txBox="1"/>
          <p:nvPr/>
        </p:nvSpPr>
        <p:spPr>
          <a:xfrm>
            <a:off x="7020272" y="1844824"/>
            <a:ext cx="2016224" cy="2808312"/>
          </a:xfrm>
          <a:prstGeom prst="rect">
            <a:avLst/>
          </a:prstGeom>
          <a:noFill/>
        </p:spPr>
        <p:txBody>
          <a:bodyPr wrap="square" lIns="0" tIns="0" rIns="0" bIns="0" rtlCol="0">
            <a:noAutofit/>
          </a:bodyPr>
          <a:lstStyle/>
          <a:p>
            <a:pPr>
              <a:lnSpc>
                <a:spcPct val="110000"/>
              </a:lnSpc>
              <a:spcBef>
                <a:spcPts val="0"/>
              </a:spcBef>
            </a:pPr>
            <a:r>
              <a:rPr lang="de-DE" sz="2400" b="1" dirty="0" smtClean="0">
                <a:solidFill>
                  <a:schemeClr val="bg1"/>
                </a:solidFill>
                <a:latin typeface="+mj-lt"/>
              </a:rPr>
              <a:t>10,000 </a:t>
            </a:r>
          </a:p>
          <a:p>
            <a:pPr>
              <a:lnSpc>
                <a:spcPct val="110000"/>
              </a:lnSpc>
              <a:spcBef>
                <a:spcPts val="0"/>
              </a:spcBef>
            </a:pPr>
            <a:r>
              <a:rPr lang="de-DE" b="1" dirty="0" smtClean="0">
                <a:solidFill>
                  <a:schemeClr val="bg1"/>
                </a:solidFill>
                <a:latin typeface="+mj-lt"/>
              </a:rPr>
              <a:t>Wind </a:t>
            </a:r>
            <a:r>
              <a:rPr lang="de-DE" b="1" dirty="0" err="1">
                <a:solidFill>
                  <a:schemeClr val="bg1"/>
                </a:solidFill>
                <a:latin typeface="+mj-lt"/>
              </a:rPr>
              <a:t>t</a:t>
            </a:r>
            <a:r>
              <a:rPr lang="de-DE" b="1" dirty="0" err="1" smtClean="0">
                <a:solidFill>
                  <a:schemeClr val="bg1"/>
                </a:solidFill>
                <a:latin typeface="+mj-lt"/>
              </a:rPr>
              <a:t>urbines</a:t>
            </a:r>
            <a:endParaRPr lang="de-DE" b="1" dirty="0" smtClean="0">
              <a:solidFill>
                <a:schemeClr val="bg1"/>
              </a:solidFill>
              <a:latin typeface="+mj-lt"/>
            </a:endParaRPr>
          </a:p>
          <a:p>
            <a:pPr>
              <a:lnSpc>
                <a:spcPct val="110000"/>
              </a:lnSpc>
              <a:spcBef>
                <a:spcPts val="0"/>
              </a:spcBef>
            </a:pPr>
            <a:endParaRPr lang="de-DE" b="1" dirty="0">
              <a:solidFill>
                <a:schemeClr val="bg1"/>
              </a:solidFill>
              <a:latin typeface="+mj-lt"/>
            </a:endParaRPr>
          </a:p>
          <a:p>
            <a:pPr>
              <a:lnSpc>
                <a:spcPct val="110000"/>
              </a:lnSpc>
              <a:spcBef>
                <a:spcPts val="0"/>
              </a:spcBef>
            </a:pPr>
            <a:r>
              <a:rPr lang="de-DE" sz="2400" b="1" dirty="0">
                <a:solidFill>
                  <a:schemeClr val="bg1"/>
                </a:solidFill>
                <a:latin typeface="+mj-lt"/>
              </a:rPr>
              <a:t>24 </a:t>
            </a:r>
            <a:r>
              <a:rPr lang="de-DE" sz="2400" b="1" dirty="0" smtClean="0">
                <a:solidFill>
                  <a:schemeClr val="bg1"/>
                </a:solidFill>
                <a:latin typeface="+mj-lt"/>
              </a:rPr>
              <a:t>Million </a:t>
            </a:r>
            <a:r>
              <a:rPr lang="de-DE" b="1" dirty="0" smtClean="0">
                <a:solidFill>
                  <a:schemeClr val="bg1"/>
                </a:solidFill>
                <a:latin typeface="+mj-lt"/>
              </a:rPr>
              <a:t>Parameters</a:t>
            </a:r>
          </a:p>
          <a:p>
            <a:pPr>
              <a:lnSpc>
                <a:spcPct val="110000"/>
              </a:lnSpc>
              <a:spcBef>
                <a:spcPts val="0"/>
              </a:spcBef>
            </a:pPr>
            <a:endParaRPr lang="de-DE" b="1" dirty="0">
              <a:solidFill>
                <a:schemeClr val="bg1"/>
              </a:solidFill>
              <a:latin typeface="+mj-lt"/>
            </a:endParaRPr>
          </a:p>
          <a:p>
            <a:pPr>
              <a:lnSpc>
                <a:spcPct val="110000"/>
              </a:lnSpc>
              <a:spcBef>
                <a:spcPts val="0"/>
              </a:spcBef>
            </a:pPr>
            <a:r>
              <a:rPr lang="de-DE" sz="2400" b="1" dirty="0">
                <a:solidFill>
                  <a:schemeClr val="bg1"/>
                </a:solidFill>
                <a:latin typeface="+mj-lt"/>
              </a:rPr>
              <a:t>72 </a:t>
            </a:r>
            <a:r>
              <a:rPr lang="de-DE" sz="2400" b="1" dirty="0" smtClean="0">
                <a:solidFill>
                  <a:schemeClr val="bg1"/>
                </a:solidFill>
                <a:latin typeface="+mj-lt"/>
              </a:rPr>
              <a:t>Terabytes </a:t>
            </a:r>
          </a:p>
          <a:p>
            <a:pPr>
              <a:lnSpc>
                <a:spcPct val="110000"/>
              </a:lnSpc>
              <a:spcBef>
                <a:spcPts val="0"/>
              </a:spcBef>
            </a:pPr>
            <a:r>
              <a:rPr lang="de-DE" b="1" dirty="0" err="1" smtClean="0">
                <a:solidFill>
                  <a:schemeClr val="bg1"/>
                </a:solidFill>
                <a:latin typeface="+mj-lt"/>
              </a:rPr>
              <a:t>of</a:t>
            </a:r>
            <a:r>
              <a:rPr lang="de-DE" b="1" dirty="0" smtClean="0">
                <a:solidFill>
                  <a:schemeClr val="bg1"/>
                </a:solidFill>
                <a:latin typeface="+mj-lt"/>
              </a:rPr>
              <a:t> </a:t>
            </a:r>
            <a:r>
              <a:rPr lang="de-DE" b="1" dirty="0" err="1" smtClean="0">
                <a:solidFill>
                  <a:schemeClr val="bg1"/>
                </a:solidFill>
                <a:latin typeface="+mj-lt"/>
              </a:rPr>
              <a:t>new</a:t>
            </a:r>
            <a:r>
              <a:rPr lang="de-DE" b="1" dirty="0" smtClean="0">
                <a:solidFill>
                  <a:schemeClr val="bg1"/>
                </a:solidFill>
                <a:latin typeface="+mj-lt"/>
              </a:rPr>
              <a:t> </a:t>
            </a:r>
            <a:r>
              <a:rPr lang="de-DE" b="1" dirty="0" err="1" smtClean="0">
                <a:solidFill>
                  <a:schemeClr val="bg1"/>
                </a:solidFill>
                <a:latin typeface="+mj-lt"/>
              </a:rPr>
              <a:t>data</a:t>
            </a:r>
            <a:r>
              <a:rPr lang="de-DE" b="1" dirty="0" smtClean="0">
                <a:solidFill>
                  <a:schemeClr val="bg1"/>
                </a:solidFill>
                <a:latin typeface="+mj-lt"/>
              </a:rPr>
              <a:t> </a:t>
            </a:r>
            <a:r>
              <a:rPr lang="de-DE" b="1" dirty="0" err="1" smtClean="0">
                <a:solidFill>
                  <a:schemeClr val="bg1"/>
                </a:solidFill>
                <a:latin typeface="+mj-lt"/>
              </a:rPr>
              <a:t>annually</a:t>
            </a:r>
            <a:endParaRPr lang="de-DE" b="1" dirty="0">
              <a:solidFill>
                <a:schemeClr val="bg1"/>
              </a:solidFill>
              <a:latin typeface="+mj-lt"/>
            </a:endParaRPr>
          </a:p>
          <a:p>
            <a:pPr>
              <a:lnSpc>
                <a:spcPct val="110000"/>
              </a:lnSpc>
              <a:spcBef>
                <a:spcPts val="0"/>
              </a:spcBef>
            </a:pPr>
            <a:endParaRPr lang="de-DE" b="1" dirty="0" smtClean="0">
              <a:solidFill>
                <a:schemeClr val="tx1"/>
              </a:solidFill>
              <a:latin typeface="Siemens Slab" pitchFamily="2" charset="0"/>
            </a:endParaRPr>
          </a:p>
        </p:txBody>
      </p:sp>
    </p:spTree>
    <p:extLst>
      <p:ext uri="{BB962C8B-B14F-4D97-AF65-F5344CB8AC3E}">
        <p14:creationId xmlns:p14="http://schemas.microsoft.com/office/powerpoint/2010/main" val="5948127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p:txBody>
          <a:bodyPr/>
          <a:lstStyle/>
          <a:p>
            <a:r>
              <a:rPr lang="en-US" dirty="0" smtClean="0"/>
              <a:t>Wind power has been a joint success of public sector and industry efforts – let’s continue down that path!</a:t>
            </a:r>
            <a:endParaRPr lang="en-US" dirty="0" smtClean="0">
              <a:latin typeface="Arial" pitchFamily="34" charset="0"/>
            </a:endParaRPr>
          </a:p>
        </p:txBody>
      </p:sp>
      <p:sp>
        <p:nvSpPr>
          <p:cNvPr id="15" name="Rechteck 14"/>
          <p:cNvSpPr/>
          <p:nvPr/>
        </p:nvSpPr>
        <p:spPr bwMode="auto">
          <a:xfrm>
            <a:off x="1835696" y="2024844"/>
            <a:ext cx="2448272" cy="1296144"/>
          </a:xfrm>
          <a:prstGeom prst="rect">
            <a:avLst/>
          </a:prstGeom>
          <a:solidFill>
            <a:schemeClr val="accent5"/>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err="1" smtClean="0">
                <a:solidFill>
                  <a:schemeClr val="bg1"/>
                </a:solidFill>
              </a:rPr>
              <a:t>Make</a:t>
            </a:r>
            <a:r>
              <a:rPr lang="de-DE" sz="1600" b="1" dirty="0" smtClean="0">
                <a:solidFill>
                  <a:schemeClr val="bg1"/>
                </a:solidFill>
              </a:rPr>
              <a:t> wind power </a:t>
            </a:r>
            <a:br>
              <a:rPr lang="de-DE" sz="1600" b="1" dirty="0" smtClean="0">
                <a:solidFill>
                  <a:schemeClr val="bg1"/>
                </a:solidFill>
              </a:rPr>
            </a:br>
            <a:r>
              <a:rPr lang="de-DE" sz="1600" b="1" dirty="0" err="1" smtClean="0">
                <a:solidFill>
                  <a:schemeClr val="bg1"/>
                </a:solidFill>
              </a:rPr>
              <a:t>cost</a:t>
            </a:r>
            <a:r>
              <a:rPr lang="de-DE" sz="1600" b="1" dirty="0" smtClean="0">
                <a:solidFill>
                  <a:schemeClr val="bg1"/>
                </a:solidFill>
              </a:rPr>
              <a:t> </a:t>
            </a:r>
            <a:r>
              <a:rPr lang="de-DE" sz="1600" b="1" dirty="0" err="1" smtClean="0">
                <a:solidFill>
                  <a:schemeClr val="bg1"/>
                </a:solidFill>
              </a:rPr>
              <a:t>competitive</a:t>
            </a:r>
            <a:r>
              <a:rPr lang="de-DE" sz="1600" b="1" dirty="0" smtClean="0">
                <a:solidFill>
                  <a:schemeClr val="bg1"/>
                </a:solidFill>
              </a:rPr>
              <a:t> – </a:t>
            </a:r>
            <a:br>
              <a:rPr lang="de-DE" sz="1600" b="1" dirty="0" smtClean="0">
                <a:solidFill>
                  <a:schemeClr val="bg1"/>
                </a:solidFill>
              </a:rPr>
            </a:br>
            <a:r>
              <a:rPr lang="de-DE" sz="1600" b="1" dirty="0" err="1" smtClean="0">
                <a:solidFill>
                  <a:schemeClr val="bg1"/>
                </a:solidFill>
              </a:rPr>
              <a:t>onshore</a:t>
            </a:r>
            <a:r>
              <a:rPr lang="de-DE" sz="1600" b="1" dirty="0" smtClean="0">
                <a:solidFill>
                  <a:schemeClr val="bg1"/>
                </a:solidFill>
              </a:rPr>
              <a:t> </a:t>
            </a:r>
            <a:r>
              <a:rPr lang="de-DE" sz="1600" b="1" dirty="0" err="1" smtClean="0">
                <a:solidFill>
                  <a:schemeClr val="bg1"/>
                </a:solidFill>
              </a:rPr>
              <a:t>and</a:t>
            </a:r>
            <a:r>
              <a:rPr lang="de-DE" sz="1600" b="1" dirty="0" smtClean="0">
                <a:solidFill>
                  <a:schemeClr val="bg1"/>
                </a:solidFill>
              </a:rPr>
              <a:t> offshore</a:t>
            </a:r>
          </a:p>
        </p:txBody>
      </p:sp>
      <p:sp>
        <p:nvSpPr>
          <p:cNvPr id="19" name="Rechteck 18"/>
          <p:cNvSpPr/>
          <p:nvPr/>
        </p:nvSpPr>
        <p:spPr bwMode="auto">
          <a:xfrm>
            <a:off x="1835696" y="3447002"/>
            <a:ext cx="2448272" cy="1296144"/>
          </a:xfrm>
          <a:prstGeom prst="rect">
            <a:avLst/>
          </a:prstGeom>
          <a:solidFill>
            <a:schemeClr val="accent5"/>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Take a larger </a:t>
            </a:r>
            <a:r>
              <a:rPr lang="de-DE" sz="1600" b="1" dirty="0" err="1" smtClean="0">
                <a:solidFill>
                  <a:schemeClr val="bg1"/>
                </a:solidFill>
              </a:rPr>
              <a:t>role</a:t>
            </a:r>
            <a:r>
              <a:rPr lang="de-DE" sz="1600" b="1" dirty="0" smtClean="0">
                <a:solidFill>
                  <a:schemeClr val="bg1"/>
                </a:solidFill>
              </a:rPr>
              <a:t> in </a:t>
            </a:r>
            <a:r>
              <a:rPr lang="de-DE" sz="1600" b="1" dirty="0" err="1" smtClean="0">
                <a:solidFill>
                  <a:schemeClr val="bg1"/>
                </a:solidFill>
              </a:rPr>
              <a:t>the</a:t>
            </a:r>
            <a:r>
              <a:rPr lang="de-DE" sz="1600" b="1" dirty="0" smtClean="0">
                <a:solidFill>
                  <a:schemeClr val="bg1"/>
                </a:solidFill>
              </a:rPr>
              <a:t> </a:t>
            </a:r>
            <a:r>
              <a:rPr lang="de-DE" sz="1600" b="1" dirty="0" err="1" smtClean="0">
                <a:solidFill>
                  <a:schemeClr val="bg1"/>
                </a:solidFill>
              </a:rPr>
              <a:t>energy</a:t>
            </a:r>
            <a:r>
              <a:rPr lang="de-DE" sz="1600" b="1" dirty="0" smtClean="0">
                <a:solidFill>
                  <a:schemeClr val="bg1"/>
                </a:solidFill>
              </a:rPr>
              <a:t> </a:t>
            </a:r>
            <a:r>
              <a:rPr lang="de-DE" sz="1600" b="1" dirty="0" err="1" smtClean="0">
                <a:solidFill>
                  <a:schemeClr val="bg1"/>
                </a:solidFill>
              </a:rPr>
              <a:t>system</a:t>
            </a:r>
            <a:endParaRPr lang="de-DE" sz="1600" b="1" dirty="0" smtClean="0">
              <a:solidFill>
                <a:schemeClr val="bg1"/>
              </a:solidFill>
            </a:endParaRPr>
          </a:p>
        </p:txBody>
      </p:sp>
      <p:sp>
        <p:nvSpPr>
          <p:cNvPr id="20" name="Rechteck 19"/>
          <p:cNvSpPr/>
          <p:nvPr/>
        </p:nvSpPr>
        <p:spPr bwMode="auto">
          <a:xfrm>
            <a:off x="1835696" y="4869160"/>
            <a:ext cx="2448272" cy="1296144"/>
          </a:xfrm>
          <a:prstGeom prst="rect">
            <a:avLst/>
          </a:prstGeom>
          <a:solidFill>
            <a:schemeClr val="accent5"/>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Drive </a:t>
            </a:r>
            <a:r>
              <a:rPr lang="de-DE" sz="1600" b="1" dirty="0" err="1" smtClean="0">
                <a:solidFill>
                  <a:schemeClr val="bg1"/>
                </a:solidFill>
              </a:rPr>
              <a:t>renewable</a:t>
            </a:r>
            <a:r>
              <a:rPr lang="de-DE" sz="1600" b="1" dirty="0" smtClean="0">
                <a:solidFill>
                  <a:schemeClr val="bg1"/>
                </a:solidFill>
              </a:rPr>
              <a:t> </a:t>
            </a:r>
            <a:r>
              <a:rPr lang="de-DE" sz="1600" b="1" dirty="0" err="1" smtClean="0">
                <a:solidFill>
                  <a:schemeClr val="bg1"/>
                </a:solidFill>
              </a:rPr>
              <a:t>penetration</a:t>
            </a:r>
            <a:r>
              <a:rPr lang="de-DE" sz="1600" b="1" dirty="0" smtClean="0">
                <a:solidFill>
                  <a:schemeClr val="bg1"/>
                </a:solidFill>
              </a:rPr>
              <a:t> – </a:t>
            </a:r>
            <a:r>
              <a:rPr lang="de-DE" sz="1600" b="1" dirty="0" err="1" smtClean="0">
                <a:solidFill>
                  <a:schemeClr val="bg1"/>
                </a:solidFill>
              </a:rPr>
              <a:t>through</a:t>
            </a:r>
            <a:r>
              <a:rPr lang="de-DE" sz="1600" b="1" dirty="0" smtClean="0">
                <a:solidFill>
                  <a:schemeClr val="bg1"/>
                </a:solidFill>
              </a:rPr>
              <a:t> global </a:t>
            </a:r>
            <a:r>
              <a:rPr lang="de-DE" sz="1600" b="1" dirty="0" err="1" smtClean="0">
                <a:solidFill>
                  <a:schemeClr val="bg1"/>
                </a:solidFill>
              </a:rPr>
              <a:t>presence</a:t>
            </a:r>
            <a:r>
              <a:rPr lang="de-DE" sz="1600" b="1" dirty="0" smtClean="0">
                <a:solidFill>
                  <a:schemeClr val="bg1"/>
                </a:solidFill>
              </a:rPr>
              <a:t> </a:t>
            </a:r>
            <a:r>
              <a:rPr lang="de-DE" sz="1600" b="1" dirty="0" err="1" smtClean="0">
                <a:solidFill>
                  <a:schemeClr val="bg1"/>
                </a:solidFill>
              </a:rPr>
              <a:t>and</a:t>
            </a:r>
            <a:r>
              <a:rPr lang="de-DE" sz="1600" b="1" dirty="0" smtClean="0">
                <a:solidFill>
                  <a:schemeClr val="bg1"/>
                </a:solidFill>
              </a:rPr>
              <a:t> </a:t>
            </a:r>
            <a:r>
              <a:rPr lang="de-DE" sz="1600" b="1" dirty="0" err="1" smtClean="0">
                <a:solidFill>
                  <a:schemeClr val="bg1"/>
                </a:solidFill>
              </a:rPr>
              <a:t>tailored</a:t>
            </a:r>
            <a:r>
              <a:rPr lang="de-DE" sz="1600" b="1" dirty="0" smtClean="0">
                <a:solidFill>
                  <a:schemeClr val="bg1"/>
                </a:solidFill>
              </a:rPr>
              <a:t> </a:t>
            </a:r>
            <a:r>
              <a:rPr lang="de-DE" sz="1600" b="1" dirty="0" err="1" smtClean="0">
                <a:solidFill>
                  <a:schemeClr val="bg1"/>
                </a:solidFill>
              </a:rPr>
              <a:t>offerings</a:t>
            </a:r>
            <a:endParaRPr lang="de-DE" sz="1600" b="1" dirty="0" smtClean="0">
              <a:solidFill>
                <a:schemeClr val="bg1"/>
              </a:solidFill>
            </a:endParaRPr>
          </a:p>
        </p:txBody>
      </p:sp>
      <p:sp>
        <p:nvSpPr>
          <p:cNvPr id="7" name="Textfeld 6"/>
          <p:cNvSpPr txBox="1"/>
          <p:nvPr/>
        </p:nvSpPr>
        <p:spPr>
          <a:xfrm>
            <a:off x="539750" y="1407939"/>
            <a:ext cx="3744218" cy="940941"/>
          </a:xfrm>
          <a:prstGeom prst="rect">
            <a:avLst/>
          </a:prstGeom>
          <a:noFill/>
        </p:spPr>
        <p:txBody>
          <a:bodyPr wrap="none" lIns="0" tIns="0" rIns="0" bIns="0" rtlCol="0">
            <a:noAutofit/>
          </a:bodyPr>
          <a:lstStyle/>
          <a:p>
            <a:pPr>
              <a:lnSpc>
                <a:spcPct val="110000"/>
              </a:lnSpc>
              <a:spcBef>
                <a:spcPts val="0"/>
              </a:spcBef>
            </a:pPr>
            <a:r>
              <a:rPr lang="de-DE" sz="1400" b="1" dirty="0" smtClean="0">
                <a:solidFill>
                  <a:schemeClr val="accent5"/>
                </a:solidFill>
              </a:rPr>
              <a:t/>
            </a:r>
            <a:br>
              <a:rPr lang="de-DE" sz="1400" b="1" dirty="0" smtClean="0">
                <a:solidFill>
                  <a:schemeClr val="accent5"/>
                </a:solidFill>
              </a:rPr>
            </a:br>
            <a:r>
              <a:rPr lang="de-DE" sz="1400" b="1" dirty="0" err="1" smtClean="0">
                <a:solidFill>
                  <a:schemeClr val="accent5"/>
                </a:solidFill>
              </a:rPr>
              <a:t>What</a:t>
            </a:r>
            <a:r>
              <a:rPr lang="de-DE" sz="1400" b="1" dirty="0" smtClean="0">
                <a:solidFill>
                  <a:schemeClr val="accent5"/>
                </a:solidFill>
              </a:rPr>
              <a:t> </a:t>
            </a:r>
            <a:r>
              <a:rPr lang="de-DE" sz="1400" b="1" dirty="0" err="1" smtClean="0">
                <a:solidFill>
                  <a:schemeClr val="accent5"/>
                </a:solidFill>
              </a:rPr>
              <a:t>we</a:t>
            </a:r>
            <a:r>
              <a:rPr lang="de-DE" sz="1400" b="1" dirty="0" smtClean="0">
                <a:solidFill>
                  <a:schemeClr val="accent5"/>
                </a:solidFill>
              </a:rPr>
              <a:t> </a:t>
            </a:r>
            <a:r>
              <a:rPr lang="de-DE" sz="1400" b="1" dirty="0" err="1" smtClean="0">
                <a:solidFill>
                  <a:schemeClr val="accent5"/>
                </a:solidFill>
              </a:rPr>
              <a:t>can</a:t>
            </a:r>
            <a:r>
              <a:rPr lang="de-DE" sz="1400" b="1" dirty="0" smtClean="0">
                <a:solidFill>
                  <a:schemeClr val="accent5"/>
                </a:solidFill>
              </a:rPr>
              <a:t> do </a:t>
            </a:r>
            <a:r>
              <a:rPr lang="de-DE" sz="1400" b="1" dirty="0" err="1" smtClean="0">
                <a:solidFill>
                  <a:schemeClr val="accent5"/>
                </a:solidFill>
              </a:rPr>
              <a:t>as</a:t>
            </a:r>
            <a:r>
              <a:rPr lang="de-DE" sz="1400" b="1" dirty="0" smtClean="0">
                <a:solidFill>
                  <a:schemeClr val="accent5"/>
                </a:solidFill>
              </a:rPr>
              <a:t> an </a:t>
            </a:r>
            <a:r>
              <a:rPr lang="de-DE" sz="1400" b="1" dirty="0" err="1" smtClean="0">
                <a:solidFill>
                  <a:schemeClr val="accent5"/>
                </a:solidFill>
              </a:rPr>
              <a:t>industry</a:t>
            </a:r>
            <a:endParaRPr lang="en-GB" sz="1400" b="1" dirty="0" err="1" smtClean="0">
              <a:solidFill>
                <a:schemeClr val="accent5"/>
              </a:solidFill>
            </a:endParaRPr>
          </a:p>
        </p:txBody>
      </p:sp>
      <p:cxnSp>
        <p:nvCxnSpPr>
          <p:cNvPr id="8" name="Gerade Verbindung 7"/>
          <p:cNvCxnSpPr/>
          <p:nvPr/>
        </p:nvCxnSpPr>
        <p:spPr bwMode="auto">
          <a:xfrm>
            <a:off x="539750" y="1916832"/>
            <a:ext cx="3744218" cy="0"/>
          </a:xfrm>
          <a:prstGeom prst="line">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feld 10"/>
          <p:cNvSpPr txBox="1"/>
          <p:nvPr/>
        </p:nvSpPr>
        <p:spPr>
          <a:xfrm>
            <a:off x="5004495" y="1407939"/>
            <a:ext cx="3744218" cy="940941"/>
          </a:xfrm>
          <a:prstGeom prst="rect">
            <a:avLst/>
          </a:prstGeom>
          <a:noFill/>
        </p:spPr>
        <p:txBody>
          <a:bodyPr wrap="none" lIns="0" tIns="0" rIns="0" bIns="0" rtlCol="0">
            <a:noAutofit/>
          </a:bodyPr>
          <a:lstStyle/>
          <a:p>
            <a:pPr>
              <a:lnSpc>
                <a:spcPct val="110000"/>
              </a:lnSpc>
              <a:spcBef>
                <a:spcPts val="0"/>
              </a:spcBef>
            </a:pPr>
            <a:r>
              <a:rPr lang="de-DE" sz="1400" b="1" dirty="0" err="1" smtClean="0">
                <a:solidFill>
                  <a:schemeClr val="accent6"/>
                </a:solidFill>
              </a:rPr>
              <a:t>What</a:t>
            </a:r>
            <a:r>
              <a:rPr lang="de-DE" sz="1400" b="1" dirty="0" smtClean="0">
                <a:solidFill>
                  <a:schemeClr val="accent6"/>
                </a:solidFill>
              </a:rPr>
              <a:t> </a:t>
            </a:r>
            <a:r>
              <a:rPr lang="de-DE" sz="1400" b="1" dirty="0" err="1" smtClean="0">
                <a:solidFill>
                  <a:schemeClr val="accent6"/>
                </a:solidFill>
              </a:rPr>
              <a:t>governments</a:t>
            </a:r>
            <a:r>
              <a:rPr lang="de-DE" sz="1400" b="1" dirty="0" smtClean="0">
                <a:solidFill>
                  <a:schemeClr val="accent6"/>
                </a:solidFill>
              </a:rPr>
              <a:t> </a:t>
            </a:r>
            <a:r>
              <a:rPr lang="de-DE" sz="1400" b="1" dirty="0" err="1" smtClean="0">
                <a:solidFill>
                  <a:schemeClr val="accent6"/>
                </a:solidFill>
              </a:rPr>
              <a:t>and</a:t>
            </a:r>
            <a:r>
              <a:rPr lang="de-DE" sz="1400" b="1" dirty="0" smtClean="0">
                <a:solidFill>
                  <a:schemeClr val="accent6"/>
                </a:solidFill>
              </a:rPr>
              <a:t> </a:t>
            </a:r>
            <a:r>
              <a:rPr lang="de-DE" sz="1400" b="1" dirty="0" err="1" smtClean="0">
                <a:solidFill>
                  <a:schemeClr val="accent6"/>
                </a:solidFill>
              </a:rPr>
              <a:t>institutions</a:t>
            </a:r>
            <a:r>
              <a:rPr lang="de-DE" sz="1400" b="1" dirty="0" smtClean="0">
                <a:solidFill>
                  <a:schemeClr val="accent6"/>
                </a:solidFill>
              </a:rPr>
              <a:t> </a:t>
            </a:r>
            <a:br>
              <a:rPr lang="de-DE" sz="1400" b="1" dirty="0" smtClean="0">
                <a:solidFill>
                  <a:schemeClr val="accent6"/>
                </a:solidFill>
              </a:rPr>
            </a:br>
            <a:r>
              <a:rPr lang="de-DE" sz="1400" b="1" dirty="0" err="1" smtClean="0">
                <a:solidFill>
                  <a:schemeClr val="accent6"/>
                </a:solidFill>
              </a:rPr>
              <a:t>can</a:t>
            </a:r>
            <a:r>
              <a:rPr lang="de-DE" sz="1400" b="1" dirty="0" smtClean="0">
                <a:solidFill>
                  <a:schemeClr val="accent6"/>
                </a:solidFill>
              </a:rPr>
              <a:t> </a:t>
            </a:r>
            <a:r>
              <a:rPr lang="de-DE" sz="1400" b="1" dirty="0" err="1" smtClean="0">
                <a:solidFill>
                  <a:schemeClr val="accent6"/>
                </a:solidFill>
              </a:rPr>
              <a:t>contribute</a:t>
            </a:r>
            <a:endParaRPr lang="en-GB" sz="1400" b="1" dirty="0" err="1" smtClean="0">
              <a:solidFill>
                <a:schemeClr val="accent6"/>
              </a:solidFill>
            </a:endParaRPr>
          </a:p>
        </p:txBody>
      </p:sp>
      <p:cxnSp>
        <p:nvCxnSpPr>
          <p:cNvPr id="12" name="Gerade Verbindung 11"/>
          <p:cNvCxnSpPr/>
          <p:nvPr/>
        </p:nvCxnSpPr>
        <p:spPr bwMode="auto">
          <a:xfrm>
            <a:off x="5004495" y="1916832"/>
            <a:ext cx="3744218" cy="0"/>
          </a:xfrm>
          <a:prstGeom prst="line">
            <a:avLst/>
          </a:prstGeom>
          <a:solidFill>
            <a:schemeClr val="tx2"/>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Rechteck 21"/>
          <p:cNvSpPr/>
          <p:nvPr/>
        </p:nvSpPr>
        <p:spPr bwMode="auto">
          <a:xfrm>
            <a:off x="4987213" y="2024844"/>
            <a:ext cx="3744218" cy="1296144"/>
          </a:xfrm>
          <a:prstGeom prst="rect">
            <a:avLst/>
          </a:prstGeom>
          <a:solidFill>
            <a:schemeClr val="accent6"/>
          </a:solidFill>
          <a:ln>
            <a:no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Market-</a:t>
            </a:r>
            <a:r>
              <a:rPr lang="de-DE" sz="1600" b="1" dirty="0" err="1" smtClean="0">
                <a:solidFill>
                  <a:schemeClr val="bg1"/>
                </a:solidFill>
              </a:rPr>
              <a:t>based</a:t>
            </a:r>
            <a:r>
              <a:rPr lang="de-DE" sz="1600" b="1" dirty="0" smtClean="0">
                <a:solidFill>
                  <a:schemeClr val="bg1"/>
                </a:solidFill>
              </a:rPr>
              <a:t> </a:t>
            </a:r>
            <a:r>
              <a:rPr lang="de-DE" sz="1600" b="1" dirty="0" err="1" smtClean="0">
                <a:solidFill>
                  <a:schemeClr val="bg1"/>
                </a:solidFill>
              </a:rPr>
              <a:t>support</a:t>
            </a:r>
            <a:r>
              <a:rPr lang="de-DE" sz="1600" b="1" dirty="0" smtClean="0">
                <a:solidFill>
                  <a:schemeClr val="bg1"/>
                </a:solidFill>
              </a:rPr>
              <a:t> </a:t>
            </a:r>
            <a:r>
              <a:rPr lang="de-DE" sz="1600" b="1" dirty="0" err="1" smtClean="0">
                <a:solidFill>
                  <a:schemeClr val="bg1"/>
                </a:solidFill>
              </a:rPr>
              <a:t>schemes</a:t>
            </a:r>
            <a:r>
              <a:rPr lang="de-DE" sz="1600" b="1" dirty="0" smtClean="0">
                <a:solidFill>
                  <a:schemeClr val="bg1"/>
                </a:solidFill>
              </a:rPr>
              <a:t> </a:t>
            </a:r>
            <a:r>
              <a:rPr lang="de-DE" sz="1600" b="1" dirty="0" err="1" smtClean="0">
                <a:solidFill>
                  <a:schemeClr val="bg1"/>
                </a:solidFill>
              </a:rPr>
              <a:t>and</a:t>
            </a:r>
            <a:r>
              <a:rPr lang="de-DE" sz="1600" b="1" dirty="0" smtClean="0">
                <a:solidFill>
                  <a:schemeClr val="bg1"/>
                </a:solidFill>
              </a:rPr>
              <a:t> </a:t>
            </a:r>
            <a:r>
              <a:rPr lang="de-DE" sz="1600" b="1" dirty="0" err="1" smtClean="0">
                <a:solidFill>
                  <a:schemeClr val="bg1"/>
                </a:solidFill>
              </a:rPr>
              <a:t>reliable</a:t>
            </a:r>
            <a:r>
              <a:rPr lang="de-DE" sz="1600" b="1" dirty="0" smtClean="0">
                <a:solidFill>
                  <a:schemeClr val="bg1"/>
                </a:solidFill>
              </a:rPr>
              <a:t> </a:t>
            </a:r>
            <a:r>
              <a:rPr lang="de-DE" sz="1600" b="1" dirty="0" err="1" smtClean="0">
                <a:solidFill>
                  <a:schemeClr val="bg1"/>
                </a:solidFill>
              </a:rPr>
              <a:t>boundary</a:t>
            </a:r>
            <a:r>
              <a:rPr lang="de-DE" sz="1600" b="1" dirty="0" smtClean="0">
                <a:solidFill>
                  <a:schemeClr val="bg1"/>
                </a:solidFill>
              </a:rPr>
              <a:t> </a:t>
            </a:r>
            <a:r>
              <a:rPr lang="de-DE" sz="1600" b="1" dirty="0" err="1" smtClean="0">
                <a:solidFill>
                  <a:schemeClr val="bg1"/>
                </a:solidFill>
              </a:rPr>
              <a:t>conditions</a:t>
            </a:r>
            <a:endParaRPr lang="de-DE" sz="1600" b="1" dirty="0" smtClean="0">
              <a:solidFill>
                <a:schemeClr val="bg1"/>
              </a:solidFill>
            </a:endParaRPr>
          </a:p>
        </p:txBody>
      </p:sp>
      <p:sp>
        <p:nvSpPr>
          <p:cNvPr id="23" name="Rechteck 22"/>
          <p:cNvSpPr/>
          <p:nvPr/>
        </p:nvSpPr>
        <p:spPr bwMode="auto">
          <a:xfrm>
            <a:off x="4987213" y="3447002"/>
            <a:ext cx="3744218" cy="1296144"/>
          </a:xfrm>
          <a:prstGeom prst="rect">
            <a:avLst/>
          </a:prstGeom>
          <a:solidFill>
            <a:schemeClr val="accent6"/>
          </a:solidFill>
          <a:ln>
            <a:no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Create a </a:t>
            </a:r>
            <a:r>
              <a:rPr lang="de-DE" sz="1600" b="1" dirty="0" err="1" smtClean="0">
                <a:solidFill>
                  <a:schemeClr val="bg1"/>
                </a:solidFill>
              </a:rPr>
              <a:t>level</a:t>
            </a:r>
            <a:r>
              <a:rPr lang="de-DE" sz="1600" b="1" dirty="0" smtClean="0">
                <a:solidFill>
                  <a:schemeClr val="bg1"/>
                </a:solidFill>
              </a:rPr>
              <a:t> </a:t>
            </a:r>
            <a:r>
              <a:rPr lang="de-DE" sz="1600" b="1" dirty="0" err="1" smtClean="0">
                <a:solidFill>
                  <a:schemeClr val="bg1"/>
                </a:solidFill>
              </a:rPr>
              <a:t>playing</a:t>
            </a:r>
            <a:r>
              <a:rPr lang="de-DE" sz="1600" b="1" dirty="0" smtClean="0">
                <a:solidFill>
                  <a:schemeClr val="bg1"/>
                </a:solidFill>
              </a:rPr>
              <a:t> </a:t>
            </a:r>
            <a:r>
              <a:rPr lang="de-DE" sz="1600" b="1" dirty="0" err="1" smtClean="0">
                <a:solidFill>
                  <a:schemeClr val="bg1"/>
                </a:solidFill>
              </a:rPr>
              <a:t>field</a:t>
            </a:r>
            <a:r>
              <a:rPr lang="de-DE" sz="1600" b="1" dirty="0" smtClean="0">
                <a:solidFill>
                  <a:schemeClr val="bg1"/>
                </a:solidFill>
              </a:rPr>
              <a:t>: </a:t>
            </a:r>
            <a:br>
              <a:rPr lang="de-DE" sz="1600" b="1" dirty="0" smtClean="0">
                <a:solidFill>
                  <a:schemeClr val="bg1"/>
                </a:solidFill>
              </a:rPr>
            </a:br>
            <a:r>
              <a:rPr lang="de-DE" sz="1600" b="1" dirty="0" smtClean="0">
                <a:solidFill>
                  <a:schemeClr val="bg1"/>
                </a:solidFill>
              </a:rPr>
              <a:t>Phase-out </a:t>
            </a:r>
            <a:r>
              <a:rPr lang="de-DE" sz="1600" b="1" dirty="0" err="1" smtClean="0">
                <a:solidFill>
                  <a:schemeClr val="bg1"/>
                </a:solidFill>
              </a:rPr>
              <a:t>subsidies</a:t>
            </a:r>
            <a:r>
              <a:rPr lang="de-DE" sz="1600" b="1" dirty="0" smtClean="0">
                <a:solidFill>
                  <a:schemeClr val="bg1"/>
                </a:solidFill>
              </a:rPr>
              <a:t> </a:t>
            </a:r>
            <a:r>
              <a:rPr lang="de-DE" sz="1600" b="1" dirty="0" err="1" smtClean="0">
                <a:solidFill>
                  <a:schemeClr val="bg1"/>
                </a:solidFill>
              </a:rPr>
              <a:t>for</a:t>
            </a:r>
            <a:r>
              <a:rPr lang="de-DE" sz="1600" b="1" dirty="0" smtClean="0">
                <a:solidFill>
                  <a:schemeClr val="bg1"/>
                </a:solidFill>
              </a:rPr>
              <a:t> all </a:t>
            </a:r>
            <a:r>
              <a:rPr lang="de-DE" sz="1600" b="1" dirty="0" err="1" smtClean="0">
                <a:solidFill>
                  <a:schemeClr val="bg1"/>
                </a:solidFill>
              </a:rPr>
              <a:t>mature</a:t>
            </a:r>
            <a:r>
              <a:rPr lang="de-DE" sz="1600" b="1" dirty="0" smtClean="0">
                <a:solidFill>
                  <a:schemeClr val="bg1"/>
                </a:solidFill>
              </a:rPr>
              <a:t> </a:t>
            </a:r>
            <a:r>
              <a:rPr lang="de-DE" sz="1600" b="1" dirty="0" err="1" smtClean="0">
                <a:solidFill>
                  <a:schemeClr val="bg1"/>
                </a:solidFill>
              </a:rPr>
              <a:t>technologies</a:t>
            </a:r>
            <a:endParaRPr lang="de-DE" sz="1600" b="1" dirty="0" smtClean="0">
              <a:solidFill>
                <a:schemeClr val="bg1"/>
              </a:solidFill>
            </a:endParaRPr>
          </a:p>
        </p:txBody>
      </p:sp>
      <p:sp>
        <p:nvSpPr>
          <p:cNvPr id="24" name="Rechteck 23"/>
          <p:cNvSpPr/>
          <p:nvPr/>
        </p:nvSpPr>
        <p:spPr bwMode="auto">
          <a:xfrm>
            <a:off x="4987213" y="4869160"/>
            <a:ext cx="3744218" cy="1296144"/>
          </a:xfrm>
          <a:prstGeom prst="rect">
            <a:avLst/>
          </a:prstGeom>
          <a:solidFill>
            <a:schemeClr val="accent6"/>
          </a:solidFill>
          <a:ln>
            <a:no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r>
              <a:rPr lang="de-DE" sz="1600" b="1" dirty="0" smtClean="0">
                <a:solidFill>
                  <a:schemeClr val="bg1"/>
                </a:solidFill>
              </a:rPr>
              <a:t>Design </a:t>
            </a:r>
            <a:r>
              <a:rPr lang="de-DE" sz="1600" b="1" dirty="0" err="1" smtClean="0">
                <a:solidFill>
                  <a:schemeClr val="bg1"/>
                </a:solidFill>
              </a:rPr>
              <a:t>and</a:t>
            </a:r>
            <a:r>
              <a:rPr lang="de-DE" sz="1600" b="1" dirty="0" smtClean="0">
                <a:solidFill>
                  <a:schemeClr val="bg1"/>
                </a:solidFill>
              </a:rPr>
              <a:t> </a:t>
            </a:r>
            <a:r>
              <a:rPr lang="de-DE" sz="1600" b="1" dirty="0" err="1" smtClean="0">
                <a:solidFill>
                  <a:schemeClr val="bg1"/>
                </a:solidFill>
              </a:rPr>
              <a:t>implement</a:t>
            </a:r>
            <a:r>
              <a:rPr lang="de-DE" sz="1600" b="1" dirty="0" smtClean="0">
                <a:solidFill>
                  <a:schemeClr val="bg1"/>
                </a:solidFill>
              </a:rPr>
              <a:t> an </a:t>
            </a:r>
            <a:r>
              <a:rPr lang="de-DE" sz="1600" b="1" dirty="0" err="1" smtClean="0">
                <a:solidFill>
                  <a:schemeClr val="bg1"/>
                </a:solidFill>
              </a:rPr>
              <a:t>energy</a:t>
            </a:r>
            <a:r>
              <a:rPr lang="de-DE" sz="1600" b="1" dirty="0" smtClean="0">
                <a:solidFill>
                  <a:schemeClr val="bg1"/>
                </a:solidFill>
              </a:rPr>
              <a:t> </a:t>
            </a:r>
            <a:r>
              <a:rPr lang="de-DE" sz="1600" b="1" dirty="0" err="1" smtClean="0">
                <a:solidFill>
                  <a:schemeClr val="bg1"/>
                </a:solidFill>
              </a:rPr>
              <a:t>system</a:t>
            </a:r>
            <a:r>
              <a:rPr lang="de-DE" sz="1600" b="1" dirty="0" smtClean="0">
                <a:solidFill>
                  <a:schemeClr val="bg1"/>
                </a:solidFill>
              </a:rPr>
              <a:t> </a:t>
            </a:r>
            <a:r>
              <a:rPr lang="de-DE" sz="1600" b="1" dirty="0" err="1" smtClean="0">
                <a:solidFill>
                  <a:schemeClr val="bg1"/>
                </a:solidFill>
              </a:rPr>
              <a:t>master</a:t>
            </a:r>
            <a:r>
              <a:rPr lang="de-DE" sz="1600" b="1" dirty="0" smtClean="0">
                <a:solidFill>
                  <a:schemeClr val="bg1"/>
                </a:solidFill>
              </a:rPr>
              <a:t> plan:</a:t>
            </a:r>
            <a:br>
              <a:rPr lang="de-DE" sz="1600" b="1" dirty="0" smtClean="0">
                <a:solidFill>
                  <a:schemeClr val="bg1"/>
                </a:solidFill>
              </a:rPr>
            </a:br>
            <a:r>
              <a:rPr lang="de-DE" sz="1600" b="1" dirty="0" err="1" smtClean="0">
                <a:solidFill>
                  <a:schemeClr val="bg1"/>
                </a:solidFill>
              </a:rPr>
              <a:t>Ensure</a:t>
            </a:r>
            <a:r>
              <a:rPr lang="de-DE" sz="1600" b="1" dirty="0" smtClean="0">
                <a:solidFill>
                  <a:schemeClr val="bg1"/>
                </a:solidFill>
              </a:rPr>
              <a:t> positive </a:t>
            </a:r>
            <a:r>
              <a:rPr lang="de-DE" sz="1600" b="1" dirty="0" err="1" smtClean="0">
                <a:solidFill>
                  <a:schemeClr val="bg1"/>
                </a:solidFill>
              </a:rPr>
              <a:t>business</a:t>
            </a:r>
            <a:r>
              <a:rPr lang="de-DE" sz="1600" b="1" dirty="0" smtClean="0">
                <a:solidFill>
                  <a:schemeClr val="bg1"/>
                </a:solidFill>
              </a:rPr>
              <a:t> </a:t>
            </a:r>
            <a:r>
              <a:rPr lang="de-DE" sz="1600" b="1" dirty="0" err="1" smtClean="0">
                <a:solidFill>
                  <a:schemeClr val="bg1"/>
                </a:solidFill>
              </a:rPr>
              <a:t>case</a:t>
            </a:r>
            <a:r>
              <a:rPr lang="de-DE" sz="1600" b="1" dirty="0" smtClean="0">
                <a:solidFill>
                  <a:schemeClr val="bg1"/>
                </a:solidFill>
              </a:rPr>
              <a:t> </a:t>
            </a:r>
            <a:r>
              <a:rPr lang="de-DE" sz="1600" b="1" dirty="0" err="1" smtClean="0">
                <a:solidFill>
                  <a:schemeClr val="bg1"/>
                </a:solidFill>
              </a:rPr>
              <a:t>for</a:t>
            </a:r>
            <a:r>
              <a:rPr lang="de-DE" sz="1600" b="1" dirty="0" smtClean="0">
                <a:solidFill>
                  <a:schemeClr val="bg1"/>
                </a:solidFill>
              </a:rPr>
              <a:t> all </a:t>
            </a:r>
            <a:r>
              <a:rPr lang="de-DE" sz="1600" b="1" dirty="0" err="1" smtClean="0">
                <a:solidFill>
                  <a:schemeClr val="bg1"/>
                </a:solidFill>
              </a:rPr>
              <a:t>necessary</a:t>
            </a:r>
            <a:r>
              <a:rPr lang="de-DE" sz="1600" b="1" dirty="0" smtClean="0">
                <a:solidFill>
                  <a:schemeClr val="bg1"/>
                </a:solidFill>
              </a:rPr>
              <a:t> </a:t>
            </a:r>
            <a:r>
              <a:rPr lang="de-DE" sz="1600" b="1" dirty="0" err="1" smtClean="0">
                <a:solidFill>
                  <a:schemeClr val="bg1"/>
                </a:solidFill>
              </a:rPr>
              <a:t>players</a:t>
            </a:r>
            <a:r>
              <a:rPr lang="de-DE" sz="1600" b="1" dirty="0" smtClean="0">
                <a:solidFill>
                  <a:schemeClr val="bg1"/>
                </a:solidFill>
              </a:rPr>
              <a:t> (e.g. </a:t>
            </a:r>
            <a:r>
              <a:rPr lang="de-DE" sz="1600" b="1" dirty="0" err="1" smtClean="0">
                <a:solidFill>
                  <a:schemeClr val="bg1"/>
                </a:solidFill>
              </a:rPr>
              <a:t>storage</a:t>
            </a:r>
            <a:r>
              <a:rPr lang="de-DE" sz="1600" b="1" dirty="0" smtClean="0">
                <a:solidFill>
                  <a:schemeClr val="bg1"/>
                </a:solidFill>
              </a:rPr>
              <a:t>)</a:t>
            </a:r>
          </a:p>
        </p:txBody>
      </p:sp>
      <p:sp>
        <p:nvSpPr>
          <p:cNvPr id="25" name="Rechteck 24"/>
          <p:cNvSpPr/>
          <p:nvPr/>
        </p:nvSpPr>
        <p:spPr bwMode="auto">
          <a:xfrm>
            <a:off x="539750" y="2024844"/>
            <a:ext cx="1295946" cy="1296144"/>
          </a:xfrm>
          <a:prstGeom prst="rect">
            <a:avLst/>
          </a:prstGeom>
          <a:solidFill>
            <a:schemeClr val="bg1"/>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endParaRPr lang="de-DE" sz="1600" b="1" dirty="0" smtClean="0">
              <a:solidFill>
                <a:schemeClr val="bg1"/>
              </a:solidFill>
            </a:endParaRPr>
          </a:p>
        </p:txBody>
      </p:sp>
      <p:sp>
        <p:nvSpPr>
          <p:cNvPr id="28" name="Rechteck 27"/>
          <p:cNvSpPr/>
          <p:nvPr/>
        </p:nvSpPr>
        <p:spPr bwMode="auto">
          <a:xfrm>
            <a:off x="539750" y="3447002"/>
            <a:ext cx="1295946" cy="1296144"/>
          </a:xfrm>
          <a:prstGeom prst="rect">
            <a:avLst/>
          </a:prstGeom>
          <a:solidFill>
            <a:schemeClr val="bg1"/>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endParaRPr lang="de-DE" sz="1600" b="1" dirty="0" smtClean="0">
              <a:solidFill>
                <a:schemeClr val="bg1"/>
              </a:solidFill>
            </a:endParaRPr>
          </a:p>
        </p:txBody>
      </p:sp>
      <p:sp>
        <p:nvSpPr>
          <p:cNvPr id="29" name="Rechteck 28"/>
          <p:cNvSpPr/>
          <p:nvPr/>
        </p:nvSpPr>
        <p:spPr bwMode="auto">
          <a:xfrm>
            <a:off x="539750" y="4869160"/>
            <a:ext cx="1295946" cy="1296144"/>
          </a:xfrm>
          <a:prstGeom prst="rect">
            <a:avLst/>
          </a:prstGeom>
          <a:solidFill>
            <a:schemeClr val="bg1"/>
          </a:solidFill>
          <a:ln w="28575">
            <a:solidFill>
              <a:schemeClr val="accent5"/>
            </a:solidFill>
          </a:ln>
          <a:effectLst/>
          <a:extLst/>
        </p:spPr>
        <p:txBody>
          <a:bodyPr wrap="square" lIns="36000" tIns="36000" rIns="36000" bIns="36000" numCol="1" spcCol="72000" rtlCol="0" anchor="ctr">
            <a:noAutofit/>
          </a:bodyPr>
          <a:lstStyle/>
          <a:p>
            <a:pPr algn="ctr">
              <a:lnSpc>
                <a:spcPct val="110000"/>
              </a:lnSpc>
              <a:spcBef>
                <a:spcPct val="0"/>
              </a:spcBef>
              <a:buFont typeface="Wingdings" charset="0"/>
              <a:buNone/>
            </a:pPr>
            <a:endParaRPr lang="de-DE" sz="1600" b="1" dirty="0" smtClean="0">
              <a:solidFill>
                <a:schemeClr val="bg1"/>
              </a:solidFill>
            </a:endParaRPr>
          </a:p>
        </p:txBody>
      </p:sp>
      <p:cxnSp>
        <p:nvCxnSpPr>
          <p:cNvPr id="30" name="Gerade Verbindung 29"/>
          <p:cNvCxnSpPr/>
          <p:nvPr/>
        </p:nvCxnSpPr>
        <p:spPr bwMode="auto">
          <a:xfrm>
            <a:off x="497308" y="5049180"/>
            <a:ext cx="1238922" cy="1"/>
          </a:xfrm>
          <a:prstGeom prst="line">
            <a:avLst/>
          </a:prstGeom>
          <a:solidFill>
            <a:schemeClr val="tx2"/>
          </a:solid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31" name="Group 2"/>
          <p:cNvGrpSpPr>
            <a:grpSpLocks noChangeAspect="1"/>
          </p:cNvGrpSpPr>
          <p:nvPr/>
        </p:nvGrpSpPr>
        <p:grpSpPr bwMode="auto">
          <a:xfrm>
            <a:off x="669230" y="5317143"/>
            <a:ext cx="1069358" cy="558043"/>
            <a:chOff x="512" y="1154"/>
            <a:chExt cx="4714" cy="2460"/>
          </a:xfrm>
          <a:solidFill>
            <a:schemeClr val="accent5"/>
          </a:solidFill>
        </p:grpSpPr>
        <p:sp>
          <p:nvSpPr>
            <p:cNvPr id="32" name="Freeform 449"/>
            <p:cNvSpPr>
              <a:spLocks/>
            </p:cNvSpPr>
            <p:nvPr>
              <p:custDataLst>
                <p:tags r:id="rId1"/>
              </p:custDataLst>
            </p:nvPr>
          </p:nvSpPr>
          <p:spPr bwMode="auto">
            <a:xfrm>
              <a:off x="1046" y="1968"/>
              <a:ext cx="72" cy="43"/>
            </a:xfrm>
            <a:custGeom>
              <a:avLst/>
              <a:gdLst>
                <a:gd name="T0" fmla="*/ 5443 w 42"/>
                <a:gd name="T1" fmla="*/ 2968 h 23"/>
                <a:gd name="T2" fmla="*/ 19050 w 42"/>
                <a:gd name="T3" fmla="*/ 2968 h 23"/>
                <a:gd name="T4" fmla="*/ 38100 w 42"/>
                <a:gd name="T5" fmla="*/ 14840 h 23"/>
                <a:gd name="T6" fmla="*/ 57150 w 42"/>
                <a:gd name="T7" fmla="*/ 23744 h 23"/>
                <a:gd name="T8" fmla="*/ 78921 w 42"/>
                <a:gd name="T9" fmla="*/ 38583 h 23"/>
                <a:gd name="T10" fmla="*/ 108857 w 42"/>
                <a:gd name="T11" fmla="*/ 56391 h 23"/>
                <a:gd name="T12" fmla="*/ 114300 w 42"/>
                <a:gd name="T13" fmla="*/ 68263 h 23"/>
                <a:gd name="T14" fmla="*/ 106136 w 42"/>
                <a:gd name="T15" fmla="*/ 68263 h 23"/>
                <a:gd name="T16" fmla="*/ 100693 w 42"/>
                <a:gd name="T17" fmla="*/ 68263 h 23"/>
                <a:gd name="T18" fmla="*/ 62593 w 42"/>
                <a:gd name="T19" fmla="*/ 59359 h 23"/>
                <a:gd name="T20" fmla="*/ 27214 w 42"/>
                <a:gd name="T21" fmla="*/ 29680 h 23"/>
                <a:gd name="T22" fmla="*/ 8164 w 42"/>
                <a:gd name="T23" fmla="*/ 11872 h 23"/>
                <a:gd name="T24" fmla="*/ 5443 w 42"/>
                <a:gd name="T25" fmla="*/ 2968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23">
                  <a:moveTo>
                    <a:pt x="2" y="1"/>
                  </a:moveTo>
                  <a:cubicBezTo>
                    <a:pt x="4" y="0"/>
                    <a:pt x="6" y="0"/>
                    <a:pt x="7" y="1"/>
                  </a:cubicBezTo>
                  <a:cubicBezTo>
                    <a:pt x="8" y="2"/>
                    <a:pt x="12" y="5"/>
                    <a:pt x="14" y="5"/>
                  </a:cubicBezTo>
                  <a:cubicBezTo>
                    <a:pt x="16" y="6"/>
                    <a:pt x="19" y="7"/>
                    <a:pt x="21" y="8"/>
                  </a:cubicBezTo>
                  <a:cubicBezTo>
                    <a:pt x="24" y="9"/>
                    <a:pt x="26" y="11"/>
                    <a:pt x="29" y="13"/>
                  </a:cubicBezTo>
                  <a:cubicBezTo>
                    <a:pt x="31" y="16"/>
                    <a:pt x="38" y="18"/>
                    <a:pt x="40" y="19"/>
                  </a:cubicBezTo>
                  <a:cubicBezTo>
                    <a:pt x="42" y="20"/>
                    <a:pt x="42" y="23"/>
                    <a:pt x="42" y="23"/>
                  </a:cubicBezTo>
                  <a:cubicBezTo>
                    <a:pt x="41" y="23"/>
                    <a:pt x="40" y="23"/>
                    <a:pt x="39" y="23"/>
                  </a:cubicBezTo>
                  <a:cubicBezTo>
                    <a:pt x="38" y="23"/>
                    <a:pt x="37" y="23"/>
                    <a:pt x="37" y="23"/>
                  </a:cubicBezTo>
                  <a:cubicBezTo>
                    <a:pt x="35" y="23"/>
                    <a:pt x="26" y="21"/>
                    <a:pt x="23" y="20"/>
                  </a:cubicBezTo>
                  <a:cubicBezTo>
                    <a:pt x="20" y="19"/>
                    <a:pt x="12" y="12"/>
                    <a:pt x="10" y="10"/>
                  </a:cubicBezTo>
                  <a:cubicBezTo>
                    <a:pt x="9" y="8"/>
                    <a:pt x="4" y="6"/>
                    <a:pt x="3" y="4"/>
                  </a:cubicBezTo>
                  <a:cubicBezTo>
                    <a:pt x="2" y="2"/>
                    <a:pt x="0" y="2"/>
                    <a:pt x="2" y="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3" name="Freeform 450"/>
            <p:cNvSpPr>
              <a:spLocks/>
            </p:cNvSpPr>
            <p:nvPr>
              <p:custDataLst>
                <p:tags r:id="rId2"/>
              </p:custDataLst>
            </p:nvPr>
          </p:nvSpPr>
          <p:spPr bwMode="auto">
            <a:xfrm>
              <a:off x="986" y="1908"/>
              <a:ext cx="34" cy="46"/>
            </a:xfrm>
            <a:custGeom>
              <a:avLst/>
              <a:gdLst>
                <a:gd name="T0" fmla="*/ 26988 w 20"/>
                <a:gd name="T1" fmla="*/ 52578 h 25"/>
                <a:gd name="T2" fmla="*/ 2699 w 20"/>
                <a:gd name="T3" fmla="*/ 20447 h 25"/>
                <a:gd name="T4" fmla="*/ 0 w 20"/>
                <a:gd name="T5" fmla="*/ 5842 h 25"/>
                <a:gd name="T6" fmla="*/ 2699 w 20"/>
                <a:gd name="T7" fmla="*/ 0 h 25"/>
                <a:gd name="T8" fmla="*/ 29686 w 20"/>
                <a:gd name="T9" fmla="*/ 0 h 25"/>
                <a:gd name="T10" fmla="*/ 26988 w 20"/>
                <a:gd name="T11" fmla="*/ 14605 h 25"/>
                <a:gd name="T12" fmla="*/ 35084 w 20"/>
                <a:gd name="T13" fmla="*/ 35052 h 25"/>
                <a:gd name="T14" fmla="*/ 43180 w 20"/>
                <a:gd name="T15" fmla="*/ 49657 h 25"/>
                <a:gd name="T16" fmla="*/ 51276 w 20"/>
                <a:gd name="T17" fmla="*/ 64262 h 25"/>
                <a:gd name="T18" fmla="*/ 51276 w 20"/>
                <a:gd name="T19" fmla="*/ 70104 h 25"/>
                <a:gd name="T20" fmla="*/ 26988 w 20"/>
                <a:gd name="T21" fmla="*/ 52578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5">
                  <a:moveTo>
                    <a:pt x="10" y="18"/>
                  </a:moveTo>
                  <a:cubicBezTo>
                    <a:pt x="7" y="16"/>
                    <a:pt x="1" y="9"/>
                    <a:pt x="1" y="7"/>
                  </a:cubicBezTo>
                  <a:cubicBezTo>
                    <a:pt x="0" y="6"/>
                    <a:pt x="0" y="4"/>
                    <a:pt x="0" y="2"/>
                  </a:cubicBezTo>
                  <a:cubicBezTo>
                    <a:pt x="0" y="1"/>
                    <a:pt x="0" y="0"/>
                    <a:pt x="1" y="0"/>
                  </a:cubicBezTo>
                  <a:cubicBezTo>
                    <a:pt x="1" y="0"/>
                    <a:pt x="10" y="0"/>
                    <a:pt x="11" y="0"/>
                  </a:cubicBezTo>
                  <a:cubicBezTo>
                    <a:pt x="11" y="1"/>
                    <a:pt x="10" y="3"/>
                    <a:pt x="10" y="5"/>
                  </a:cubicBezTo>
                  <a:cubicBezTo>
                    <a:pt x="10" y="8"/>
                    <a:pt x="12" y="11"/>
                    <a:pt x="13" y="12"/>
                  </a:cubicBezTo>
                  <a:cubicBezTo>
                    <a:pt x="14" y="14"/>
                    <a:pt x="15" y="16"/>
                    <a:pt x="16" y="17"/>
                  </a:cubicBezTo>
                  <a:cubicBezTo>
                    <a:pt x="17" y="18"/>
                    <a:pt x="19" y="22"/>
                    <a:pt x="19" y="22"/>
                  </a:cubicBezTo>
                  <a:cubicBezTo>
                    <a:pt x="20" y="23"/>
                    <a:pt x="19" y="24"/>
                    <a:pt x="19" y="24"/>
                  </a:cubicBezTo>
                  <a:cubicBezTo>
                    <a:pt x="18" y="25"/>
                    <a:pt x="12" y="21"/>
                    <a:pt x="10"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4" name="Freeform 451"/>
            <p:cNvSpPr>
              <a:spLocks/>
            </p:cNvSpPr>
            <p:nvPr>
              <p:custDataLst>
                <p:tags r:id="rId3"/>
              </p:custDataLst>
            </p:nvPr>
          </p:nvSpPr>
          <p:spPr bwMode="auto">
            <a:xfrm>
              <a:off x="1952" y="1954"/>
              <a:ext cx="91" cy="90"/>
            </a:xfrm>
            <a:custGeom>
              <a:avLst/>
              <a:gdLst>
                <a:gd name="T0" fmla="*/ 5451 w 53"/>
                <a:gd name="T1" fmla="*/ 113717 h 49"/>
                <a:gd name="T2" fmla="*/ 2726 w 53"/>
                <a:gd name="T3" fmla="*/ 102054 h 49"/>
                <a:gd name="T4" fmla="*/ 24531 w 53"/>
                <a:gd name="T5" fmla="*/ 87474 h 49"/>
                <a:gd name="T6" fmla="*/ 16354 w 53"/>
                <a:gd name="T7" fmla="*/ 75811 h 49"/>
                <a:gd name="T8" fmla="*/ 38160 w 53"/>
                <a:gd name="T9" fmla="*/ 43737 h 49"/>
                <a:gd name="T10" fmla="*/ 57240 w 53"/>
                <a:gd name="T11" fmla="*/ 14579 h 49"/>
                <a:gd name="T12" fmla="*/ 81772 w 53"/>
                <a:gd name="T13" fmla="*/ 0 h 49"/>
                <a:gd name="T14" fmla="*/ 76320 w 53"/>
                <a:gd name="T15" fmla="*/ 17495 h 49"/>
                <a:gd name="T16" fmla="*/ 54514 w 53"/>
                <a:gd name="T17" fmla="*/ 49569 h 49"/>
                <a:gd name="T18" fmla="*/ 79046 w 53"/>
                <a:gd name="T19" fmla="*/ 46653 h 49"/>
                <a:gd name="T20" fmla="*/ 89949 w 53"/>
                <a:gd name="T21" fmla="*/ 58316 h 49"/>
                <a:gd name="T22" fmla="*/ 114480 w 53"/>
                <a:gd name="T23" fmla="*/ 52485 h 49"/>
                <a:gd name="T24" fmla="*/ 122657 w 53"/>
                <a:gd name="T25" fmla="*/ 64148 h 49"/>
                <a:gd name="T26" fmla="*/ 119932 w 53"/>
                <a:gd name="T27" fmla="*/ 81643 h 49"/>
                <a:gd name="T28" fmla="*/ 133560 w 53"/>
                <a:gd name="T29" fmla="*/ 84559 h 49"/>
                <a:gd name="T30" fmla="*/ 122657 w 53"/>
                <a:gd name="T31" fmla="*/ 107885 h 49"/>
                <a:gd name="T32" fmla="*/ 141737 w 53"/>
                <a:gd name="T33" fmla="*/ 104969 h 49"/>
                <a:gd name="T34" fmla="*/ 130834 w 53"/>
                <a:gd name="T35" fmla="*/ 142875 h 49"/>
                <a:gd name="T36" fmla="*/ 111754 w 53"/>
                <a:gd name="T37" fmla="*/ 137043 h 49"/>
                <a:gd name="T38" fmla="*/ 106303 w 53"/>
                <a:gd name="T39" fmla="*/ 119548 h 49"/>
                <a:gd name="T40" fmla="*/ 84497 w 53"/>
                <a:gd name="T41" fmla="*/ 134128 h 49"/>
                <a:gd name="T42" fmla="*/ 70869 w 53"/>
                <a:gd name="T43" fmla="*/ 134128 h 49"/>
                <a:gd name="T44" fmla="*/ 81772 w 53"/>
                <a:gd name="T45" fmla="*/ 113717 h 49"/>
                <a:gd name="T46" fmla="*/ 68143 w 53"/>
                <a:gd name="T47" fmla="*/ 110801 h 49"/>
                <a:gd name="T48" fmla="*/ 46337 w 53"/>
                <a:gd name="T49" fmla="*/ 116633 h 49"/>
                <a:gd name="T50" fmla="*/ 27257 w 53"/>
                <a:gd name="T51" fmla="*/ 110801 h 49"/>
                <a:gd name="T52" fmla="*/ 5451 w 53"/>
                <a:gd name="T53" fmla="*/ 113717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3" h="49">
                  <a:moveTo>
                    <a:pt x="2" y="39"/>
                  </a:moveTo>
                  <a:cubicBezTo>
                    <a:pt x="0" y="39"/>
                    <a:pt x="0" y="36"/>
                    <a:pt x="1" y="35"/>
                  </a:cubicBezTo>
                  <a:cubicBezTo>
                    <a:pt x="1" y="34"/>
                    <a:pt x="9" y="31"/>
                    <a:pt x="9" y="30"/>
                  </a:cubicBezTo>
                  <a:cubicBezTo>
                    <a:pt x="9" y="29"/>
                    <a:pt x="5" y="28"/>
                    <a:pt x="6" y="26"/>
                  </a:cubicBezTo>
                  <a:cubicBezTo>
                    <a:pt x="6" y="25"/>
                    <a:pt x="13" y="17"/>
                    <a:pt x="14" y="15"/>
                  </a:cubicBezTo>
                  <a:cubicBezTo>
                    <a:pt x="14" y="13"/>
                    <a:pt x="18" y="6"/>
                    <a:pt x="21" y="5"/>
                  </a:cubicBezTo>
                  <a:cubicBezTo>
                    <a:pt x="23" y="4"/>
                    <a:pt x="28" y="0"/>
                    <a:pt x="30" y="0"/>
                  </a:cubicBezTo>
                  <a:cubicBezTo>
                    <a:pt x="31" y="0"/>
                    <a:pt x="29" y="4"/>
                    <a:pt x="28" y="6"/>
                  </a:cubicBezTo>
                  <a:cubicBezTo>
                    <a:pt x="27" y="9"/>
                    <a:pt x="20" y="16"/>
                    <a:pt x="20" y="17"/>
                  </a:cubicBezTo>
                  <a:cubicBezTo>
                    <a:pt x="22" y="19"/>
                    <a:pt x="27" y="15"/>
                    <a:pt x="29" y="16"/>
                  </a:cubicBezTo>
                  <a:cubicBezTo>
                    <a:pt x="31" y="17"/>
                    <a:pt x="31" y="20"/>
                    <a:pt x="33" y="20"/>
                  </a:cubicBezTo>
                  <a:cubicBezTo>
                    <a:pt x="35" y="20"/>
                    <a:pt x="39" y="17"/>
                    <a:pt x="42" y="18"/>
                  </a:cubicBezTo>
                  <a:cubicBezTo>
                    <a:pt x="44" y="19"/>
                    <a:pt x="45" y="20"/>
                    <a:pt x="45" y="22"/>
                  </a:cubicBezTo>
                  <a:cubicBezTo>
                    <a:pt x="46" y="23"/>
                    <a:pt x="42" y="27"/>
                    <a:pt x="44" y="28"/>
                  </a:cubicBezTo>
                  <a:cubicBezTo>
                    <a:pt x="45" y="30"/>
                    <a:pt x="48" y="28"/>
                    <a:pt x="49" y="29"/>
                  </a:cubicBezTo>
                  <a:cubicBezTo>
                    <a:pt x="50" y="29"/>
                    <a:pt x="43" y="36"/>
                    <a:pt x="45" y="37"/>
                  </a:cubicBezTo>
                  <a:cubicBezTo>
                    <a:pt x="47" y="39"/>
                    <a:pt x="51" y="36"/>
                    <a:pt x="52" y="36"/>
                  </a:cubicBezTo>
                  <a:cubicBezTo>
                    <a:pt x="53" y="37"/>
                    <a:pt x="49" y="49"/>
                    <a:pt x="48" y="49"/>
                  </a:cubicBezTo>
                  <a:cubicBezTo>
                    <a:pt x="46" y="49"/>
                    <a:pt x="41" y="49"/>
                    <a:pt x="41" y="47"/>
                  </a:cubicBezTo>
                  <a:cubicBezTo>
                    <a:pt x="41" y="45"/>
                    <a:pt x="42" y="42"/>
                    <a:pt x="39" y="41"/>
                  </a:cubicBezTo>
                  <a:cubicBezTo>
                    <a:pt x="37" y="41"/>
                    <a:pt x="34" y="46"/>
                    <a:pt x="31" y="46"/>
                  </a:cubicBezTo>
                  <a:cubicBezTo>
                    <a:pt x="28" y="46"/>
                    <a:pt x="26" y="47"/>
                    <a:pt x="26" y="46"/>
                  </a:cubicBezTo>
                  <a:cubicBezTo>
                    <a:pt x="25" y="44"/>
                    <a:pt x="31" y="40"/>
                    <a:pt x="30" y="39"/>
                  </a:cubicBezTo>
                  <a:cubicBezTo>
                    <a:pt x="30" y="37"/>
                    <a:pt x="27" y="38"/>
                    <a:pt x="25" y="38"/>
                  </a:cubicBezTo>
                  <a:cubicBezTo>
                    <a:pt x="23" y="38"/>
                    <a:pt x="20" y="41"/>
                    <a:pt x="17" y="40"/>
                  </a:cubicBezTo>
                  <a:cubicBezTo>
                    <a:pt x="14" y="40"/>
                    <a:pt x="12" y="39"/>
                    <a:pt x="10" y="38"/>
                  </a:cubicBezTo>
                  <a:cubicBezTo>
                    <a:pt x="8" y="38"/>
                    <a:pt x="4" y="39"/>
                    <a:pt x="2" y="3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5" name="Freeform 452"/>
            <p:cNvSpPr>
              <a:spLocks/>
            </p:cNvSpPr>
            <p:nvPr>
              <p:custDataLst>
                <p:tags r:id="rId4"/>
              </p:custDataLst>
            </p:nvPr>
          </p:nvSpPr>
          <p:spPr bwMode="auto">
            <a:xfrm>
              <a:off x="1891" y="1985"/>
              <a:ext cx="34" cy="19"/>
            </a:xfrm>
            <a:custGeom>
              <a:avLst/>
              <a:gdLst>
                <a:gd name="T0" fmla="*/ 2699 w 20"/>
                <a:gd name="T1" fmla="*/ 6033 h 10"/>
                <a:gd name="T2" fmla="*/ 8096 w 20"/>
                <a:gd name="T3" fmla="*/ 0 h 10"/>
                <a:gd name="T4" fmla="*/ 53975 w 20"/>
                <a:gd name="T5" fmla="*/ 18098 h 10"/>
                <a:gd name="T6" fmla="*/ 40481 w 20"/>
                <a:gd name="T7" fmla="*/ 30163 h 10"/>
                <a:gd name="T8" fmla="*/ 13494 w 20"/>
                <a:gd name="T9" fmla="*/ 18098 h 10"/>
                <a:gd name="T10" fmla="*/ 2699 w 20"/>
                <a:gd name="T11" fmla="*/ 6033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0">
                  <a:moveTo>
                    <a:pt x="1" y="2"/>
                  </a:moveTo>
                  <a:cubicBezTo>
                    <a:pt x="0" y="1"/>
                    <a:pt x="2" y="0"/>
                    <a:pt x="3" y="0"/>
                  </a:cubicBezTo>
                  <a:cubicBezTo>
                    <a:pt x="4" y="0"/>
                    <a:pt x="20" y="5"/>
                    <a:pt x="20" y="6"/>
                  </a:cubicBezTo>
                  <a:cubicBezTo>
                    <a:pt x="20" y="8"/>
                    <a:pt x="18" y="10"/>
                    <a:pt x="15" y="10"/>
                  </a:cubicBezTo>
                  <a:cubicBezTo>
                    <a:pt x="13" y="9"/>
                    <a:pt x="7" y="7"/>
                    <a:pt x="5" y="6"/>
                  </a:cubicBezTo>
                  <a:cubicBezTo>
                    <a:pt x="4" y="4"/>
                    <a:pt x="2" y="2"/>
                    <a:pt x="1"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6" name="Freeform 453"/>
            <p:cNvSpPr>
              <a:spLocks/>
            </p:cNvSpPr>
            <p:nvPr>
              <p:custDataLst>
                <p:tags r:id="rId5"/>
              </p:custDataLst>
            </p:nvPr>
          </p:nvSpPr>
          <p:spPr bwMode="auto">
            <a:xfrm>
              <a:off x="1718" y="1600"/>
              <a:ext cx="33" cy="25"/>
            </a:xfrm>
            <a:custGeom>
              <a:avLst/>
              <a:gdLst>
                <a:gd name="T0" fmla="*/ 8272 w 19"/>
                <a:gd name="T1" fmla="*/ 39688 h 14"/>
                <a:gd name="T2" fmla="*/ 2757 w 19"/>
                <a:gd name="T3" fmla="*/ 19844 h 14"/>
                <a:gd name="T4" fmla="*/ 22058 w 19"/>
                <a:gd name="T5" fmla="*/ 0 h 14"/>
                <a:gd name="T6" fmla="*/ 46873 w 19"/>
                <a:gd name="T7" fmla="*/ 2835 h 14"/>
                <a:gd name="T8" fmla="*/ 46873 w 19"/>
                <a:gd name="T9" fmla="*/ 25514 h 14"/>
                <a:gd name="T10" fmla="*/ 35844 w 19"/>
                <a:gd name="T11" fmla="*/ 36853 h 14"/>
                <a:gd name="T12" fmla="*/ 8272 w 19"/>
                <a:gd name="T13" fmla="*/ 39688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14">
                  <a:moveTo>
                    <a:pt x="3" y="14"/>
                  </a:moveTo>
                  <a:cubicBezTo>
                    <a:pt x="0" y="14"/>
                    <a:pt x="0" y="9"/>
                    <a:pt x="1" y="7"/>
                  </a:cubicBezTo>
                  <a:cubicBezTo>
                    <a:pt x="2" y="5"/>
                    <a:pt x="6" y="0"/>
                    <a:pt x="8" y="0"/>
                  </a:cubicBezTo>
                  <a:cubicBezTo>
                    <a:pt x="8" y="0"/>
                    <a:pt x="16" y="0"/>
                    <a:pt x="17" y="1"/>
                  </a:cubicBezTo>
                  <a:cubicBezTo>
                    <a:pt x="19" y="1"/>
                    <a:pt x="17" y="7"/>
                    <a:pt x="17" y="9"/>
                  </a:cubicBezTo>
                  <a:cubicBezTo>
                    <a:pt x="17" y="11"/>
                    <a:pt x="15" y="13"/>
                    <a:pt x="13" y="13"/>
                  </a:cubicBezTo>
                  <a:cubicBezTo>
                    <a:pt x="11" y="14"/>
                    <a:pt x="5" y="14"/>
                    <a:pt x="3"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7" name="Freeform 454"/>
            <p:cNvSpPr>
              <a:spLocks/>
            </p:cNvSpPr>
            <p:nvPr>
              <p:custDataLst>
                <p:tags r:id="rId6"/>
              </p:custDataLst>
            </p:nvPr>
          </p:nvSpPr>
          <p:spPr bwMode="auto">
            <a:xfrm>
              <a:off x="1679" y="1732"/>
              <a:ext cx="15" cy="22"/>
            </a:xfrm>
            <a:custGeom>
              <a:avLst/>
              <a:gdLst>
                <a:gd name="T0" fmla="*/ 0 w 9"/>
                <a:gd name="T1" fmla="*/ 20373 h 12"/>
                <a:gd name="T2" fmla="*/ 7938 w 9"/>
                <a:gd name="T3" fmla="*/ 2910 h 12"/>
                <a:gd name="T4" fmla="*/ 13229 w 9"/>
                <a:gd name="T5" fmla="*/ 0 h 12"/>
                <a:gd name="T6" fmla="*/ 23813 w 9"/>
                <a:gd name="T7" fmla="*/ 8731 h 12"/>
                <a:gd name="T8" fmla="*/ 23813 w 9"/>
                <a:gd name="T9" fmla="*/ 11642 h 12"/>
                <a:gd name="T10" fmla="*/ 21167 w 9"/>
                <a:gd name="T11" fmla="*/ 26194 h 12"/>
                <a:gd name="T12" fmla="*/ 13229 w 9"/>
                <a:gd name="T13" fmla="*/ 34925 h 12"/>
                <a:gd name="T14" fmla="*/ 0 w 9"/>
                <a:gd name="T15" fmla="*/ 20373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 h="12">
                  <a:moveTo>
                    <a:pt x="0" y="7"/>
                  </a:moveTo>
                  <a:cubicBezTo>
                    <a:pt x="0" y="5"/>
                    <a:pt x="1" y="2"/>
                    <a:pt x="3" y="1"/>
                  </a:cubicBezTo>
                  <a:cubicBezTo>
                    <a:pt x="3" y="0"/>
                    <a:pt x="4" y="0"/>
                    <a:pt x="5" y="0"/>
                  </a:cubicBezTo>
                  <a:cubicBezTo>
                    <a:pt x="7" y="0"/>
                    <a:pt x="9" y="1"/>
                    <a:pt x="9" y="3"/>
                  </a:cubicBezTo>
                  <a:cubicBezTo>
                    <a:pt x="9" y="3"/>
                    <a:pt x="9" y="4"/>
                    <a:pt x="9" y="4"/>
                  </a:cubicBezTo>
                  <a:cubicBezTo>
                    <a:pt x="9" y="6"/>
                    <a:pt x="8" y="8"/>
                    <a:pt x="8" y="9"/>
                  </a:cubicBezTo>
                  <a:cubicBezTo>
                    <a:pt x="7" y="10"/>
                    <a:pt x="5" y="12"/>
                    <a:pt x="5" y="12"/>
                  </a:cubicBezTo>
                  <a:cubicBezTo>
                    <a:pt x="4" y="12"/>
                    <a:pt x="0" y="10"/>
                    <a:pt x="0"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8" name="Freeform 455"/>
            <p:cNvSpPr>
              <a:spLocks/>
            </p:cNvSpPr>
            <p:nvPr>
              <p:custDataLst>
                <p:tags r:id="rId7"/>
              </p:custDataLst>
            </p:nvPr>
          </p:nvSpPr>
          <p:spPr bwMode="auto">
            <a:xfrm>
              <a:off x="1680" y="1851"/>
              <a:ext cx="24" cy="26"/>
            </a:xfrm>
            <a:custGeom>
              <a:avLst/>
              <a:gdLst>
                <a:gd name="T0" fmla="*/ 5443 w 14"/>
                <a:gd name="T1" fmla="*/ 17689 h 14"/>
                <a:gd name="T2" fmla="*/ 19050 w 14"/>
                <a:gd name="T3" fmla="*/ 0 h 14"/>
                <a:gd name="T4" fmla="*/ 27214 w 14"/>
                <a:gd name="T5" fmla="*/ 8845 h 14"/>
                <a:gd name="T6" fmla="*/ 35379 w 14"/>
                <a:gd name="T7" fmla="*/ 14741 h 14"/>
                <a:gd name="T8" fmla="*/ 24493 w 14"/>
                <a:gd name="T9" fmla="*/ 38327 h 14"/>
                <a:gd name="T10" fmla="*/ 16329 w 14"/>
                <a:gd name="T11" fmla="*/ 29482 h 14"/>
                <a:gd name="T12" fmla="*/ 2721 w 14"/>
                <a:gd name="T13" fmla="*/ 29482 h 14"/>
                <a:gd name="T14" fmla="*/ 5443 w 14"/>
                <a:gd name="T15" fmla="*/ 17689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2" y="6"/>
                  </a:moveTo>
                  <a:cubicBezTo>
                    <a:pt x="2" y="5"/>
                    <a:pt x="7" y="0"/>
                    <a:pt x="7" y="0"/>
                  </a:cubicBezTo>
                  <a:cubicBezTo>
                    <a:pt x="8" y="0"/>
                    <a:pt x="9" y="1"/>
                    <a:pt x="10" y="3"/>
                  </a:cubicBezTo>
                  <a:cubicBezTo>
                    <a:pt x="11" y="4"/>
                    <a:pt x="14" y="3"/>
                    <a:pt x="13" y="5"/>
                  </a:cubicBezTo>
                  <a:cubicBezTo>
                    <a:pt x="12" y="6"/>
                    <a:pt x="11" y="12"/>
                    <a:pt x="9" y="13"/>
                  </a:cubicBezTo>
                  <a:cubicBezTo>
                    <a:pt x="7" y="14"/>
                    <a:pt x="7" y="11"/>
                    <a:pt x="6" y="10"/>
                  </a:cubicBezTo>
                  <a:cubicBezTo>
                    <a:pt x="5" y="9"/>
                    <a:pt x="3" y="11"/>
                    <a:pt x="1" y="10"/>
                  </a:cubicBezTo>
                  <a:cubicBezTo>
                    <a:pt x="0" y="9"/>
                    <a:pt x="1" y="6"/>
                    <a:pt x="2"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39" name="Freeform 456"/>
            <p:cNvSpPr>
              <a:spLocks/>
            </p:cNvSpPr>
            <p:nvPr>
              <p:custDataLst>
                <p:tags r:id="rId8"/>
              </p:custDataLst>
            </p:nvPr>
          </p:nvSpPr>
          <p:spPr bwMode="auto">
            <a:xfrm>
              <a:off x="1675" y="1457"/>
              <a:ext cx="57" cy="32"/>
            </a:xfrm>
            <a:custGeom>
              <a:avLst/>
              <a:gdLst>
                <a:gd name="T0" fmla="*/ 13307 w 34"/>
                <a:gd name="T1" fmla="*/ 26894 h 17"/>
                <a:gd name="T2" fmla="*/ 2661 w 34"/>
                <a:gd name="T3" fmla="*/ 17929 h 17"/>
                <a:gd name="T4" fmla="*/ 0 w 34"/>
                <a:gd name="T5" fmla="*/ 5976 h 17"/>
                <a:gd name="T6" fmla="*/ 10646 w 34"/>
                <a:gd name="T7" fmla="*/ 5976 h 17"/>
                <a:gd name="T8" fmla="*/ 42583 w 34"/>
                <a:gd name="T9" fmla="*/ 8965 h 17"/>
                <a:gd name="T10" fmla="*/ 74520 w 34"/>
                <a:gd name="T11" fmla="*/ 20918 h 17"/>
                <a:gd name="T12" fmla="*/ 87827 w 34"/>
                <a:gd name="T13" fmla="*/ 35859 h 17"/>
                <a:gd name="T14" fmla="*/ 66535 w 34"/>
                <a:gd name="T15" fmla="*/ 35859 h 17"/>
                <a:gd name="T16" fmla="*/ 42583 w 34"/>
                <a:gd name="T17" fmla="*/ 41835 h 17"/>
                <a:gd name="T18" fmla="*/ 18630 w 34"/>
                <a:gd name="T19" fmla="*/ 38847 h 17"/>
                <a:gd name="T20" fmla="*/ 13307 w 34"/>
                <a:gd name="T21" fmla="*/ 26894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17">
                  <a:moveTo>
                    <a:pt x="5" y="9"/>
                  </a:moveTo>
                  <a:cubicBezTo>
                    <a:pt x="4" y="7"/>
                    <a:pt x="1" y="6"/>
                    <a:pt x="1" y="6"/>
                  </a:cubicBezTo>
                  <a:cubicBezTo>
                    <a:pt x="1" y="6"/>
                    <a:pt x="0" y="3"/>
                    <a:pt x="0" y="2"/>
                  </a:cubicBezTo>
                  <a:cubicBezTo>
                    <a:pt x="0" y="0"/>
                    <a:pt x="4" y="2"/>
                    <a:pt x="4" y="2"/>
                  </a:cubicBezTo>
                  <a:cubicBezTo>
                    <a:pt x="7" y="2"/>
                    <a:pt x="14" y="2"/>
                    <a:pt x="16" y="3"/>
                  </a:cubicBezTo>
                  <a:cubicBezTo>
                    <a:pt x="19" y="3"/>
                    <a:pt x="26" y="5"/>
                    <a:pt x="28" y="7"/>
                  </a:cubicBezTo>
                  <a:cubicBezTo>
                    <a:pt x="29" y="8"/>
                    <a:pt x="34" y="11"/>
                    <a:pt x="33" y="12"/>
                  </a:cubicBezTo>
                  <a:cubicBezTo>
                    <a:pt x="32" y="12"/>
                    <a:pt x="28" y="12"/>
                    <a:pt x="25" y="12"/>
                  </a:cubicBezTo>
                  <a:cubicBezTo>
                    <a:pt x="21" y="12"/>
                    <a:pt x="19" y="14"/>
                    <a:pt x="16" y="14"/>
                  </a:cubicBezTo>
                  <a:cubicBezTo>
                    <a:pt x="12" y="14"/>
                    <a:pt x="9" y="17"/>
                    <a:pt x="7" y="13"/>
                  </a:cubicBezTo>
                  <a:cubicBezTo>
                    <a:pt x="5" y="9"/>
                    <a:pt x="6" y="11"/>
                    <a:pt x="5"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0" name="Freeform 457"/>
            <p:cNvSpPr>
              <a:spLocks/>
            </p:cNvSpPr>
            <p:nvPr>
              <p:custDataLst>
                <p:tags r:id="rId9"/>
              </p:custDataLst>
            </p:nvPr>
          </p:nvSpPr>
          <p:spPr bwMode="auto">
            <a:xfrm>
              <a:off x="1630" y="1723"/>
              <a:ext cx="29" cy="18"/>
            </a:xfrm>
            <a:custGeom>
              <a:avLst/>
              <a:gdLst>
                <a:gd name="T0" fmla="*/ 5416 w 17"/>
                <a:gd name="T1" fmla="*/ 25718 h 10"/>
                <a:gd name="T2" fmla="*/ 8124 w 17"/>
                <a:gd name="T3" fmla="*/ 11430 h 10"/>
                <a:gd name="T4" fmla="*/ 32497 w 17"/>
                <a:gd name="T5" fmla="*/ 0 h 10"/>
                <a:gd name="T6" fmla="*/ 43330 w 17"/>
                <a:gd name="T7" fmla="*/ 2858 h 10"/>
                <a:gd name="T8" fmla="*/ 46038 w 17"/>
                <a:gd name="T9" fmla="*/ 2858 h 10"/>
                <a:gd name="T10" fmla="*/ 43330 w 17"/>
                <a:gd name="T11" fmla="*/ 14288 h 10"/>
                <a:gd name="T12" fmla="*/ 43330 w 17"/>
                <a:gd name="T13" fmla="*/ 17145 h 10"/>
                <a:gd name="T14" fmla="*/ 21665 w 17"/>
                <a:gd name="T15" fmla="*/ 25718 h 10"/>
                <a:gd name="T16" fmla="*/ 5416 w 17"/>
                <a:gd name="T17" fmla="*/ 2571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10">
                  <a:moveTo>
                    <a:pt x="2" y="9"/>
                  </a:moveTo>
                  <a:cubicBezTo>
                    <a:pt x="0" y="9"/>
                    <a:pt x="1" y="5"/>
                    <a:pt x="3" y="4"/>
                  </a:cubicBezTo>
                  <a:cubicBezTo>
                    <a:pt x="6" y="2"/>
                    <a:pt x="8" y="0"/>
                    <a:pt x="12" y="0"/>
                  </a:cubicBezTo>
                  <a:cubicBezTo>
                    <a:pt x="16" y="1"/>
                    <a:pt x="16" y="1"/>
                    <a:pt x="16" y="1"/>
                  </a:cubicBezTo>
                  <a:cubicBezTo>
                    <a:pt x="17" y="1"/>
                    <a:pt x="17" y="1"/>
                    <a:pt x="17" y="1"/>
                  </a:cubicBezTo>
                  <a:cubicBezTo>
                    <a:pt x="17" y="1"/>
                    <a:pt x="17" y="3"/>
                    <a:pt x="16" y="5"/>
                  </a:cubicBezTo>
                  <a:cubicBezTo>
                    <a:pt x="16" y="6"/>
                    <a:pt x="16" y="6"/>
                    <a:pt x="16" y="6"/>
                  </a:cubicBezTo>
                  <a:cubicBezTo>
                    <a:pt x="14" y="8"/>
                    <a:pt x="9" y="9"/>
                    <a:pt x="8" y="9"/>
                  </a:cubicBezTo>
                  <a:cubicBezTo>
                    <a:pt x="6" y="9"/>
                    <a:pt x="4" y="10"/>
                    <a:pt x="2"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1" name="Freeform 458"/>
            <p:cNvSpPr>
              <a:spLocks/>
            </p:cNvSpPr>
            <p:nvPr>
              <p:custDataLst>
                <p:tags r:id="rId10"/>
              </p:custDataLst>
            </p:nvPr>
          </p:nvSpPr>
          <p:spPr bwMode="auto">
            <a:xfrm>
              <a:off x="1587" y="1660"/>
              <a:ext cx="95" cy="67"/>
            </a:xfrm>
            <a:custGeom>
              <a:avLst/>
              <a:gdLst>
                <a:gd name="T0" fmla="*/ 5484 w 55"/>
                <a:gd name="T1" fmla="*/ 82727 h 36"/>
                <a:gd name="T2" fmla="*/ 24678 w 55"/>
                <a:gd name="T3" fmla="*/ 59091 h 36"/>
                <a:gd name="T4" fmla="*/ 24678 w 55"/>
                <a:gd name="T5" fmla="*/ 35454 h 36"/>
                <a:gd name="T6" fmla="*/ 27421 w 55"/>
                <a:gd name="T7" fmla="*/ 29545 h 36"/>
                <a:gd name="T8" fmla="*/ 32905 w 55"/>
                <a:gd name="T9" fmla="*/ 5909 h 36"/>
                <a:gd name="T10" fmla="*/ 43873 w 55"/>
                <a:gd name="T11" fmla="*/ 2955 h 36"/>
                <a:gd name="T12" fmla="*/ 54841 w 55"/>
                <a:gd name="T13" fmla="*/ 23636 h 36"/>
                <a:gd name="T14" fmla="*/ 68551 w 55"/>
                <a:gd name="T15" fmla="*/ 14773 h 36"/>
                <a:gd name="T16" fmla="*/ 87746 w 55"/>
                <a:gd name="T17" fmla="*/ 29545 h 36"/>
                <a:gd name="T18" fmla="*/ 109682 w 55"/>
                <a:gd name="T19" fmla="*/ 44318 h 36"/>
                <a:gd name="T20" fmla="*/ 126135 w 55"/>
                <a:gd name="T21" fmla="*/ 62045 h 36"/>
                <a:gd name="T22" fmla="*/ 150813 w 55"/>
                <a:gd name="T23" fmla="*/ 76818 h 36"/>
                <a:gd name="T24" fmla="*/ 134361 w 55"/>
                <a:gd name="T25" fmla="*/ 91590 h 36"/>
                <a:gd name="T26" fmla="*/ 115166 w 55"/>
                <a:gd name="T27" fmla="*/ 82727 h 36"/>
                <a:gd name="T28" fmla="*/ 104198 w 55"/>
                <a:gd name="T29" fmla="*/ 76818 h 36"/>
                <a:gd name="T30" fmla="*/ 90488 w 55"/>
                <a:gd name="T31" fmla="*/ 62045 h 36"/>
                <a:gd name="T32" fmla="*/ 79520 w 55"/>
                <a:gd name="T33" fmla="*/ 76818 h 36"/>
                <a:gd name="T34" fmla="*/ 54841 w 55"/>
                <a:gd name="T35" fmla="*/ 97499 h 36"/>
                <a:gd name="T36" fmla="*/ 41131 w 55"/>
                <a:gd name="T37" fmla="*/ 100454 h 36"/>
                <a:gd name="T38" fmla="*/ 38389 w 55"/>
                <a:gd name="T39" fmla="*/ 79772 h 36"/>
                <a:gd name="T40" fmla="*/ 5484 w 55"/>
                <a:gd name="T41" fmla="*/ 82727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36">
                  <a:moveTo>
                    <a:pt x="2" y="28"/>
                  </a:moveTo>
                  <a:cubicBezTo>
                    <a:pt x="0" y="28"/>
                    <a:pt x="7" y="21"/>
                    <a:pt x="9" y="20"/>
                  </a:cubicBezTo>
                  <a:cubicBezTo>
                    <a:pt x="11" y="19"/>
                    <a:pt x="9" y="14"/>
                    <a:pt x="9" y="12"/>
                  </a:cubicBezTo>
                  <a:cubicBezTo>
                    <a:pt x="9" y="12"/>
                    <a:pt x="9" y="11"/>
                    <a:pt x="10" y="10"/>
                  </a:cubicBezTo>
                  <a:cubicBezTo>
                    <a:pt x="10" y="7"/>
                    <a:pt x="12" y="4"/>
                    <a:pt x="12" y="2"/>
                  </a:cubicBezTo>
                  <a:cubicBezTo>
                    <a:pt x="12" y="1"/>
                    <a:pt x="14" y="0"/>
                    <a:pt x="16" y="1"/>
                  </a:cubicBezTo>
                  <a:cubicBezTo>
                    <a:pt x="16" y="1"/>
                    <a:pt x="19" y="8"/>
                    <a:pt x="20" y="8"/>
                  </a:cubicBezTo>
                  <a:cubicBezTo>
                    <a:pt x="21" y="8"/>
                    <a:pt x="25" y="5"/>
                    <a:pt x="25" y="5"/>
                  </a:cubicBezTo>
                  <a:cubicBezTo>
                    <a:pt x="25" y="5"/>
                    <a:pt x="32" y="7"/>
                    <a:pt x="32" y="10"/>
                  </a:cubicBezTo>
                  <a:cubicBezTo>
                    <a:pt x="32" y="9"/>
                    <a:pt x="38" y="15"/>
                    <a:pt x="40" y="15"/>
                  </a:cubicBezTo>
                  <a:cubicBezTo>
                    <a:pt x="41" y="15"/>
                    <a:pt x="44" y="21"/>
                    <a:pt x="46" y="21"/>
                  </a:cubicBezTo>
                  <a:cubicBezTo>
                    <a:pt x="48" y="21"/>
                    <a:pt x="54" y="24"/>
                    <a:pt x="55" y="26"/>
                  </a:cubicBezTo>
                  <a:cubicBezTo>
                    <a:pt x="55" y="27"/>
                    <a:pt x="51" y="31"/>
                    <a:pt x="49" y="31"/>
                  </a:cubicBezTo>
                  <a:cubicBezTo>
                    <a:pt x="48" y="31"/>
                    <a:pt x="45" y="29"/>
                    <a:pt x="42" y="28"/>
                  </a:cubicBezTo>
                  <a:cubicBezTo>
                    <a:pt x="41" y="27"/>
                    <a:pt x="39" y="27"/>
                    <a:pt x="38" y="26"/>
                  </a:cubicBezTo>
                  <a:cubicBezTo>
                    <a:pt x="37" y="25"/>
                    <a:pt x="34" y="21"/>
                    <a:pt x="33" y="21"/>
                  </a:cubicBezTo>
                  <a:cubicBezTo>
                    <a:pt x="31" y="21"/>
                    <a:pt x="31" y="25"/>
                    <a:pt x="29" y="26"/>
                  </a:cubicBezTo>
                  <a:cubicBezTo>
                    <a:pt x="26" y="27"/>
                    <a:pt x="22" y="32"/>
                    <a:pt x="20" y="33"/>
                  </a:cubicBezTo>
                  <a:cubicBezTo>
                    <a:pt x="17" y="33"/>
                    <a:pt x="16" y="36"/>
                    <a:pt x="15" y="34"/>
                  </a:cubicBezTo>
                  <a:cubicBezTo>
                    <a:pt x="13" y="32"/>
                    <a:pt x="15" y="27"/>
                    <a:pt x="14" y="27"/>
                  </a:cubicBezTo>
                  <a:cubicBezTo>
                    <a:pt x="12" y="26"/>
                    <a:pt x="5" y="29"/>
                    <a:pt x="2" y="2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2" name="Freeform 459"/>
            <p:cNvSpPr>
              <a:spLocks/>
            </p:cNvSpPr>
            <p:nvPr>
              <p:custDataLst>
                <p:tags r:id="rId11"/>
              </p:custDataLst>
            </p:nvPr>
          </p:nvSpPr>
          <p:spPr bwMode="auto">
            <a:xfrm>
              <a:off x="1555" y="1457"/>
              <a:ext cx="375" cy="293"/>
            </a:xfrm>
            <a:custGeom>
              <a:avLst/>
              <a:gdLst>
                <a:gd name="T0" fmla="*/ 35338 w 219"/>
                <a:gd name="T1" fmla="*/ 11628 h 160"/>
                <a:gd name="T2" fmla="*/ 97860 w 219"/>
                <a:gd name="T3" fmla="*/ 5814 h 160"/>
                <a:gd name="T4" fmla="*/ 67958 w 219"/>
                <a:gd name="T5" fmla="*/ 61049 h 160"/>
                <a:gd name="T6" fmla="*/ 97860 w 219"/>
                <a:gd name="T7" fmla="*/ 101749 h 160"/>
                <a:gd name="T8" fmla="*/ 86986 w 219"/>
                <a:gd name="T9" fmla="*/ 78492 h 160"/>
                <a:gd name="T10" fmla="*/ 89705 w 219"/>
                <a:gd name="T11" fmla="*/ 52328 h 160"/>
                <a:gd name="T12" fmla="*/ 116888 w 219"/>
                <a:gd name="T13" fmla="*/ 17443 h 160"/>
                <a:gd name="T14" fmla="*/ 173973 w 219"/>
                <a:gd name="T15" fmla="*/ 14536 h 160"/>
                <a:gd name="T16" fmla="*/ 190283 w 219"/>
                <a:gd name="T17" fmla="*/ 49421 h 160"/>
                <a:gd name="T18" fmla="*/ 203874 w 219"/>
                <a:gd name="T19" fmla="*/ 69771 h 160"/>
                <a:gd name="T20" fmla="*/ 236494 w 219"/>
                <a:gd name="T21" fmla="*/ 72678 h 160"/>
                <a:gd name="T22" fmla="*/ 260959 w 219"/>
                <a:gd name="T23" fmla="*/ 49421 h 160"/>
                <a:gd name="T24" fmla="*/ 323481 w 219"/>
                <a:gd name="T25" fmla="*/ 72678 h 160"/>
                <a:gd name="T26" fmla="*/ 318044 w 219"/>
                <a:gd name="T27" fmla="*/ 95935 h 160"/>
                <a:gd name="T28" fmla="*/ 377847 w 219"/>
                <a:gd name="T29" fmla="*/ 98842 h 160"/>
                <a:gd name="T30" fmla="*/ 399594 w 219"/>
                <a:gd name="T31" fmla="*/ 130820 h 160"/>
                <a:gd name="T32" fmla="*/ 443087 w 219"/>
                <a:gd name="T33" fmla="*/ 133727 h 160"/>
                <a:gd name="T34" fmla="*/ 470270 w 219"/>
                <a:gd name="T35" fmla="*/ 159891 h 160"/>
                <a:gd name="T36" fmla="*/ 467552 w 219"/>
                <a:gd name="T37" fmla="*/ 180241 h 160"/>
                <a:gd name="T38" fmla="*/ 467552 w 219"/>
                <a:gd name="T39" fmla="*/ 191869 h 160"/>
                <a:gd name="T40" fmla="*/ 472988 w 219"/>
                <a:gd name="T41" fmla="*/ 220941 h 160"/>
                <a:gd name="T42" fmla="*/ 532792 w 219"/>
                <a:gd name="T43" fmla="*/ 252919 h 160"/>
                <a:gd name="T44" fmla="*/ 573566 w 219"/>
                <a:gd name="T45" fmla="*/ 273269 h 160"/>
                <a:gd name="T46" fmla="*/ 587158 w 219"/>
                <a:gd name="T47" fmla="*/ 302340 h 160"/>
                <a:gd name="T48" fmla="*/ 573566 w 219"/>
                <a:gd name="T49" fmla="*/ 322689 h 160"/>
                <a:gd name="T50" fmla="*/ 551820 w 219"/>
                <a:gd name="T51" fmla="*/ 325597 h 160"/>
                <a:gd name="T52" fmla="*/ 540947 w 219"/>
                <a:gd name="T53" fmla="*/ 348854 h 160"/>
                <a:gd name="T54" fmla="*/ 494735 w 219"/>
                <a:gd name="T55" fmla="*/ 308154 h 160"/>
                <a:gd name="T56" fmla="*/ 472988 w 219"/>
                <a:gd name="T57" fmla="*/ 311061 h 160"/>
                <a:gd name="T58" fmla="*/ 470270 w 219"/>
                <a:gd name="T59" fmla="*/ 337225 h 160"/>
                <a:gd name="T60" fmla="*/ 521918 w 219"/>
                <a:gd name="T61" fmla="*/ 380832 h 160"/>
                <a:gd name="T62" fmla="*/ 516482 w 219"/>
                <a:gd name="T63" fmla="*/ 415717 h 160"/>
                <a:gd name="T64" fmla="*/ 521918 w 219"/>
                <a:gd name="T65" fmla="*/ 444788 h 160"/>
                <a:gd name="T66" fmla="*/ 486580 w 219"/>
                <a:gd name="T67" fmla="*/ 409903 h 160"/>
                <a:gd name="T68" fmla="*/ 440369 w 219"/>
                <a:gd name="T69" fmla="*/ 398274 h 160"/>
                <a:gd name="T70" fmla="*/ 497453 w 219"/>
                <a:gd name="T71" fmla="*/ 447695 h 160"/>
                <a:gd name="T72" fmla="*/ 453960 w 219"/>
                <a:gd name="T73" fmla="*/ 447695 h 160"/>
                <a:gd name="T74" fmla="*/ 383284 w 219"/>
                <a:gd name="T75" fmla="*/ 418624 h 160"/>
                <a:gd name="T76" fmla="*/ 350664 w 219"/>
                <a:gd name="T77" fmla="*/ 377925 h 160"/>
                <a:gd name="T78" fmla="*/ 299016 w 219"/>
                <a:gd name="T79" fmla="*/ 369203 h 160"/>
                <a:gd name="T80" fmla="*/ 244649 w 219"/>
                <a:gd name="T81" fmla="*/ 360482 h 160"/>
                <a:gd name="T82" fmla="*/ 260959 w 219"/>
                <a:gd name="T83" fmla="*/ 334318 h 160"/>
                <a:gd name="T84" fmla="*/ 307171 w 219"/>
                <a:gd name="T85" fmla="*/ 340132 h 160"/>
                <a:gd name="T86" fmla="*/ 318044 w 219"/>
                <a:gd name="T87" fmla="*/ 308154 h 160"/>
                <a:gd name="T88" fmla="*/ 364255 w 219"/>
                <a:gd name="T89" fmla="*/ 267454 h 160"/>
                <a:gd name="T90" fmla="*/ 331636 w 219"/>
                <a:gd name="T91" fmla="*/ 223848 h 160"/>
                <a:gd name="T92" fmla="*/ 307171 w 219"/>
                <a:gd name="T93" fmla="*/ 212219 h 160"/>
                <a:gd name="T94" fmla="*/ 290861 w 219"/>
                <a:gd name="T95" fmla="*/ 197684 h 160"/>
                <a:gd name="T96" fmla="*/ 255522 w 219"/>
                <a:gd name="T97" fmla="*/ 171520 h 160"/>
                <a:gd name="T98" fmla="*/ 228339 w 219"/>
                <a:gd name="T99" fmla="*/ 136634 h 160"/>
                <a:gd name="T100" fmla="*/ 231058 w 219"/>
                <a:gd name="T101" fmla="*/ 162798 h 160"/>
                <a:gd name="T102" fmla="*/ 173973 w 219"/>
                <a:gd name="T103" fmla="*/ 159891 h 160"/>
                <a:gd name="T104" fmla="*/ 135916 w 219"/>
                <a:gd name="T105" fmla="*/ 156984 h 160"/>
                <a:gd name="T106" fmla="*/ 67958 w 219"/>
                <a:gd name="T107" fmla="*/ 145356 h 160"/>
                <a:gd name="T108" fmla="*/ 10873 w 219"/>
                <a:gd name="T109" fmla="*/ 125006 h 160"/>
                <a:gd name="T110" fmla="*/ 46212 w 219"/>
                <a:gd name="T111" fmla="*/ 110470 h 160"/>
                <a:gd name="T112" fmla="*/ 0 w 219"/>
                <a:gd name="T113" fmla="*/ 61049 h 1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9" h="160">
                  <a:moveTo>
                    <a:pt x="0" y="21"/>
                  </a:moveTo>
                  <a:cubicBezTo>
                    <a:pt x="1" y="18"/>
                    <a:pt x="7" y="7"/>
                    <a:pt x="13" y="4"/>
                  </a:cubicBezTo>
                  <a:cubicBezTo>
                    <a:pt x="20" y="0"/>
                    <a:pt x="28" y="0"/>
                    <a:pt x="31" y="1"/>
                  </a:cubicBezTo>
                  <a:cubicBezTo>
                    <a:pt x="35" y="1"/>
                    <a:pt x="36" y="1"/>
                    <a:pt x="36" y="2"/>
                  </a:cubicBezTo>
                  <a:cubicBezTo>
                    <a:pt x="36" y="3"/>
                    <a:pt x="26" y="8"/>
                    <a:pt x="24" y="14"/>
                  </a:cubicBezTo>
                  <a:cubicBezTo>
                    <a:pt x="22" y="17"/>
                    <a:pt x="24" y="18"/>
                    <a:pt x="25" y="21"/>
                  </a:cubicBezTo>
                  <a:cubicBezTo>
                    <a:pt x="26" y="23"/>
                    <a:pt x="23" y="24"/>
                    <a:pt x="24" y="29"/>
                  </a:cubicBezTo>
                  <a:cubicBezTo>
                    <a:pt x="26" y="33"/>
                    <a:pt x="34" y="34"/>
                    <a:pt x="36" y="35"/>
                  </a:cubicBezTo>
                  <a:cubicBezTo>
                    <a:pt x="38" y="36"/>
                    <a:pt x="40" y="36"/>
                    <a:pt x="40" y="33"/>
                  </a:cubicBezTo>
                  <a:cubicBezTo>
                    <a:pt x="40" y="30"/>
                    <a:pt x="33" y="28"/>
                    <a:pt x="32" y="27"/>
                  </a:cubicBezTo>
                  <a:cubicBezTo>
                    <a:pt x="31" y="25"/>
                    <a:pt x="39" y="26"/>
                    <a:pt x="39" y="25"/>
                  </a:cubicBezTo>
                  <a:cubicBezTo>
                    <a:pt x="39" y="24"/>
                    <a:pt x="34" y="21"/>
                    <a:pt x="33" y="18"/>
                  </a:cubicBezTo>
                  <a:cubicBezTo>
                    <a:pt x="32" y="16"/>
                    <a:pt x="34" y="13"/>
                    <a:pt x="35" y="10"/>
                  </a:cubicBezTo>
                  <a:cubicBezTo>
                    <a:pt x="37" y="8"/>
                    <a:pt x="39" y="6"/>
                    <a:pt x="43" y="6"/>
                  </a:cubicBezTo>
                  <a:cubicBezTo>
                    <a:pt x="47" y="5"/>
                    <a:pt x="57" y="2"/>
                    <a:pt x="60" y="2"/>
                  </a:cubicBezTo>
                  <a:cubicBezTo>
                    <a:pt x="63" y="3"/>
                    <a:pt x="64" y="3"/>
                    <a:pt x="64" y="5"/>
                  </a:cubicBezTo>
                  <a:cubicBezTo>
                    <a:pt x="64" y="8"/>
                    <a:pt x="65" y="9"/>
                    <a:pt x="67" y="9"/>
                  </a:cubicBezTo>
                  <a:cubicBezTo>
                    <a:pt x="69" y="10"/>
                    <a:pt x="70" y="15"/>
                    <a:pt x="70" y="17"/>
                  </a:cubicBezTo>
                  <a:cubicBezTo>
                    <a:pt x="70" y="20"/>
                    <a:pt x="67" y="25"/>
                    <a:pt x="70" y="27"/>
                  </a:cubicBezTo>
                  <a:cubicBezTo>
                    <a:pt x="72" y="29"/>
                    <a:pt x="73" y="25"/>
                    <a:pt x="75" y="24"/>
                  </a:cubicBezTo>
                  <a:cubicBezTo>
                    <a:pt x="76" y="23"/>
                    <a:pt x="78" y="21"/>
                    <a:pt x="80" y="22"/>
                  </a:cubicBezTo>
                  <a:cubicBezTo>
                    <a:pt x="82" y="22"/>
                    <a:pt x="87" y="25"/>
                    <a:pt x="87" y="25"/>
                  </a:cubicBezTo>
                  <a:cubicBezTo>
                    <a:pt x="87" y="25"/>
                    <a:pt x="89" y="22"/>
                    <a:pt x="88" y="20"/>
                  </a:cubicBezTo>
                  <a:cubicBezTo>
                    <a:pt x="87" y="18"/>
                    <a:pt x="93" y="18"/>
                    <a:pt x="96" y="17"/>
                  </a:cubicBezTo>
                  <a:cubicBezTo>
                    <a:pt x="98" y="16"/>
                    <a:pt x="107" y="21"/>
                    <a:pt x="110" y="21"/>
                  </a:cubicBezTo>
                  <a:cubicBezTo>
                    <a:pt x="113" y="21"/>
                    <a:pt x="117" y="23"/>
                    <a:pt x="119" y="25"/>
                  </a:cubicBezTo>
                  <a:cubicBezTo>
                    <a:pt x="121" y="26"/>
                    <a:pt x="115" y="29"/>
                    <a:pt x="113" y="31"/>
                  </a:cubicBezTo>
                  <a:cubicBezTo>
                    <a:pt x="112" y="33"/>
                    <a:pt x="115" y="33"/>
                    <a:pt x="117" y="33"/>
                  </a:cubicBezTo>
                  <a:cubicBezTo>
                    <a:pt x="118" y="33"/>
                    <a:pt x="123" y="32"/>
                    <a:pt x="127" y="32"/>
                  </a:cubicBezTo>
                  <a:cubicBezTo>
                    <a:pt x="130" y="32"/>
                    <a:pt x="135" y="32"/>
                    <a:pt x="139" y="34"/>
                  </a:cubicBezTo>
                  <a:cubicBezTo>
                    <a:pt x="143" y="36"/>
                    <a:pt x="144" y="37"/>
                    <a:pt x="146" y="39"/>
                  </a:cubicBezTo>
                  <a:cubicBezTo>
                    <a:pt x="148" y="42"/>
                    <a:pt x="144" y="43"/>
                    <a:pt x="147" y="45"/>
                  </a:cubicBezTo>
                  <a:cubicBezTo>
                    <a:pt x="149" y="47"/>
                    <a:pt x="152" y="45"/>
                    <a:pt x="155" y="44"/>
                  </a:cubicBezTo>
                  <a:cubicBezTo>
                    <a:pt x="158" y="44"/>
                    <a:pt x="161" y="46"/>
                    <a:pt x="163" y="46"/>
                  </a:cubicBezTo>
                  <a:cubicBezTo>
                    <a:pt x="166" y="47"/>
                    <a:pt x="164" y="50"/>
                    <a:pt x="166" y="51"/>
                  </a:cubicBezTo>
                  <a:cubicBezTo>
                    <a:pt x="168" y="51"/>
                    <a:pt x="172" y="54"/>
                    <a:pt x="173" y="55"/>
                  </a:cubicBezTo>
                  <a:cubicBezTo>
                    <a:pt x="174" y="57"/>
                    <a:pt x="169" y="58"/>
                    <a:pt x="169" y="60"/>
                  </a:cubicBezTo>
                  <a:cubicBezTo>
                    <a:pt x="169" y="61"/>
                    <a:pt x="170" y="61"/>
                    <a:pt x="172" y="62"/>
                  </a:cubicBezTo>
                  <a:cubicBezTo>
                    <a:pt x="175" y="63"/>
                    <a:pt x="178" y="65"/>
                    <a:pt x="177" y="66"/>
                  </a:cubicBezTo>
                  <a:cubicBezTo>
                    <a:pt x="177" y="68"/>
                    <a:pt x="173" y="66"/>
                    <a:pt x="172" y="66"/>
                  </a:cubicBezTo>
                  <a:cubicBezTo>
                    <a:pt x="171" y="66"/>
                    <a:pt x="170" y="68"/>
                    <a:pt x="170" y="70"/>
                  </a:cubicBezTo>
                  <a:cubicBezTo>
                    <a:pt x="170" y="72"/>
                    <a:pt x="172" y="74"/>
                    <a:pt x="174" y="76"/>
                  </a:cubicBezTo>
                  <a:cubicBezTo>
                    <a:pt x="176" y="78"/>
                    <a:pt x="183" y="79"/>
                    <a:pt x="187" y="80"/>
                  </a:cubicBezTo>
                  <a:cubicBezTo>
                    <a:pt x="192" y="82"/>
                    <a:pt x="194" y="84"/>
                    <a:pt x="196" y="87"/>
                  </a:cubicBezTo>
                  <a:cubicBezTo>
                    <a:pt x="199" y="89"/>
                    <a:pt x="200" y="90"/>
                    <a:pt x="203" y="92"/>
                  </a:cubicBezTo>
                  <a:cubicBezTo>
                    <a:pt x="205" y="94"/>
                    <a:pt x="208" y="94"/>
                    <a:pt x="211" y="94"/>
                  </a:cubicBezTo>
                  <a:cubicBezTo>
                    <a:pt x="213" y="94"/>
                    <a:pt x="217" y="97"/>
                    <a:pt x="218" y="99"/>
                  </a:cubicBezTo>
                  <a:cubicBezTo>
                    <a:pt x="219" y="100"/>
                    <a:pt x="217" y="102"/>
                    <a:pt x="216" y="104"/>
                  </a:cubicBezTo>
                  <a:cubicBezTo>
                    <a:pt x="216" y="105"/>
                    <a:pt x="212" y="104"/>
                    <a:pt x="211" y="105"/>
                  </a:cubicBezTo>
                  <a:cubicBezTo>
                    <a:pt x="211" y="106"/>
                    <a:pt x="212" y="110"/>
                    <a:pt x="211" y="111"/>
                  </a:cubicBezTo>
                  <a:cubicBezTo>
                    <a:pt x="211" y="113"/>
                    <a:pt x="209" y="113"/>
                    <a:pt x="209" y="113"/>
                  </a:cubicBezTo>
                  <a:cubicBezTo>
                    <a:pt x="209" y="113"/>
                    <a:pt x="204" y="111"/>
                    <a:pt x="203" y="112"/>
                  </a:cubicBezTo>
                  <a:cubicBezTo>
                    <a:pt x="202" y="113"/>
                    <a:pt x="203" y="119"/>
                    <a:pt x="203" y="120"/>
                  </a:cubicBezTo>
                  <a:cubicBezTo>
                    <a:pt x="203" y="121"/>
                    <a:pt x="200" y="120"/>
                    <a:pt x="199" y="120"/>
                  </a:cubicBezTo>
                  <a:cubicBezTo>
                    <a:pt x="198" y="120"/>
                    <a:pt x="188" y="116"/>
                    <a:pt x="186" y="114"/>
                  </a:cubicBezTo>
                  <a:cubicBezTo>
                    <a:pt x="184" y="113"/>
                    <a:pt x="183" y="107"/>
                    <a:pt x="182" y="106"/>
                  </a:cubicBezTo>
                  <a:cubicBezTo>
                    <a:pt x="181" y="105"/>
                    <a:pt x="176" y="102"/>
                    <a:pt x="174" y="102"/>
                  </a:cubicBezTo>
                  <a:cubicBezTo>
                    <a:pt x="171" y="102"/>
                    <a:pt x="174" y="106"/>
                    <a:pt x="174" y="107"/>
                  </a:cubicBezTo>
                  <a:cubicBezTo>
                    <a:pt x="174" y="108"/>
                    <a:pt x="172" y="108"/>
                    <a:pt x="171" y="110"/>
                  </a:cubicBezTo>
                  <a:cubicBezTo>
                    <a:pt x="169" y="113"/>
                    <a:pt x="173" y="114"/>
                    <a:pt x="173" y="116"/>
                  </a:cubicBezTo>
                  <a:cubicBezTo>
                    <a:pt x="174" y="118"/>
                    <a:pt x="179" y="120"/>
                    <a:pt x="182" y="122"/>
                  </a:cubicBezTo>
                  <a:cubicBezTo>
                    <a:pt x="184" y="124"/>
                    <a:pt x="191" y="129"/>
                    <a:pt x="192" y="131"/>
                  </a:cubicBezTo>
                  <a:cubicBezTo>
                    <a:pt x="193" y="132"/>
                    <a:pt x="196" y="134"/>
                    <a:pt x="196" y="137"/>
                  </a:cubicBezTo>
                  <a:cubicBezTo>
                    <a:pt x="196" y="140"/>
                    <a:pt x="190" y="142"/>
                    <a:pt x="190" y="143"/>
                  </a:cubicBezTo>
                  <a:cubicBezTo>
                    <a:pt x="190" y="144"/>
                    <a:pt x="195" y="148"/>
                    <a:pt x="195" y="149"/>
                  </a:cubicBezTo>
                  <a:cubicBezTo>
                    <a:pt x="194" y="151"/>
                    <a:pt x="193" y="152"/>
                    <a:pt x="192" y="153"/>
                  </a:cubicBezTo>
                  <a:cubicBezTo>
                    <a:pt x="190" y="154"/>
                    <a:pt x="189" y="151"/>
                    <a:pt x="188" y="149"/>
                  </a:cubicBezTo>
                  <a:cubicBezTo>
                    <a:pt x="187" y="147"/>
                    <a:pt x="182" y="144"/>
                    <a:pt x="179" y="141"/>
                  </a:cubicBezTo>
                  <a:cubicBezTo>
                    <a:pt x="176" y="139"/>
                    <a:pt x="171" y="138"/>
                    <a:pt x="169" y="137"/>
                  </a:cubicBezTo>
                  <a:cubicBezTo>
                    <a:pt x="166" y="135"/>
                    <a:pt x="163" y="135"/>
                    <a:pt x="162" y="137"/>
                  </a:cubicBezTo>
                  <a:cubicBezTo>
                    <a:pt x="162" y="138"/>
                    <a:pt x="165" y="142"/>
                    <a:pt x="168" y="143"/>
                  </a:cubicBezTo>
                  <a:cubicBezTo>
                    <a:pt x="170" y="144"/>
                    <a:pt x="182" y="153"/>
                    <a:pt x="183" y="154"/>
                  </a:cubicBezTo>
                  <a:cubicBezTo>
                    <a:pt x="184" y="156"/>
                    <a:pt x="185" y="159"/>
                    <a:pt x="184" y="160"/>
                  </a:cubicBezTo>
                  <a:cubicBezTo>
                    <a:pt x="183" y="160"/>
                    <a:pt x="170" y="154"/>
                    <a:pt x="167" y="154"/>
                  </a:cubicBezTo>
                  <a:cubicBezTo>
                    <a:pt x="164" y="153"/>
                    <a:pt x="156" y="151"/>
                    <a:pt x="152" y="148"/>
                  </a:cubicBezTo>
                  <a:cubicBezTo>
                    <a:pt x="148" y="146"/>
                    <a:pt x="143" y="146"/>
                    <a:pt x="141" y="144"/>
                  </a:cubicBezTo>
                  <a:cubicBezTo>
                    <a:pt x="138" y="142"/>
                    <a:pt x="139" y="139"/>
                    <a:pt x="139" y="137"/>
                  </a:cubicBezTo>
                  <a:cubicBezTo>
                    <a:pt x="139" y="136"/>
                    <a:pt x="131" y="132"/>
                    <a:pt x="129" y="130"/>
                  </a:cubicBezTo>
                  <a:cubicBezTo>
                    <a:pt x="126" y="128"/>
                    <a:pt x="122" y="127"/>
                    <a:pt x="120" y="125"/>
                  </a:cubicBezTo>
                  <a:cubicBezTo>
                    <a:pt x="118" y="123"/>
                    <a:pt x="111" y="126"/>
                    <a:pt x="110" y="127"/>
                  </a:cubicBezTo>
                  <a:cubicBezTo>
                    <a:pt x="108" y="128"/>
                    <a:pt x="101" y="130"/>
                    <a:pt x="98" y="130"/>
                  </a:cubicBezTo>
                  <a:cubicBezTo>
                    <a:pt x="94" y="130"/>
                    <a:pt x="91" y="125"/>
                    <a:pt x="90" y="124"/>
                  </a:cubicBezTo>
                  <a:cubicBezTo>
                    <a:pt x="88" y="123"/>
                    <a:pt x="92" y="119"/>
                    <a:pt x="94" y="118"/>
                  </a:cubicBezTo>
                  <a:cubicBezTo>
                    <a:pt x="96" y="117"/>
                    <a:pt x="94" y="115"/>
                    <a:pt x="96" y="115"/>
                  </a:cubicBezTo>
                  <a:cubicBezTo>
                    <a:pt x="96" y="115"/>
                    <a:pt x="100" y="114"/>
                    <a:pt x="102" y="115"/>
                  </a:cubicBezTo>
                  <a:cubicBezTo>
                    <a:pt x="105" y="116"/>
                    <a:pt x="109" y="116"/>
                    <a:pt x="113" y="117"/>
                  </a:cubicBezTo>
                  <a:cubicBezTo>
                    <a:pt x="116" y="117"/>
                    <a:pt x="123" y="115"/>
                    <a:pt x="124" y="115"/>
                  </a:cubicBezTo>
                  <a:cubicBezTo>
                    <a:pt x="126" y="115"/>
                    <a:pt x="117" y="108"/>
                    <a:pt x="117" y="106"/>
                  </a:cubicBezTo>
                  <a:cubicBezTo>
                    <a:pt x="117" y="105"/>
                    <a:pt x="124" y="99"/>
                    <a:pt x="127" y="99"/>
                  </a:cubicBezTo>
                  <a:cubicBezTo>
                    <a:pt x="129" y="99"/>
                    <a:pt x="132" y="94"/>
                    <a:pt x="134" y="92"/>
                  </a:cubicBezTo>
                  <a:cubicBezTo>
                    <a:pt x="135" y="91"/>
                    <a:pt x="131" y="86"/>
                    <a:pt x="131" y="85"/>
                  </a:cubicBezTo>
                  <a:cubicBezTo>
                    <a:pt x="130" y="84"/>
                    <a:pt x="126" y="78"/>
                    <a:pt x="122" y="77"/>
                  </a:cubicBezTo>
                  <a:cubicBezTo>
                    <a:pt x="118" y="75"/>
                    <a:pt x="121" y="73"/>
                    <a:pt x="118" y="72"/>
                  </a:cubicBezTo>
                  <a:cubicBezTo>
                    <a:pt x="115" y="70"/>
                    <a:pt x="114" y="72"/>
                    <a:pt x="113" y="73"/>
                  </a:cubicBezTo>
                  <a:cubicBezTo>
                    <a:pt x="112" y="73"/>
                    <a:pt x="102" y="72"/>
                    <a:pt x="102" y="71"/>
                  </a:cubicBezTo>
                  <a:cubicBezTo>
                    <a:pt x="102" y="70"/>
                    <a:pt x="106" y="68"/>
                    <a:pt x="107" y="68"/>
                  </a:cubicBezTo>
                  <a:cubicBezTo>
                    <a:pt x="108" y="68"/>
                    <a:pt x="109" y="66"/>
                    <a:pt x="105" y="63"/>
                  </a:cubicBezTo>
                  <a:cubicBezTo>
                    <a:pt x="101" y="61"/>
                    <a:pt x="94" y="60"/>
                    <a:pt x="94" y="59"/>
                  </a:cubicBezTo>
                  <a:cubicBezTo>
                    <a:pt x="93" y="57"/>
                    <a:pt x="92" y="54"/>
                    <a:pt x="91" y="52"/>
                  </a:cubicBezTo>
                  <a:cubicBezTo>
                    <a:pt x="91" y="50"/>
                    <a:pt x="84" y="47"/>
                    <a:pt x="84" y="47"/>
                  </a:cubicBezTo>
                  <a:cubicBezTo>
                    <a:pt x="84" y="47"/>
                    <a:pt x="81" y="48"/>
                    <a:pt x="80" y="49"/>
                  </a:cubicBezTo>
                  <a:cubicBezTo>
                    <a:pt x="80" y="51"/>
                    <a:pt x="85" y="54"/>
                    <a:pt x="85" y="56"/>
                  </a:cubicBezTo>
                  <a:cubicBezTo>
                    <a:pt x="85" y="58"/>
                    <a:pt x="80" y="57"/>
                    <a:pt x="78" y="57"/>
                  </a:cubicBezTo>
                  <a:cubicBezTo>
                    <a:pt x="77" y="57"/>
                    <a:pt x="66" y="55"/>
                    <a:pt x="64" y="55"/>
                  </a:cubicBezTo>
                  <a:cubicBezTo>
                    <a:pt x="63" y="55"/>
                    <a:pt x="61" y="56"/>
                    <a:pt x="58" y="56"/>
                  </a:cubicBezTo>
                  <a:cubicBezTo>
                    <a:pt x="56" y="56"/>
                    <a:pt x="53" y="54"/>
                    <a:pt x="50" y="54"/>
                  </a:cubicBezTo>
                  <a:cubicBezTo>
                    <a:pt x="47" y="54"/>
                    <a:pt x="43" y="53"/>
                    <a:pt x="40" y="53"/>
                  </a:cubicBezTo>
                  <a:cubicBezTo>
                    <a:pt x="37" y="53"/>
                    <a:pt x="27" y="50"/>
                    <a:pt x="25" y="50"/>
                  </a:cubicBezTo>
                  <a:cubicBezTo>
                    <a:pt x="23" y="49"/>
                    <a:pt x="20" y="50"/>
                    <a:pt x="16" y="51"/>
                  </a:cubicBezTo>
                  <a:cubicBezTo>
                    <a:pt x="12" y="51"/>
                    <a:pt x="4" y="45"/>
                    <a:pt x="4" y="43"/>
                  </a:cubicBezTo>
                  <a:cubicBezTo>
                    <a:pt x="4" y="42"/>
                    <a:pt x="20" y="42"/>
                    <a:pt x="21" y="41"/>
                  </a:cubicBezTo>
                  <a:cubicBezTo>
                    <a:pt x="21" y="39"/>
                    <a:pt x="19" y="39"/>
                    <a:pt x="17" y="38"/>
                  </a:cubicBezTo>
                  <a:cubicBezTo>
                    <a:pt x="15" y="37"/>
                    <a:pt x="0" y="35"/>
                    <a:pt x="0" y="34"/>
                  </a:cubicBezTo>
                  <a:cubicBezTo>
                    <a:pt x="0" y="33"/>
                    <a:pt x="0" y="25"/>
                    <a:pt x="0"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3" name="Freeform 460"/>
            <p:cNvSpPr>
              <a:spLocks/>
            </p:cNvSpPr>
            <p:nvPr>
              <p:custDataLst>
                <p:tags r:id="rId12"/>
              </p:custDataLst>
            </p:nvPr>
          </p:nvSpPr>
          <p:spPr bwMode="auto">
            <a:xfrm>
              <a:off x="1526" y="1170"/>
              <a:ext cx="406" cy="220"/>
            </a:xfrm>
            <a:custGeom>
              <a:avLst/>
              <a:gdLst>
                <a:gd name="T0" fmla="*/ 13598 w 237"/>
                <a:gd name="T1" fmla="*/ 90223 h 120"/>
                <a:gd name="T2" fmla="*/ 10878 w 237"/>
                <a:gd name="T3" fmla="*/ 75671 h 120"/>
                <a:gd name="T4" fmla="*/ 48951 w 237"/>
                <a:gd name="T5" fmla="*/ 69850 h 120"/>
                <a:gd name="T6" fmla="*/ 67988 w 237"/>
                <a:gd name="T7" fmla="*/ 58208 h 120"/>
                <a:gd name="T8" fmla="*/ 103342 w 237"/>
                <a:gd name="T9" fmla="*/ 61119 h 120"/>
                <a:gd name="T10" fmla="*/ 135976 w 237"/>
                <a:gd name="T11" fmla="*/ 49477 h 120"/>
                <a:gd name="T12" fmla="*/ 152293 w 237"/>
                <a:gd name="T13" fmla="*/ 34925 h 120"/>
                <a:gd name="T14" fmla="*/ 190366 w 237"/>
                <a:gd name="T15" fmla="*/ 52388 h 120"/>
                <a:gd name="T16" fmla="*/ 206683 w 237"/>
                <a:gd name="T17" fmla="*/ 46567 h 120"/>
                <a:gd name="T18" fmla="*/ 206683 w 237"/>
                <a:gd name="T19" fmla="*/ 26194 h 120"/>
                <a:gd name="T20" fmla="*/ 252915 w 237"/>
                <a:gd name="T21" fmla="*/ 26194 h 120"/>
                <a:gd name="T22" fmla="*/ 282830 w 237"/>
                <a:gd name="T23" fmla="*/ 11642 h 120"/>
                <a:gd name="T24" fmla="*/ 323622 w 237"/>
                <a:gd name="T25" fmla="*/ 29104 h 120"/>
                <a:gd name="T26" fmla="*/ 318183 w 237"/>
                <a:gd name="T27" fmla="*/ 5821 h 120"/>
                <a:gd name="T28" fmla="*/ 372574 w 237"/>
                <a:gd name="T29" fmla="*/ 8731 h 120"/>
                <a:gd name="T30" fmla="*/ 394330 w 237"/>
                <a:gd name="T31" fmla="*/ 2910 h 120"/>
                <a:gd name="T32" fmla="*/ 459598 w 237"/>
                <a:gd name="T33" fmla="*/ 2910 h 120"/>
                <a:gd name="T34" fmla="*/ 519427 w 237"/>
                <a:gd name="T35" fmla="*/ 17463 h 120"/>
                <a:gd name="T36" fmla="*/ 519427 w 237"/>
                <a:gd name="T37" fmla="*/ 34925 h 120"/>
                <a:gd name="T38" fmla="*/ 584696 w 237"/>
                <a:gd name="T39" fmla="*/ 17463 h 120"/>
                <a:gd name="T40" fmla="*/ 630927 w 237"/>
                <a:gd name="T41" fmla="*/ 34925 h 120"/>
                <a:gd name="T42" fmla="*/ 579257 w 237"/>
                <a:gd name="T43" fmla="*/ 69850 h 120"/>
                <a:gd name="T44" fmla="*/ 473196 w 237"/>
                <a:gd name="T45" fmla="*/ 93133 h 120"/>
                <a:gd name="T46" fmla="*/ 492232 w 237"/>
                <a:gd name="T47" fmla="*/ 104775 h 120"/>
                <a:gd name="T48" fmla="*/ 524866 w 237"/>
                <a:gd name="T49" fmla="*/ 116417 h 120"/>
                <a:gd name="T50" fmla="*/ 437842 w 237"/>
                <a:gd name="T51" fmla="*/ 174625 h 120"/>
                <a:gd name="T52" fmla="*/ 320903 w 237"/>
                <a:gd name="T53" fmla="*/ 192088 h 120"/>
                <a:gd name="T54" fmla="*/ 356256 w 237"/>
                <a:gd name="T55" fmla="*/ 209550 h 120"/>
                <a:gd name="T56" fmla="*/ 353537 w 237"/>
                <a:gd name="T57" fmla="*/ 247385 h 120"/>
                <a:gd name="T58" fmla="*/ 288269 w 237"/>
                <a:gd name="T59" fmla="*/ 264848 h 120"/>
                <a:gd name="T60" fmla="*/ 236598 w 237"/>
                <a:gd name="T61" fmla="*/ 293952 h 120"/>
                <a:gd name="T62" fmla="*/ 274671 w 237"/>
                <a:gd name="T63" fmla="*/ 311415 h 120"/>
                <a:gd name="T64" fmla="*/ 285549 w 237"/>
                <a:gd name="T65" fmla="*/ 334698 h 120"/>
                <a:gd name="T66" fmla="*/ 228439 w 237"/>
                <a:gd name="T67" fmla="*/ 331788 h 120"/>
                <a:gd name="T68" fmla="*/ 155012 w 237"/>
                <a:gd name="T69" fmla="*/ 331788 h 120"/>
                <a:gd name="T70" fmla="*/ 95183 w 237"/>
                <a:gd name="T71" fmla="*/ 334698 h 120"/>
                <a:gd name="T72" fmla="*/ 57110 w 237"/>
                <a:gd name="T73" fmla="*/ 317235 h 120"/>
                <a:gd name="T74" fmla="*/ 92464 w 237"/>
                <a:gd name="T75" fmla="*/ 293952 h 120"/>
                <a:gd name="T76" fmla="*/ 114220 w 237"/>
                <a:gd name="T77" fmla="*/ 276490 h 120"/>
                <a:gd name="T78" fmla="*/ 168610 w 237"/>
                <a:gd name="T79" fmla="*/ 299773 h 120"/>
                <a:gd name="T80" fmla="*/ 149573 w 237"/>
                <a:gd name="T81" fmla="*/ 282310 h 120"/>
                <a:gd name="T82" fmla="*/ 149573 w 237"/>
                <a:gd name="T83" fmla="*/ 250296 h 120"/>
                <a:gd name="T84" fmla="*/ 97903 w 237"/>
                <a:gd name="T85" fmla="*/ 253206 h 120"/>
                <a:gd name="T86" fmla="*/ 130537 w 237"/>
                <a:gd name="T87" fmla="*/ 227013 h 120"/>
                <a:gd name="T88" fmla="*/ 195805 w 237"/>
                <a:gd name="T89" fmla="*/ 224102 h 120"/>
                <a:gd name="T90" fmla="*/ 163171 w 237"/>
                <a:gd name="T91" fmla="*/ 206640 h 120"/>
                <a:gd name="T92" fmla="*/ 130537 w 237"/>
                <a:gd name="T93" fmla="*/ 174625 h 120"/>
                <a:gd name="T94" fmla="*/ 116939 w 237"/>
                <a:gd name="T95" fmla="*/ 154252 h 120"/>
                <a:gd name="T96" fmla="*/ 171329 w 237"/>
                <a:gd name="T97" fmla="*/ 157163 h 120"/>
                <a:gd name="T98" fmla="*/ 217561 w 237"/>
                <a:gd name="T99" fmla="*/ 186267 h 120"/>
                <a:gd name="T100" fmla="*/ 220281 w 237"/>
                <a:gd name="T101" fmla="*/ 168804 h 120"/>
                <a:gd name="T102" fmla="*/ 214842 w 237"/>
                <a:gd name="T103" fmla="*/ 148431 h 120"/>
                <a:gd name="T104" fmla="*/ 277391 w 237"/>
                <a:gd name="T105" fmla="*/ 128058 h 120"/>
                <a:gd name="T106" fmla="*/ 282830 w 237"/>
                <a:gd name="T107" fmla="*/ 104775 h 120"/>
                <a:gd name="T108" fmla="*/ 255634 w 237"/>
                <a:gd name="T109" fmla="*/ 125148 h 120"/>
                <a:gd name="T110" fmla="*/ 111500 w 237"/>
                <a:gd name="T111" fmla="*/ 133879 h 120"/>
                <a:gd name="T112" fmla="*/ 100622 w 237"/>
                <a:gd name="T113" fmla="*/ 116417 h 120"/>
                <a:gd name="T114" fmla="*/ 116939 w 237"/>
                <a:gd name="T115" fmla="*/ 98954 h 120"/>
                <a:gd name="T116" fmla="*/ 32634 w 237"/>
                <a:gd name="T117" fmla="*/ 93133 h 1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7" h="120">
                  <a:moveTo>
                    <a:pt x="12" y="32"/>
                  </a:moveTo>
                  <a:cubicBezTo>
                    <a:pt x="8" y="30"/>
                    <a:pt x="8" y="31"/>
                    <a:pt x="5" y="31"/>
                  </a:cubicBezTo>
                  <a:cubicBezTo>
                    <a:pt x="3" y="31"/>
                    <a:pt x="2" y="29"/>
                    <a:pt x="2" y="29"/>
                  </a:cubicBezTo>
                  <a:cubicBezTo>
                    <a:pt x="0" y="28"/>
                    <a:pt x="2" y="26"/>
                    <a:pt x="4" y="26"/>
                  </a:cubicBezTo>
                  <a:cubicBezTo>
                    <a:pt x="5" y="26"/>
                    <a:pt x="10" y="23"/>
                    <a:pt x="11" y="23"/>
                  </a:cubicBezTo>
                  <a:cubicBezTo>
                    <a:pt x="12" y="23"/>
                    <a:pt x="18" y="24"/>
                    <a:pt x="18" y="24"/>
                  </a:cubicBezTo>
                  <a:cubicBezTo>
                    <a:pt x="18" y="24"/>
                    <a:pt x="20" y="25"/>
                    <a:pt x="22" y="24"/>
                  </a:cubicBezTo>
                  <a:cubicBezTo>
                    <a:pt x="23" y="23"/>
                    <a:pt x="24" y="21"/>
                    <a:pt x="25" y="20"/>
                  </a:cubicBezTo>
                  <a:cubicBezTo>
                    <a:pt x="26" y="20"/>
                    <a:pt x="32" y="19"/>
                    <a:pt x="33" y="19"/>
                  </a:cubicBezTo>
                  <a:cubicBezTo>
                    <a:pt x="34" y="20"/>
                    <a:pt x="36" y="21"/>
                    <a:pt x="38" y="21"/>
                  </a:cubicBezTo>
                  <a:cubicBezTo>
                    <a:pt x="40" y="21"/>
                    <a:pt x="41" y="17"/>
                    <a:pt x="41" y="17"/>
                  </a:cubicBezTo>
                  <a:cubicBezTo>
                    <a:pt x="42" y="17"/>
                    <a:pt x="50" y="18"/>
                    <a:pt x="50" y="17"/>
                  </a:cubicBezTo>
                  <a:cubicBezTo>
                    <a:pt x="50" y="16"/>
                    <a:pt x="48" y="12"/>
                    <a:pt x="49" y="12"/>
                  </a:cubicBezTo>
                  <a:cubicBezTo>
                    <a:pt x="50" y="12"/>
                    <a:pt x="55" y="12"/>
                    <a:pt x="56" y="12"/>
                  </a:cubicBezTo>
                  <a:cubicBezTo>
                    <a:pt x="57" y="13"/>
                    <a:pt x="62" y="14"/>
                    <a:pt x="64" y="15"/>
                  </a:cubicBezTo>
                  <a:cubicBezTo>
                    <a:pt x="65" y="16"/>
                    <a:pt x="68" y="18"/>
                    <a:pt x="70" y="18"/>
                  </a:cubicBezTo>
                  <a:cubicBezTo>
                    <a:pt x="72" y="19"/>
                    <a:pt x="75" y="18"/>
                    <a:pt x="76" y="18"/>
                  </a:cubicBezTo>
                  <a:cubicBezTo>
                    <a:pt x="78" y="18"/>
                    <a:pt x="77" y="17"/>
                    <a:pt x="76" y="16"/>
                  </a:cubicBezTo>
                  <a:cubicBezTo>
                    <a:pt x="76" y="16"/>
                    <a:pt x="71" y="14"/>
                    <a:pt x="72" y="13"/>
                  </a:cubicBezTo>
                  <a:cubicBezTo>
                    <a:pt x="73" y="12"/>
                    <a:pt x="76" y="9"/>
                    <a:pt x="76" y="9"/>
                  </a:cubicBezTo>
                  <a:cubicBezTo>
                    <a:pt x="76" y="9"/>
                    <a:pt x="82" y="7"/>
                    <a:pt x="85" y="7"/>
                  </a:cubicBezTo>
                  <a:cubicBezTo>
                    <a:pt x="89" y="6"/>
                    <a:pt x="91" y="9"/>
                    <a:pt x="93" y="9"/>
                  </a:cubicBezTo>
                  <a:cubicBezTo>
                    <a:pt x="96" y="9"/>
                    <a:pt x="92" y="4"/>
                    <a:pt x="94" y="4"/>
                  </a:cubicBezTo>
                  <a:cubicBezTo>
                    <a:pt x="96" y="3"/>
                    <a:pt x="102" y="3"/>
                    <a:pt x="104" y="4"/>
                  </a:cubicBezTo>
                  <a:cubicBezTo>
                    <a:pt x="106" y="5"/>
                    <a:pt x="111" y="5"/>
                    <a:pt x="112" y="6"/>
                  </a:cubicBezTo>
                  <a:cubicBezTo>
                    <a:pt x="114" y="7"/>
                    <a:pt x="118" y="9"/>
                    <a:pt x="119" y="10"/>
                  </a:cubicBezTo>
                  <a:cubicBezTo>
                    <a:pt x="120" y="11"/>
                    <a:pt x="123" y="11"/>
                    <a:pt x="124" y="10"/>
                  </a:cubicBezTo>
                  <a:cubicBezTo>
                    <a:pt x="125" y="9"/>
                    <a:pt x="117" y="4"/>
                    <a:pt x="117" y="2"/>
                  </a:cubicBezTo>
                  <a:cubicBezTo>
                    <a:pt x="118" y="1"/>
                    <a:pt x="127" y="1"/>
                    <a:pt x="129" y="1"/>
                  </a:cubicBezTo>
                  <a:cubicBezTo>
                    <a:pt x="132" y="1"/>
                    <a:pt x="136" y="2"/>
                    <a:pt x="137" y="3"/>
                  </a:cubicBezTo>
                  <a:cubicBezTo>
                    <a:pt x="138" y="4"/>
                    <a:pt x="142" y="6"/>
                    <a:pt x="144" y="6"/>
                  </a:cubicBezTo>
                  <a:cubicBezTo>
                    <a:pt x="146" y="6"/>
                    <a:pt x="144" y="1"/>
                    <a:pt x="145" y="1"/>
                  </a:cubicBezTo>
                  <a:cubicBezTo>
                    <a:pt x="147" y="1"/>
                    <a:pt x="152" y="1"/>
                    <a:pt x="155" y="1"/>
                  </a:cubicBezTo>
                  <a:cubicBezTo>
                    <a:pt x="157" y="2"/>
                    <a:pt x="167" y="0"/>
                    <a:pt x="169" y="1"/>
                  </a:cubicBezTo>
                  <a:cubicBezTo>
                    <a:pt x="171" y="1"/>
                    <a:pt x="186" y="3"/>
                    <a:pt x="189" y="3"/>
                  </a:cubicBezTo>
                  <a:cubicBezTo>
                    <a:pt x="192" y="4"/>
                    <a:pt x="200" y="4"/>
                    <a:pt x="191" y="6"/>
                  </a:cubicBezTo>
                  <a:cubicBezTo>
                    <a:pt x="182" y="9"/>
                    <a:pt x="176" y="9"/>
                    <a:pt x="178" y="11"/>
                  </a:cubicBezTo>
                  <a:cubicBezTo>
                    <a:pt x="180" y="12"/>
                    <a:pt x="189" y="12"/>
                    <a:pt x="191" y="12"/>
                  </a:cubicBezTo>
                  <a:cubicBezTo>
                    <a:pt x="192" y="12"/>
                    <a:pt x="202" y="9"/>
                    <a:pt x="205" y="7"/>
                  </a:cubicBezTo>
                  <a:cubicBezTo>
                    <a:pt x="208" y="5"/>
                    <a:pt x="213" y="6"/>
                    <a:pt x="215" y="6"/>
                  </a:cubicBezTo>
                  <a:cubicBezTo>
                    <a:pt x="217" y="7"/>
                    <a:pt x="219" y="11"/>
                    <a:pt x="222" y="11"/>
                  </a:cubicBezTo>
                  <a:cubicBezTo>
                    <a:pt x="224" y="12"/>
                    <a:pt x="230" y="11"/>
                    <a:pt x="232" y="12"/>
                  </a:cubicBezTo>
                  <a:cubicBezTo>
                    <a:pt x="234" y="14"/>
                    <a:pt x="237" y="15"/>
                    <a:pt x="233" y="18"/>
                  </a:cubicBezTo>
                  <a:cubicBezTo>
                    <a:pt x="231" y="19"/>
                    <a:pt x="217" y="24"/>
                    <a:pt x="213" y="24"/>
                  </a:cubicBezTo>
                  <a:cubicBezTo>
                    <a:pt x="209" y="24"/>
                    <a:pt x="200" y="26"/>
                    <a:pt x="198" y="27"/>
                  </a:cubicBezTo>
                  <a:cubicBezTo>
                    <a:pt x="192" y="27"/>
                    <a:pt x="179" y="32"/>
                    <a:pt x="174" y="32"/>
                  </a:cubicBezTo>
                  <a:cubicBezTo>
                    <a:pt x="169" y="33"/>
                    <a:pt x="169" y="36"/>
                    <a:pt x="170" y="37"/>
                  </a:cubicBezTo>
                  <a:cubicBezTo>
                    <a:pt x="171" y="37"/>
                    <a:pt x="178" y="36"/>
                    <a:pt x="181" y="36"/>
                  </a:cubicBezTo>
                  <a:cubicBezTo>
                    <a:pt x="184" y="36"/>
                    <a:pt x="209" y="30"/>
                    <a:pt x="209" y="31"/>
                  </a:cubicBezTo>
                  <a:cubicBezTo>
                    <a:pt x="210" y="32"/>
                    <a:pt x="197" y="39"/>
                    <a:pt x="193" y="40"/>
                  </a:cubicBezTo>
                  <a:cubicBezTo>
                    <a:pt x="188" y="42"/>
                    <a:pt x="176" y="49"/>
                    <a:pt x="172" y="51"/>
                  </a:cubicBezTo>
                  <a:cubicBezTo>
                    <a:pt x="169" y="52"/>
                    <a:pt x="164" y="58"/>
                    <a:pt x="161" y="60"/>
                  </a:cubicBezTo>
                  <a:cubicBezTo>
                    <a:pt x="158" y="61"/>
                    <a:pt x="149" y="65"/>
                    <a:pt x="145" y="65"/>
                  </a:cubicBezTo>
                  <a:cubicBezTo>
                    <a:pt x="142" y="65"/>
                    <a:pt x="121" y="67"/>
                    <a:pt x="118" y="66"/>
                  </a:cubicBezTo>
                  <a:cubicBezTo>
                    <a:pt x="115" y="66"/>
                    <a:pt x="112" y="69"/>
                    <a:pt x="114" y="69"/>
                  </a:cubicBezTo>
                  <a:cubicBezTo>
                    <a:pt x="116" y="69"/>
                    <a:pt x="128" y="71"/>
                    <a:pt x="131" y="72"/>
                  </a:cubicBezTo>
                  <a:cubicBezTo>
                    <a:pt x="134" y="73"/>
                    <a:pt x="132" y="74"/>
                    <a:pt x="132" y="76"/>
                  </a:cubicBezTo>
                  <a:cubicBezTo>
                    <a:pt x="132" y="78"/>
                    <a:pt x="132" y="82"/>
                    <a:pt x="130" y="85"/>
                  </a:cubicBezTo>
                  <a:cubicBezTo>
                    <a:pt x="127" y="88"/>
                    <a:pt x="124" y="91"/>
                    <a:pt x="123" y="91"/>
                  </a:cubicBezTo>
                  <a:cubicBezTo>
                    <a:pt x="122" y="91"/>
                    <a:pt x="110" y="91"/>
                    <a:pt x="106" y="91"/>
                  </a:cubicBezTo>
                  <a:cubicBezTo>
                    <a:pt x="102" y="92"/>
                    <a:pt x="110" y="97"/>
                    <a:pt x="108" y="98"/>
                  </a:cubicBezTo>
                  <a:cubicBezTo>
                    <a:pt x="106" y="100"/>
                    <a:pt x="91" y="102"/>
                    <a:pt x="87" y="101"/>
                  </a:cubicBezTo>
                  <a:cubicBezTo>
                    <a:pt x="83" y="100"/>
                    <a:pt x="84" y="100"/>
                    <a:pt x="83" y="103"/>
                  </a:cubicBezTo>
                  <a:cubicBezTo>
                    <a:pt x="81" y="106"/>
                    <a:pt x="97" y="106"/>
                    <a:pt x="101" y="107"/>
                  </a:cubicBezTo>
                  <a:cubicBezTo>
                    <a:pt x="104" y="108"/>
                    <a:pt x="106" y="106"/>
                    <a:pt x="107" y="108"/>
                  </a:cubicBezTo>
                  <a:cubicBezTo>
                    <a:pt x="108" y="111"/>
                    <a:pt x="107" y="114"/>
                    <a:pt x="105" y="115"/>
                  </a:cubicBezTo>
                  <a:cubicBezTo>
                    <a:pt x="103" y="115"/>
                    <a:pt x="88" y="120"/>
                    <a:pt x="86" y="120"/>
                  </a:cubicBezTo>
                  <a:cubicBezTo>
                    <a:pt x="84" y="120"/>
                    <a:pt x="89" y="114"/>
                    <a:pt x="84" y="114"/>
                  </a:cubicBezTo>
                  <a:cubicBezTo>
                    <a:pt x="79" y="114"/>
                    <a:pt x="77" y="116"/>
                    <a:pt x="69" y="115"/>
                  </a:cubicBezTo>
                  <a:cubicBezTo>
                    <a:pt x="61" y="115"/>
                    <a:pt x="59" y="114"/>
                    <a:pt x="57" y="114"/>
                  </a:cubicBezTo>
                  <a:cubicBezTo>
                    <a:pt x="55" y="114"/>
                    <a:pt x="61" y="120"/>
                    <a:pt x="54" y="119"/>
                  </a:cubicBezTo>
                  <a:cubicBezTo>
                    <a:pt x="47" y="119"/>
                    <a:pt x="39" y="116"/>
                    <a:pt x="35" y="115"/>
                  </a:cubicBezTo>
                  <a:cubicBezTo>
                    <a:pt x="30" y="115"/>
                    <a:pt x="20" y="116"/>
                    <a:pt x="18" y="113"/>
                  </a:cubicBezTo>
                  <a:cubicBezTo>
                    <a:pt x="16" y="111"/>
                    <a:pt x="17" y="110"/>
                    <a:pt x="21" y="109"/>
                  </a:cubicBezTo>
                  <a:cubicBezTo>
                    <a:pt x="24" y="109"/>
                    <a:pt x="35" y="108"/>
                    <a:pt x="38" y="106"/>
                  </a:cubicBezTo>
                  <a:cubicBezTo>
                    <a:pt x="41" y="104"/>
                    <a:pt x="35" y="103"/>
                    <a:pt x="34" y="101"/>
                  </a:cubicBezTo>
                  <a:cubicBezTo>
                    <a:pt x="33" y="99"/>
                    <a:pt x="29" y="97"/>
                    <a:pt x="31" y="95"/>
                  </a:cubicBezTo>
                  <a:cubicBezTo>
                    <a:pt x="32" y="94"/>
                    <a:pt x="38" y="92"/>
                    <a:pt x="42" y="95"/>
                  </a:cubicBezTo>
                  <a:cubicBezTo>
                    <a:pt x="46" y="98"/>
                    <a:pt x="46" y="101"/>
                    <a:pt x="49" y="102"/>
                  </a:cubicBezTo>
                  <a:cubicBezTo>
                    <a:pt x="52" y="103"/>
                    <a:pt x="59" y="103"/>
                    <a:pt x="62" y="103"/>
                  </a:cubicBezTo>
                  <a:cubicBezTo>
                    <a:pt x="64" y="102"/>
                    <a:pt x="65" y="101"/>
                    <a:pt x="64" y="100"/>
                  </a:cubicBezTo>
                  <a:cubicBezTo>
                    <a:pt x="64" y="98"/>
                    <a:pt x="57" y="100"/>
                    <a:pt x="55" y="97"/>
                  </a:cubicBezTo>
                  <a:cubicBezTo>
                    <a:pt x="53" y="94"/>
                    <a:pt x="50" y="92"/>
                    <a:pt x="52" y="91"/>
                  </a:cubicBezTo>
                  <a:cubicBezTo>
                    <a:pt x="54" y="90"/>
                    <a:pt x="56" y="89"/>
                    <a:pt x="55" y="86"/>
                  </a:cubicBezTo>
                  <a:cubicBezTo>
                    <a:pt x="54" y="83"/>
                    <a:pt x="51" y="87"/>
                    <a:pt x="45" y="87"/>
                  </a:cubicBezTo>
                  <a:cubicBezTo>
                    <a:pt x="39" y="88"/>
                    <a:pt x="36" y="89"/>
                    <a:pt x="36" y="87"/>
                  </a:cubicBezTo>
                  <a:cubicBezTo>
                    <a:pt x="37" y="85"/>
                    <a:pt x="39" y="82"/>
                    <a:pt x="41" y="80"/>
                  </a:cubicBezTo>
                  <a:cubicBezTo>
                    <a:pt x="43" y="79"/>
                    <a:pt x="44" y="78"/>
                    <a:pt x="48" y="78"/>
                  </a:cubicBezTo>
                  <a:cubicBezTo>
                    <a:pt x="53" y="78"/>
                    <a:pt x="63" y="77"/>
                    <a:pt x="66" y="79"/>
                  </a:cubicBezTo>
                  <a:cubicBezTo>
                    <a:pt x="70" y="80"/>
                    <a:pt x="70" y="80"/>
                    <a:pt x="72" y="77"/>
                  </a:cubicBezTo>
                  <a:cubicBezTo>
                    <a:pt x="74" y="74"/>
                    <a:pt x="68" y="74"/>
                    <a:pt x="65" y="73"/>
                  </a:cubicBezTo>
                  <a:cubicBezTo>
                    <a:pt x="62" y="73"/>
                    <a:pt x="60" y="74"/>
                    <a:pt x="60" y="71"/>
                  </a:cubicBezTo>
                  <a:cubicBezTo>
                    <a:pt x="61" y="67"/>
                    <a:pt x="59" y="67"/>
                    <a:pt x="56" y="64"/>
                  </a:cubicBezTo>
                  <a:cubicBezTo>
                    <a:pt x="53" y="62"/>
                    <a:pt x="49" y="60"/>
                    <a:pt x="48" y="60"/>
                  </a:cubicBezTo>
                  <a:cubicBezTo>
                    <a:pt x="47" y="60"/>
                    <a:pt x="45" y="61"/>
                    <a:pt x="44" y="59"/>
                  </a:cubicBezTo>
                  <a:cubicBezTo>
                    <a:pt x="43" y="58"/>
                    <a:pt x="42" y="53"/>
                    <a:pt x="43" y="53"/>
                  </a:cubicBezTo>
                  <a:cubicBezTo>
                    <a:pt x="45" y="52"/>
                    <a:pt x="50" y="53"/>
                    <a:pt x="53" y="53"/>
                  </a:cubicBezTo>
                  <a:cubicBezTo>
                    <a:pt x="56" y="53"/>
                    <a:pt x="61" y="52"/>
                    <a:pt x="63" y="54"/>
                  </a:cubicBezTo>
                  <a:cubicBezTo>
                    <a:pt x="65" y="56"/>
                    <a:pt x="74" y="59"/>
                    <a:pt x="75" y="60"/>
                  </a:cubicBezTo>
                  <a:cubicBezTo>
                    <a:pt x="75" y="62"/>
                    <a:pt x="78" y="64"/>
                    <a:pt x="80" y="64"/>
                  </a:cubicBezTo>
                  <a:cubicBezTo>
                    <a:pt x="81" y="64"/>
                    <a:pt x="84" y="63"/>
                    <a:pt x="84" y="61"/>
                  </a:cubicBezTo>
                  <a:cubicBezTo>
                    <a:pt x="84" y="60"/>
                    <a:pt x="81" y="59"/>
                    <a:pt x="81" y="58"/>
                  </a:cubicBezTo>
                  <a:cubicBezTo>
                    <a:pt x="81" y="56"/>
                    <a:pt x="72" y="54"/>
                    <a:pt x="71" y="53"/>
                  </a:cubicBezTo>
                  <a:cubicBezTo>
                    <a:pt x="71" y="51"/>
                    <a:pt x="77" y="51"/>
                    <a:pt x="79" y="51"/>
                  </a:cubicBezTo>
                  <a:cubicBezTo>
                    <a:pt x="82" y="51"/>
                    <a:pt x="94" y="48"/>
                    <a:pt x="96" y="48"/>
                  </a:cubicBezTo>
                  <a:cubicBezTo>
                    <a:pt x="98" y="47"/>
                    <a:pt x="102" y="46"/>
                    <a:pt x="102" y="44"/>
                  </a:cubicBezTo>
                  <a:cubicBezTo>
                    <a:pt x="102" y="42"/>
                    <a:pt x="101" y="41"/>
                    <a:pt x="102" y="40"/>
                  </a:cubicBezTo>
                  <a:cubicBezTo>
                    <a:pt x="103" y="39"/>
                    <a:pt x="105" y="36"/>
                    <a:pt x="104" y="36"/>
                  </a:cubicBezTo>
                  <a:cubicBezTo>
                    <a:pt x="103" y="35"/>
                    <a:pt x="97" y="38"/>
                    <a:pt x="96" y="39"/>
                  </a:cubicBezTo>
                  <a:cubicBezTo>
                    <a:pt x="95" y="39"/>
                    <a:pt x="96" y="43"/>
                    <a:pt x="94" y="43"/>
                  </a:cubicBezTo>
                  <a:cubicBezTo>
                    <a:pt x="91" y="43"/>
                    <a:pt x="73" y="47"/>
                    <a:pt x="65" y="46"/>
                  </a:cubicBezTo>
                  <a:cubicBezTo>
                    <a:pt x="58" y="46"/>
                    <a:pt x="45" y="48"/>
                    <a:pt x="41" y="46"/>
                  </a:cubicBezTo>
                  <a:cubicBezTo>
                    <a:pt x="37" y="44"/>
                    <a:pt x="30" y="46"/>
                    <a:pt x="25" y="43"/>
                  </a:cubicBezTo>
                  <a:cubicBezTo>
                    <a:pt x="21" y="39"/>
                    <a:pt x="32" y="40"/>
                    <a:pt x="37" y="40"/>
                  </a:cubicBezTo>
                  <a:cubicBezTo>
                    <a:pt x="43" y="39"/>
                    <a:pt x="49" y="36"/>
                    <a:pt x="50" y="35"/>
                  </a:cubicBezTo>
                  <a:cubicBezTo>
                    <a:pt x="52" y="33"/>
                    <a:pt x="49" y="33"/>
                    <a:pt x="43" y="34"/>
                  </a:cubicBezTo>
                  <a:cubicBezTo>
                    <a:pt x="37" y="34"/>
                    <a:pt x="21" y="37"/>
                    <a:pt x="15" y="35"/>
                  </a:cubicBezTo>
                  <a:cubicBezTo>
                    <a:pt x="9" y="33"/>
                    <a:pt x="16" y="35"/>
                    <a:pt x="12" y="3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 name="Freeform 461"/>
            <p:cNvSpPr>
              <a:spLocks/>
            </p:cNvSpPr>
            <p:nvPr>
              <p:custDataLst>
                <p:tags r:id="rId13"/>
              </p:custDataLst>
            </p:nvPr>
          </p:nvSpPr>
          <p:spPr bwMode="auto">
            <a:xfrm>
              <a:off x="1530" y="1345"/>
              <a:ext cx="28" cy="20"/>
            </a:xfrm>
            <a:custGeom>
              <a:avLst/>
              <a:gdLst>
                <a:gd name="T0" fmla="*/ 22225 w 16"/>
                <a:gd name="T1" fmla="*/ 28864 h 11"/>
                <a:gd name="T2" fmla="*/ 5556 w 16"/>
                <a:gd name="T3" fmla="*/ 14432 h 11"/>
                <a:gd name="T4" fmla="*/ 16669 w 16"/>
                <a:gd name="T5" fmla="*/ 0 h 11"/>
                <a:gd name="T6" fmla="*/ 30559 w 16"/>
                <a:gd name="T7" fmla="*/ 2886 h 11"/>
                <a:gd name="T8" fmla="*/ 44450 w 16"/>
                <a:gd name="T9" fmla="*/ 20205 h 11"/>
                <a:gd name="T10" fmla="*/ 22225 w 16"/>
                <a:gd name="T11" fmla="*/ 28864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1">
                  <a:moveTo>
                    <a:pt x="8" y="10"/>
                  </a:moveTo>
                  <a:cubicBezTo>
                    <a:pt x="6" y="10"/>
                    <a:pt x="2" y="7"/>
                    <a:pt x="2" y="5"/>
                  </a:cubicBezTo>
                  <a:cubicBezTo>
                    <a:pt x="0" y="3"/>
                    <a:pt x="4" y="0"/>
                    <a:pt x="6" y="0"/>
                  </a:cubicBezTo>
                  <a:cubicBezTo>
                    <a:pt x="6" y="0"/>
                    <a:pt x="9" y="0"/>
                    <a:pt x="11" y="1"/>
                  </a:cubicBezTo>
                  <a:cubicBezTo>
                    <a:pt x="13" y="1"/>
                    <a:pt x="16" y="4"/>
                    <a:pt x="16" y="7"/>
                  </a:cubicBezTo>
                  <a:cubicBezTo>
                    <a:pt x="16" y="11"/>
                    <a:pt x="10" y="10"/>
                    <a:pt x="8"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5" name="Freeform 462"/>
            <p:cNvSpPr>
              <a:spLocks/>
            </p:cNvSpPr>
            <p:nvPr>
              <p:custDataLst>
                <p:tags r:id="rId14"/>
              </p:custDataLst>
            </p:nvPr>
          </p:nvSpPr>
          <p:spPr bwMode="auto">
            <a:xfrm>
              <a:off x="1512" y="1378"/>
              <a:ext cx="180" cy="62"/>
            </a:xfrm>
            <a:custGeom>
              <a:avLst/>
              <a:gdLst>
                <a:gd name="T0" fmla="*/ 2721 w 105"/>
                <a:gd name="T1" fmla="*/ 14474 h 34"/>
                <a:gd name="T2" fmla="*/ 13607 w 105"/>
                <a:gd name="T3" fmla="*/ 0 h 34"/>
                <a:gd name="T4" fmla="*/ 38100 w 105"/>
                <a:gd name="T5" fmla="*/ 0 h 34"/>
                <a:gd name="T6" fmla="*/ 62593 w 105"/>
                <a:gd name="T7" fmla="*/ 17369 h 34"/>
                <a:gd name="T8" fmla="*/ 81643 w 105"/>
                <a:gd name="T9" fmla="*/ 23159 h 34"/>
                <a:gd name="T10" fmla="*/ 62593 w 105"/>
                <a:gd name="T11" fmla="*/ 28949 h 34"/>
                <a:gd name="T12" fmla="*/ 78921 w 105"/>
                <a:gd name="T13" fmla="*/ 43423 h 34"/>
                <a:gd name="T14" fmla="*/ 119743 w 105"/>
                <a:gd name="T15" fmla="*/ 46318 h 34"/>
                <a:gd name="T16" fmla="*/ 144236 w 105"/>
                <a:gd name="T17" fmla="*/ 57897 h 34"/>
                <a:gd name="T18" fmla="*/ 157843 w 105"/>
                <a:gd name="T19" fmla="*/ 49213 h 34"/>
                <a:gd name="T20" fmla="*/ 193221 w 105"/>
                <a:gd name="T21" fmla="*/ 40528 h 34"/>
                <a:gd name="T22" fmla="*/ 239486 w 105"/>
                <a:gd name="T23" fmla="*/ 40528 h 34"/>
                <a:gd name="T24" fmla="*/ 261257 w 105"/>
                <a:gd name="T25" fmla="*/ 43423 h 34"/>
                <a:gd name="T26" fmla="*/ 280307 w 105"/>
                <a:gd name="T27" fmla="*/ 57897 h 34"/>
                <a:gd name="T28" fmla="*/ 266700 w 105"/>
                <a:gd name="T29" fmla="*/ 72371 h 34"/>
                <a:gd name="T30" fmla="*/ 285750 w 105"/>
                <a:gd name="T31" fmla="*/ 78161 h 34"/>
                <a:gd name="T32" fmla="*/ 266700 w 105"/>
                <a:gd name="T33" fmla="*/ 89740 h 34"/>
                <a:gd name="T34" fmla="*/ 234043 w 105"/>
                <a:gd name="T35" fmla="*/ 95530 h 34"/>
                <a:gd name="T36" fmla="*/ 209550 w 105"/>
                <a:gd name="T37" fmla="*/ 89740 h 34"/>
                <a:gd name="T38" fmla="*/ 204107 w 105"/>
                <a:gd name="T39" fmla="*/ 78161 h 34"/>
                <a:gd name="T40" fmla="*/ 185057 w 105"/>
                <a:gd name="T41" fmla="*/ 92635 h 34"/>
                <a:gd name="T42" fmla="*/ 144236 w 105"/>
                <a:gd name="T43" fmla="*/ 95530 h 34"/>
                <a:gd name="T44" fmla="*/ 97971 w 105"/>
                <a:gd name="T45" fmla="*/ 95530 h 34"/>
                <a:gd name="T46" fmla="*/ 92529 w 105"/>
                <a:gd name="T47" fmla="*/ 78161 h 34"/>
                <a:gd name="T48" fmla="*/ 73479 w 105"/>
                <a:gd name="T49" fmla="*/ 92635 h 34"/>
                <a:gd name="T50" fmla="*/ 48986 w 105"/>
                <a:gd name="T51" fmla="*/ 89740 h 34"/>
                <a:gd name="T52" fmla="*/ 24493 w 105"/>
                <a:gd name="T53" fmla="*/ 83951 h 34"/>
                <a:gd name="T54" fmla="*/ 16329 w 105"/>
                <a:gd name="T55" fmla="*/ 63687 h 34"/>
                <a:gd name="T56" fmla="*/ 21771 w 105"/>
                <a:gd name="T57" fmla="*/ 46318 h 34"/>
                <a:gd name="T58" fmla="*/ 13607 w 105"/>
                <a:gd name="T59" fmla="*/ 28949 h 34"/>
                <a:gd name="T60" fmla="*/ 2721 w 105"/>
                <a:gd name="T61" fmla="*/ 14474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5" h="34">
                  <a:moveTo>
                    <a:pt x="1" y="5"/>
                  </a:moveTo>
                  <a:cubicBezTo>
                    <a:pt x="2" y="4"/>
                    <a:pt x="4" y="1"/>
                    <a:pt x="5" y="0"/>
                  </a:cubicBezTo>
                  <a:cubicBezTo>
                    <a:pt x="6" y="0"/>
                    <a:pt x="12" y="0"/>
                    <a:pt x="14" y="0"/>
                  </a:cubicBezTo>
                  <a:cubicBezTo>
                    <a:pt x="16" y="1"/>
                    <a:pt x="19" y="6"/>
                    <a:pt x="23" y="6"/>
                  </a:cubicBezTo>
                  <a:cubicBezTo>
                    <a:pt x="26" y="6"/>
                    <a:pt x="30" y="6"/>
                    <a:pt x="30" y="8"/>
                  </a:cubicBezTo>
                  <a:cubicBezTo>
                    <a:pt x="30" y="9"/>
                    <a:pt x="24" y="9"/>
                    <a:pt x="23" y="10"/>
                  </a:cubicBezTo>
                  <a:cubicBezTo>
                    <a:pt x="22" y="11"/>
                    <a:pt x="25" y="14"/>
                    <a:pt x="29" y="15"/>
                  </a:cubicBezTo>
                  <a:cubicBezTo>
                    <a:pt x="33" y="16"/>
                    <a:pt x="42" y="15"/>
                    <a:pt x="44" y="16"/>
                  </a:cubicBezTo>
                  <a:cubicBezTo>
                    <a:pt x="46" y="17"/>
                    <a:pt x="52" y="21"/>
                    <a:pt x="53" y="20"/>
                  </a:cubicBezTo>
                  <a:cubicBezTo>
                    <a:pt x="54" y="20"/>
                    <a:pt x="55" y="17"/>
                    <a:pt x="58" y="17"/>
                  </a:cubicBezTo>
                  <a:cubicBezTo>
                    <a:pt x="60" y="17"/>
                    <a:pt x="69" y="14"/>
                    <a:pt x="71" y="14"/>
                  </a:cubicBezTo>
                  <a:cubicBezTo>
                    <a:pt x="73" y="14"/>
                    <a:pt x="86" y="14"/>
                    <a:pt x="88" y="14"/>
                  </a:cubicBezTo>
                  <a:cubicBezTo>
                    <a:pt x="90" y="14"/>
                    <a:pt x="93" y="14"/>
                    <a:pt x="96" y="15"/>
                  </a:cubicBezTo>
                  <a:cubicBezTo>
                    <a:pt x="98" y="16"/>
                    <a:pt x="104" y="19"/>
                    <a:pt x="103" y="20"/>
                  </a:cubicBezTo>
                  <a:cubicBezTo>
                    <a:pt x="103" y="21"/>
                    <a:pt x="96" y="23"/>
                    <a:pt x="98" y="25"/>
                  </a:cubicBezTo>
                  <a:cubicBezTo>
                    <a:pt x="99" y="26"/>
                    <a:pt x="105" y="26"/>
                    <a:pt x="105" y="27"/>
                  </a:cubicBezTo>
                  <a:cubicBezTo>
                    <a:pt x="105" y="28"/>
                    <a:pt x="98" y="31"/>
                    <a:pt x="98" y="31"/>
                  </a:cubicBezTo>
                  <a:cubicBezTo>
                    <a:pt x="98" y="31"/>
                    <a:pt x="91" y="33"/>
                    <a:pt x="86" y="33"/>
                  </a:cubicBezTo>
                  <a:cubicBezTo>
                    <a:pt x="81" y="33"/>
                    <a:pt x="77" y="31"/>
                    <a:pt x="77" y="31"/>
                  </a:cubicBezTo>
                  <a:cubicBezTo>
                    <a:pt x="77" y="31"/>
                    <a:pt x="77" y="27"/>
                    <a:pt x="75" y="27"/>
                  </a:cubicBezTo>
                  <a:cubicBezTo>
                    <a:pt x="74" y="27"/>
                    <a:pt x="71" y="32"/>
                    <a:pt x="68" y="32"/>
                  </a:cubicBezTo>
                  <a:cubicBezTo>
                    <a:pt x="66" y="32"/>
                    <a:pt x="60" y="34"/>
                    <a:pt x="53" y="33"/>
                  </a:cubicBezTo>
                  <a:cubicBezTo>
                    <a:pt x="46" y="33"/>
                    <a:pt x="38" y="33"/>
                    <a:pt x="36" y="33"/>
                  </a:cubicBezTo>
                  <a:cubicBezTo>
                    <a:pt x="35" y="33"/>
                    <a:pt x="36" y="28"/>
                    <a:pt x="34" y="27"/>
                  </a:cubicBezTo>
                  <a:cubicBezTo>
                    <a:pt x="32" y="27"/>
                    <a:pt x="29" y="32"/>
                    <a:pt x="27" y="32"/>
                  </a:cubicBezTo>
                  <a:cubicBezTo>
                    <a:pt x="25" y="32"/>
                    <a:pt x="20" y="31"/>
                    <a:pt x="18" y="31"/>
                  </a:cubicBezTo>
                  <a:cubicBezTo>
                    <a:pt x="16" y="30"/>
                    <a:pt x="10" y="32"/>
                    <a:pt x="9" y="29"/>
                  </a:cubicBezTo>
                  <a:cubicBezTo>
                    <a:pt x="7" y="26"/>
                    <a:pt x="6" y="24"/>
                    <a:pt x="6" y="22"/>
                  </a:cubicBezTo>
                  <a:cubicBezTo>
                    <a:pt x="6" y="20"/>
                    <a:pt x="8" y="17"/>
                    <a:pt x="8" y="16"/>
                  </a:cubicBezTo>
                  <a:cubicBezTo>
                    <a:pt x="7" y="14"/>
                    <a:pt x="5" y="10"/>
                    <a:pt x="5" y="10"/>
                  </a:cubicBezTo>
                  <a:cubicBezTo>
                    <a:pt x="2" y="9"/>
                    <a:pt x="0" y="7"/>
                    <a:pt x="1"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6" name="Freeform 463"/>
            <p:cNvSpPr>
              <a:spLocks/>
            </p:cNvSpPr>
            <p:nvPr>
              <p:custDataLst>
                <p:tags r:id="rId15"/>
              </p:custDataLst>
            </p:nvPr>
          </p:nvSpPr>
          <p:spPr bwMode="auto">
            <a:xfrm>
              <a:off x="1465" y="1405"/>
              <a:ext cx="49" cy="32"/>
            </a:xfrm>
            <a:custGeom>
              <a:avLst/>
              <a:gdLst>
                <a:gd name="T0" fmla="*/ 0 w 28"/>
                <a:gd name="T1" fmla="*/ 29882 h 17"/>
                <a:gd name="T2" fmla="*/ 5556 w 28"/>
                <a:gd name="T3" fmla="*/ 11953 h 17"/>
                <a:gd name="T4" fmla="*/ 27781 w 28"/>
                <a:gd name="T5" fmla="*/ 0 h 17"/>
                <a:gd name="T6" fmla="*/ 55563 w 28"/>
                <a:gd name="T7" fmla="*/ 2988 h 17"/>
                <a:gd name="T8" fmla="*/ 72232 w 28"/>
                <a:gd name="T9" fmla="*/ 26894 h 17"/>
                <a:gd name="T10" fmla="*/ 61119 w 28"/>
                <a:gd name="T11" fmla="*/ 50800 h 17"/>
                <a:gd name="T12" fmla="*/ 27781 w 28"/>
                <a:gd name="T13" fmla="*/ 47812 h 17"/>
                <a:gd name="T14" fmla="*/ 0 w 28"/>
                <a:gd name="T15" fmla="*/ 29882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 h="17">
                  <a:moveTo>
                    <a:pt x="0" y="10"/>
                  </a:moveTo>
                  <a:cubicBezTo>
                    <a:pt x="0" y="10"/>
                    <a:pt x="0" y="5"/>
                    <a:pt x="2" y="4"/>
                  </a:cubicBezTo>
                  <a:cubicBezTo>
                    <a:pt x="6" y="2"/>
                    <a:pt x="8" y="0"/>
                    <a:pt x="10" y="0"/>
                  </a:cubicBezTo>
                  <a:cubicBezTo>
                    <a:pt x="10" y="0"/>
                    <a:pt x="16" y="0"/>
                    <a:pt x="20" y="1"/>
                  </a:cubicBezTo>
                  <a:cubicBezTo>
                    <a:pt x="24" y="2"/>
                    <a:pt x="24" y="6"/>
                    <a:pt x="26" y="9"/>
                  </a:cubicBezTo>
                  <a:cubicBezTo>
                    <a:pt x="28" y="12"/>
                    <a:pt x="26" y="17"/>
                    <a:pt x="22" y="17"/>
                  </a:cubicBezTo>
                  <a:cubicBezTo>
                    <a:pt x="18" y="17"/>
                    <a:pt x="14" y="16"/>
                    <a:pt x="10" y="16"/>
                  </a:cubicBezTo>
                  <a:cubicBezTo>
                    <a:pt x="6" y="16"/>
                    <a:pt x="0" y="10"/>
                    <a:pt x="0"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7" name="Freeform 464"/>
            <p:cNvSpPr>
              <a:spLocks/>
            </p:cNvSpPr>
            <p:nvPr>
              <p:custDataLst>
                <p:tags r:id="rId16"/>
              </p:custDataLst>
            </p:nvPr>
          </p:nvSpPr>
          <p:spPr bwMode="auto">
            <a:xfrm>
              <a:off x="1464" y="1231"/>
              <a:ext cx="153" cy="104"/>
            </a:xfrm>
            <a:custGeom>
              <a:avLst/>
              <a:gdLst>
                <a:gd name="T0" fmla="*/ 21833 w 89"/>
                <a:gd name="T1" fmla="*/ 95584 h 57"/>
                <a:gd name="T2" fmla="*/ 2729 w 89"/>
                <a:gd name="T3" fmla="*/ 66619 h 57"/>
                <a:gd name="T4" fmla="*/ 13645 w 89"/>
                <a:gd name="T5" fmla="*/ 43447 h 57"/>
                <a:gd name="T6" fmla="*/ 40936 w 89"/>
                <a:gd name="T7" fmla="*/ 43447 h 57"/>
                <a:gd name="T8" fmla="*/ 49123 w 89"/>
                <a:gd name="T9" fmla="*/ 40551 h 57"/>
                <a:gd name="T10" fmla="*/ 46394 w 89"/>
                <a:gd name="T11" fmla="*/ 31861 h 57"/>
                <a:gd name="T12" fmla="*/ 30020 w 89"/>
                <a:gd name="T13" fmla="*/ 20275 h 57"/>
                <a:gd name="T14" fmla="*/ 51852 w 89"/>
                <a:gd name="T15" fmla="*/ 17379 h 57"/>
                <a:gd name="T16" fmla="*/ 70956 w 89"/>
                <a:gd name="T17" fmla="*/ 17379 h 57"/>
                <a:gd name="T18" fmla="*/ 51852 w 89"/>
                <a:gd name="T19" fmla="*/ 2896 h 57"/>
                <a:gd name="T20" fmla="*/ 73685 w 89"/>
                <a:gd name="T21" fmla="*/ 0 h 57"/>
                <a:gd name="T22" fmla="*/ 103705 w 89"/>
                <a:gd name="T23" fmla="*/ 14482 h 57"/>
                <a:gd name="T24" fmla="*/ 125538 w 89"/>
                <a:gd name="T25" fmla="*/ 40551 h 57"/>
                <a:gd name="T26" fmla="*/ 158287 w 89"/>
                <a:gd name="T27" fmla="*/ 43447 h 57"/>
                <a:gd name="T28" fmla="*/ 158287 w 89"/>
                <a:gd name="T29" fmla="*/ 60826 h 57"/>
                <a:gd name="T30" fmla="*/ 171932 w 89"/>
                <a:gd name="T31" fmla="*/ 60826 h 57"/>
                <a:gd name="T32" fmla="*/ 174661 w 89"/>
                <a:gd name="T33" fmla="*/ 49240 h 57"/>
                <a:gd name="T34" fmla="*/ 191036 w 89"/>
                <a:gd name="T35" fmla="*/ 52137 h 57"/>
                <a:gd name="T36" fmla="*/ 188306 w 89"/>
                <a:gd name="T37" fmla="*/ 66619 h 57"/>
                <a:gd name="T38" fmla="*/ 201952 w 89"/>
                <a:gd name="T39" fmla="*/ 78205 h 57"/>
                <a:gd name="T40" fmla="*/ 193765 w 89"/>
                <a:gd name="T41" fmla="*/ 92688 h 57"/>
                <a:gd name="T42" fmla="*/ 201952 w 89"/>
                <a:gd name="T43" fmla="*/ 98481 h 57"/>
                <a:gd name="T44" fmla="*/ 215597 w 89"/>
                <a:gd name="T45" fmla="*/ 89791 h 57"/>
                <a:gd name="T46" fmla="*/ 231972 w 89"/>
                <a:gd name="T47" fmla="*/ 95584 h 57"/>
                <a:gd name="T48" fmla="*/ 242888 w 89"/>
                <a:gd name="T49" fmla="*/ 107170 h 57"/>
                <a:gd name="T50" fmla="*/ 212868 w 89"/>
                <a:gd name="T51" fmla="*/ 115860 h 57"/>
                <a:gd name="T52" fmla="*/ 188306 w 89"/>
                <a:gd name="T53" fmla="*/ 133239 h 57"/>
                <a:gd name="T54" fmla="*/ 169203 w 89"/>
                <a:gd name="T55" fmla="*/ 156411 h 57"/>
                <a:gd name="T56" fmla="*/ 147370 w 89"/>
                <a:gd name="T57" fmla="*/ 144825 h 57"/>
                <a:gd name="T58" fmla="*/ 136454 w 89"/>
                <a:gd name="T59" fmla="*/ 144825 h 57"/>
                <a:gd name="T60" fmla="*/ 139183 w 89"/>
                <a:gd name="T61" fmla="*/ 153514 h 57"/>
                <a:gd name="T62" fmla="*/ 128267 w 89"/>
                <a:gd name="T63" fmla="*/ 165100 h 57"/>
                <a:gd name="T64" fmla="*/ 92789 w 89"/>
                <a:gd name="T65" fmla="*/ 156411 h 57"/>
                <a:gd name="T66" fmla="*/ 68227 w 89"/>
                <a:gd name="T67" fmla="*/ 136135 h 57"/>
                <a:gd name="T68" fmla="*/ 51852 w 89"/>
                <a:gd name="T69" fmla="*/ 121653 h 57"/>
                <a:gd name="T70" fmla="*/ 73685 w 89"/>
                <a:gd name="T71" fmla="*/ 112963 h 57"/>
                <a:gd name="T72" fmla="*/ 100976 w 89"/>
                <a:gd name="T73" fmla="*/ 112963 h 57"/>
                <a:gd name="T74" fmla="*/ 87331 w 89"/>
                <a:gd name="T75" fmla="*/ 98481 h 57"/>
                <a:gd name="T76" fmla="*/ 73685 w 89"/>
                <a:gd name="T77" fmla="*/ 98481 h 57"/>
                <a:gd name="T78" fmla="*/ 43665 w 89"/>
                <a:gd name="T79" fmla="*/ 104274 h 57"/>
                <a:gd name="T80" fmla="*/ 21833 w 89"/>
                <a:gd name="T81" fmla="*/ 95584 h 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9" h="57">
                  <a:moveTo>
                    <a:pt x="8" y="33"/>
                  </a:moveTo>
                  <a:cubicBezTo>
                    <a:pt x="7" y="32"/>
                    <a:pt x="0" y="27"/>
                    <a:pt x="1" y="23"/>
                  </a:cubicBezTo>
                  <a:cubicBezTo>
                    <a:pt x="2" y="19"/>
                    <a:pt x="3" y="17"/>
                    <a:pt x="5" y="15"/>
                  </a:cubicBezTo>
                  <a:cubicBezTo>
                    <a:pt x="6" y="14"/>
                    <a:pt x="14" y="15"/>
                    <a:pt x="15" y="15"/>
                  </a:cubicBezTo>
                  <a:cubicBezTo>
                    <a:pt x="16" y="16"/>
                    <a:pt x="18" y="15"/>
                    <a:pt x="18" y="14"/>
                  </a:cubicBezTo>
                  <a:cubicBezTo>
                    <a:pt x="18" y="13"/>
                    <a:pt x="18" y="12"/>
                    <a:pt x="17" y="11"/>
                  </a:cubicBezTo>
                  <a:cubicBezTo>
                    <a:pt x="16" y="10"/>
                    <a:pt x="10" y="9"/>
                    <a:pt x="11" y="7"/>
                  </a:cubicBezTo>
                  <a:cubicBezTo>
                    <a:pt x="12" y="6"/>
                    <a:pt x="18" y="6"/>
                    <a:pt x="19" y="6"/>
                  </a:cubicBezTo>
                  <a:cubicBezTo>
                    <a:pt x="21" y="6"/>
                    <a:pt x="25" y="6"/>
                    <a:pt x="26" y="6"/>
                  </a:cubicBezTo>
                  <a:cubicBezTo>
                    <a:pt x="26" y="5"/>
                    <a:pt x="19" y="2"/>
                    <a:pt x="19" y="1"/>
                  </a:cubicBezTo>
                  <a:cubicBezTo>
                    <a:pt x="19" y="0"/>
                    <a:pt x="23" y="0"/>
                    <a:pt x="27" y="0"/>
                  </a:cubicBezTo>
                  <a:cubicBezTo>
                    <a:pt x="30" y="1"/>
                    <a:pt x="37" y="3"/>
                    <a:pt x="38" y="5"/>
                  </a:cubicBezTo>
                  <a:cubicBezTo>
                    <a:pt x="39" y="6"/>
                    <a:pt x="43" y="14"/>
                    <a:pt x="46" y="14"/>
                  </a:cubicBezTo>
                  <a:cubicBezTo>
                    <a:pt x="50" y="15"/>
                    <a:pt x="57" y="15"/>
                    <a:pt x="58" y="15"/>
                  </a:cubicBezTo>
                  <a:cubicBezTo>
                    <a:pt x="59" y="16"/>
                    <a:pt x="56" y="21"/>
                    <a:pt x="58" y="21"/>
                  </a:cubicBezTo>
                  <a:cubicBezTo>
                    <a:pt x="60" y="22"/>
                    <a:pt x="63" y="23"/>
                    <a:pt x="63" y="21"/>
                  </a:cubicBezTo>
                  <a:cubicBezTo>
                    <a:pt x="64" y="20"/>
                    <a:pt x="63" y="17"/>
                    <a:pt x="64" y="17"/>
                  </a:cubicBezTo>
                  <a:cubicBezTo>
                    <a:pt x="66" y="17"/>
                    <a:pt x="70" y="16"/>
                    <a:pt x="70" y="18"/>
                  </a:cubicBezTo>
                  <a:cubicBezTo>
                    <a:pt x="70" y="20"/>
                    <a:pt x="69" y="23"/>
                    <a:pt x="69" y="23"/>
                  </a:cubicBezTo>
                  <a:cubicBezTo>
                    <a:pt x="69" y="23"/>
                    <a:pt x="74" y="25"/>
                    <a:pt x="74" y="27"/>
                  </a:cubicBezTo>
                  <a:cubicBezTo>
                    <a:pt x="74" y="29"/>
                    <a:pt x="68" y="31"/>
                    <a:pt x="71" y="32"/>
                  </a:cubicBezTo>
                  <a:cubicBezTo>
                    <a:pt x="73" y="33"/>
                    <a:pt x="73" y="34"/>
                    <a:pt x="74" y="34"/>
                  </a:cubicBezTo>
                  <a:cubicBezTo>
                    <a:pt x="75" y="34"/>
                    <a:pt x="78" y="31"/>
                    <a:pt x="79" y="31"/>
                  </a:cubicBezTo>
                  <a:cubicBezTo>
                    <a:pt x="80" y="31"/>
                    <a:pt x="84" y="32"/>
                    <a:pt x="85" y="33"/>
                  </a:cubicBezTo>
                  <a:cubicBezTo>
                    <a:pt x="87" y="34"/>
                    <a:pt x="89" y="35"/>
                    <a:pt x="89" y="37"/>
                  </a:cubicBezTo>
                  <a:cubicBezTo>
                    <a:pt x="89" y="38"/>
                    <a:pt x="80" y="39"/>
                    <a:pt x="78" y="40"/>
                  </a:cubicBezTo>
                  <a:cubicBezTo>
                    <a:pt x="75" y="41"/>
                    <a:pt x="71" y="46"/>
                    <a:pt x="69" y="46"/>
                  </a:cubicBezTo>
                  <a:cubicBezTo>
                    <a:pt x="67" y="47"/>
                    <a:pt x="63" y="54"/>
                    <a:pt x="62" y="54"/>
                  </a:cubicBezTo>
                  <a:cubicBezTo>
                    <a:pt x="60" y="54"/>
                    <a:pt x="56" y="52"/>
                    <a:pt x="54" y="50"/>
                  </a:cubicBezTo>
                  <a:cubicBezTo>
                    <a:pt x="53" y="48"/>
                    <a:pt x="50" y="48"/>
                    <a:pt x="50" y="50"/>
                  </a:cubicBezTo>
                  <a:cubicBezTo>
                    <a:pt x="50" y="51"/>
                    <a:pt x="52" y="52"/>
                    <a:pt x="51" y="53"/>
                  </a:cubicBezTo>
                  <a:cubicBezTo>
                    <a:pt x="50" y="55"/>
                    <a:pt x="50" y="57"/>
                    <a:pt x="47" y="57"/>
                  </a:cubicBezTo>
                  <a:cubicBezTo>
                    <a:pt x="45" y="56"/>
                    <a:pt x="34" y="54"/>
                    <a:pt x="34" y="54"/>
                  </a:cubicBezTo>
                  <a:cubicBezTo>
                    <a:pt x="30" y="52"/>
                    <a:pt x="27" y="49"/>
                    <a:pt x="25" y="47"/>
                  </a:cubicBezTo>
                  <a:cubicBezTo>
                    <a:pt x="23" y="45"/>
                    <a:pt x="20" y="43"/>
                    <a:pt x="19" y="42"/>
                  </a:cubicBezTo>
                  <a:cubicBezTo>
                    <a:pt x="19" y="41"/>
                    <a:pt x="26" y="39"/>
                    <a:pt x="27" y="39"/>
                  </a:cubicBezTo>
                  <a:cubicBezTo>
                    <a:pt x="29" y="39"/>
                    <a:pt x="36" y="40"/>
                    <a:pt x="37" y="39"/>
                  </a:cubicBezTo>
                  <a:cubicBezTo>
                    <a:pt x="37" y="38"/>
                    <a:pt x="33" y="35"/>
                    <a:pt x="32" y="34"/>
                  </a:cubicBezTo>
                  <a:cubicBezTo>
                    <a:pt x="31" y="33"/>
                    <a:pt x="29" y="34"/>
                    <a:pt x="27" y="34"/>
                  </a:cubicBezTo>
                  <a:cubicBezTo>
                    <a:pt x="25" y="34"/>
                    <a:pt x="19" y="36"/>
                    <a:pt x="16" y="36"/>
                  </a:cubicBezTo>
                  <a:cubicBezTo>
                    <a:pt x="13" y="36"/>
                    <a:pt x="10" y="35"/>
                    <a:pt x="8" y="3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 name="Freeform 465"/>
            <p:cNvSpPr>
              <a:spLocks/>
            </p:cNvSpPr>
            <p:nvPr>
              <p:custDataLst>
                <p:tags r:id="rId17"/>
              </p:custDataLst>
            </p:nvPr>
          </p:nvSpPr>
          <p:spPr bwMode="auto">
            <a:xfrm>
              <a:off x="1460" y="1361"/>
              <a:ext cx="46" cy="27"/>
            </a:xfrm>
            <a:custGeom>
              <a:avLst/>
              <a:gdLst>
                <a:gd name="T0" fmla="*/ 18932 w 27"/>
                <a:gd name="T1" fmla="*/ 31433 h 15"/>
                <a:gd name="T2" fmla="*/ 0 w 27"/>
                <a:gd name="T3" fmla="*/ 8573 h 15"/>
                <a:gd name="T4" fmla="*/ 29751 w 27"/>
                <a:gd name="T5" fmla="*/ 2858 h 15"/>
                <a:gd name="T6" fmla="*/ 56797 w 27"/>
                <a:gd name="T7" fmla="*/ 8573 h 15"/>
                <a:gd name="T8" fmla="*/ 73025 w 27"/>
                <a:gd name="T9" fmla="*/ 22860 h 15"/>
                <a:gd name="T10" fmla="*/ 59502 w 27"/>
                <a:gd name="T11" fmla="*/ 42863 h 15"/>
                <a:gd name="T12" fmla="*/ 18932 w 27"/>
                <a:gd name="T13" fmla="*/ 31433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5">
                  <a:moveTo>
                    <a:pt x="7" y="11"/>
                  </a:moveTo>
                  <a:cubicBezTo>
                    <a:pt x="5" y="11"/>
                    <a:pt x="0" y="6"/>
                    <a:pt x="0" y="3"/>
                  </a:cubicBezTo>
                  <a:cubicBezTo>
                    <a:pt x="0" y="0"/>
                    <a:pt x="8" y="1"/>
                    <a:pt x="11" y="1"/>
                  </a:cubicBezTo>
                  <a:cubicBezTo>
                    <a:pt x="11" y="1"/>
                    <a:pt x="17" y="3"/>
                    <a:pt x="21" y="3"/>
                  </a:cubicBezTo>
                  <a:cubicBezTo>
                    <a:pt x="25" y="3"/>
                    <a:pt x="27" y="6"/>
                    <a:pt x="27" y="8"/>
                  </a:cubicBezTo>
                  <a:cubicBezTo>
                    <a:pt x="27" y="11"/>
                    <a:pt x="25" y="15"/>
                    <a:pt x="22" y="15"/>
                  </a:cubicBezTo>
                  <a:cubicBezTo>
                    <a:pt x="19" y="15"/>
                    <a:pt x="9" y="12"/>
                    <a:pt x="7"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9" name="Freeform 466"/>
            <p:cNvSpPr>
              <a:spLocks/>
            </p:cNvSpPr>
            <p:nvPr>
              <p:custDataLst>
                <p:tags r:id="rId18"/>
              </p:custDataLst>
            </p:nvPr>
          </p:nvSpPr>
          <p:spPr bwMode="auto">
            <a:xfrm>
              <a:off x="1442" y="1312"/>
              <a:ext cx="47" cy="29"/>
            </a:xfrm>
            <a:custGeom>
              <a:avLst/>
              <a:gdLst>
                <a:gd name="T0" fmla="*/ 0 w 28"/>
                <a:gd name="T1" fmla="*/ 8632 h 16"/>
                <a:gd name="T2" fmla="*/ 23983 w 28"/>
                <a:gd name="T3" fmla="*/ 0 h 16"/>
                <a:gd name="T4" fmla="*/ 71948 w 28"/>
                <a:gd name="T5" fmla="*/ 17264 h 16"/>
                <a:gd name="T6" fmla="*/ 71948 w 28"/>
                <a:gd name="T7" fmla="*/ 34529 h 16"/>
                <a:gd name="T8" fmla="*/ 53295 w 28"/>
                <a:gd name="T9" fmla="*/ 46038 h 16"/>
                <a:gd name="T10" fmla="*/ 29312 w 28"/>
                <a:gd name="T11" fmla="*/ 46038 h 16"/>
                <a:gd name="T12" fmla="*/ 0 w 28"/>
                <a:gd name="T13" fmla="*/ 863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 h="16">
                  <a:moveTo>
                    <a:pt x="0" y="3"/>
                  </a:moveTo>
                  <a:cubicBezTo>
                    <a:pt x="0" y="1"/>
                    <a:pt x="6" y="0"/>
                    <a:pt x="9" y="0"/>
                  </a:cubicBezTo>
                  <a:cubicBezTo>
                    <a:pt x="12" y="1"/>
                    <a:pt x="26" y="5"/>
                    <a:pt x="27" y="6"/>
                  </a:cubicBezTo>
                  <a:cubicBezTo>
                    <a:pt x="28" y="8"/>
                    <a:pt x="27" y="12"/>
                    <a:pt x="27" y="12"/>
                  </a:cubicBezTo>
                  <a:cubicBezTo>
                    <a:pt x="27" y="12"/>
                    <a:pt x="22" y="15"/>
                    <a:pt x="20" y="16"/>
                  </a:cubicBezTo>
                  <a:cubicBezTo>
                    <a:pt x="18" y="16"/>
                    <a:pt x="11" y="16"/>
                    <a:pt x="11" y="16"/>
                  </a:cubicBezTo>
                  <a:cubicBezTo>
                    <a:pt x="9" y="14"/>
                    <a:pt x="0" y="5"/>
                    <a:pt x="0"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0" name="Freeform 467"/>
            <p:cNvSpPr>
              <a:spLocks/>
            </p:cNvSpPr>
            <p:nvPr>
              <p:custDataLst>
                <p:tags r:id="rId19"/>
              </p:custDataLst>
            </p:nvPr>
          </p:nvSpPr>
          <p:spPr bwMode="auto">
            <a:xfrm>
              <a:off x="1384" y="1451"/>
              <a:ext cx="85" cy="77"/>
            </a:xfrm>
            <a:custGeom>
              <a:avLst/>
              <a:gdLst>
                <a:gd name="T0" fmla="*/ 11015 w 49"/>
                <a:gd name="T1" fmla="*/ 64029 h 42"/>
                <a:gd name="T2" fmla="*/ 0 w 49"/>
                <a:gd name="T3" fmla="*/ 58209 h 42"/>
                <a:gd name="T4" fmla="*/ 8262 w 49"/>
                <a:gd name="T5" fmla="*/ 43656 h 42"/>
                <a:gd name="T6" fmla="*/ 30292 w 49"/>
                <a:gd name="T7" fmla="*/ 55298 h 42"/>
                <a:gd name="T8" fmla="*/ 46815 w 49"/>
                <a:gd name="T9" fmla="*/ 55298 h 42"/>
                <a:gd name="T10" fmla="*/ 52323 w 49"/>
                <a:gd name="T11" fmla="*/ 43656 h 42"/>
                <a:gd name="T12" fmla="*/ 49569 w 49"/>
                <a:gd name="T13" fmla="*/ 34925 h 42"/>
                <a:gd name="T14" fmla="*/ 24785 w 49"/>
                <a:gd name="T15" fmla="*/ 23283 h 42"/>
                <a:gd name="T16" fmla="*/ 44061 w 49"/>
                <a:gd name="T17" fmla="*/ 8731 h 42"/>
                <a:gd name="T18" fmla="*/ 74354 w 49"/>
                <a:gd name="T19" fmla="*/ 5821 h 42"/>
                <a:gd name="T20" fmla="*/ 107400 w 49"/>
                <a:gd name="T21" fmla="*/ 2910 h 42"/>
                <a:gd name="T22" fmla="*/ 123923 w 49"/>
                <a:gd name="T23" fmla="*/ 17463 h 42"/>
                <a:gd name="T24" fmla="*/ 112907 w 49"/>
                <a:gd name="T25" fmla="*/ 29104 h 42"/>
                <a:gd name="T26" fmla="*/ 129430 w 49"/>
                <a:gd name="T27" fmla="*/ 46567 h 42"/>
                <a:gd name="T28" fmla="*/ 134938 w 49"/>
                <a:gd name="T29" fmla="*/ 66940 h 42"/>
                <a:gd name="T30" fmla="*/ 129430 w 49"/>
                <a:gd name="T31" fmla="*/ 78582 h 42"/>
                <a:gd name="T32" fmla="*/ 129430 w 49"/>
                <a:gd name="T33" fmla="*/ 96044 h 42"/>
                <a:gd name="T34" fmla="*/ 99138 w 49"/>
                <a:gd name="T35" fmla="*/ 101865 h 42"/>
                <a:gd name="T36" fmla="*/ 96384 w 49"/>
                <a:gd name="T37" fmla="*/ 113507 h 42"/>
                <a:gd name="T38" fmla="*/ 79861 w 49"/>
                <a:gd name="T39" fmla="*/ 116417 h 42"/>
                <a:gd name="T40" fmla="*/ 66092 w 49"/>
                <a:gd name="T41" fmla="*/ 96044 h 42"/>
                <a:gd name="T42" fmla="*/ 55077 w 49"/>
                <a:gd name="T43" fmla="*/ 90223 h 42"/>
                <a:gd name="T44" fmla="*/ 33046 w 49"/>
                <a:gd name="T45" fmla="*/ 75671 h 42"/>
                <a:gd name="T46" fmla="*/ 19277 w 49"/>
                <a:gd name="T47" fmla="*/ 75671 h 42"/>
                <a:gd name="T48" fmla="*/ 11015 w 49"/>
                <a:gd name="T49" fmla="*/ 640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9" h="42">
                  <a:moveTo>
                    <a:pt x="4" y="22"/>
                  </a:moveTo>
                  <a:cubicBezTo>
                    <a:pt x="3" y="22"/>
                    <a:pt x="1" y="22"/>
                    <a:pt x="0" y="20"/>
                  </a:cubicBezTo>
                  <a:cubicBezTo>
                    <a:pt x="0" y="18"/>
                    <a:pt x="1" y="15"/>
                    <a:pt x="3" y="15"/>
                  </a:cubicBezTo>
                  <a:cubicBezTo>
                    <a:pt x="5" y="14"/>
                    <a:pt x="11" y="18"/>
                    <a:pt x="11" y="19"/>
                  </a:cubicBezTo>
                  <a:cubicBezTo>
                    <a:pt x="12" y="19"/>
                    <a:pt x="16" y="20"/>
                    <a:pt x="17" y="19"/>
                  </a:cubicBezTo>
                  <a:cubicBezTo>
                    <a:pt x="18" y="19"/>
                    <a:pt x="20" y="17"/>
                    <a:pt x="19" y="15"/>
                  </a:cubicBezTo>
                  <a:cubicBezTo>
                    <a:pt x="18" y="13"/>
                    <a:pt x="19" y="12"/>
                    <a:pt x="18" y="12"/>
                  </a:cubicBezTo>
                  <a:cubicBezTo>
                    <a:pt x="17" y="11"/>
                    <a:pt x="9" y="10"/>
                    <a:pt x="9" y="8"/>
                  </a:cubicBezTo>
                  <a:cubicBezTo>
                    <a:pt x="9" y="7"/>
                    <a:pt x="14" y="3"/>
                    <a:pt x="16" y="3"/>
                  </a:cubicBezTo>
                  <a:cubicBezTo>
                    <a:pt x="19" y="2"/>
                    <a:pt x="26" y="3"/>
                    <a:pt x="27" y="2"/>
                  </a:cubicBezTo>
                  <a:cubicBezTo>
                    <a:pt x="29" y="2"/>
                    <a:pt x="39" y="1"/>
                    <a:pt x="39" y="1"/>
                  </a:cubicBezTo>
                  <a:cubicBezTo>
                    <a:pt x="41" y="0"/>
                    <a:pt x="44" y="5"/>
                    <a:pt x="45" y="6"/>
                  </a:cubicBezTo>
                  <a:cubicBezTo>
                    <a:pt x="45" y="6"/>
                    <a:pt x="40" y="8"/>
                    <a:pt x="41" y="10"/>
                  </a:cubicBezTo>
                  <a:cubicBezTo>
                    <a:pt x="42" y="11"/>
                    <a:pt x="47" y="14"/>
                    <a:pt x="47" y="16"/>
                  </a:cubicBezTo>
                  <a:cubicBezTo>
                    <a:pt x="47" y="17"/>
                    <a:pt x="49" y="22"/>
                    <a:pt x="49" y="23"/>
                  </a:cubicBezTo>
                  <a:cubicBezTo>
                    <a:pt x="49" y="24"/>
                    <a:pt x="46" y="25"/>
                    <a:pt x="47" y="27"/>
                  </a:cubicBezTo>
                  <a:cubicBezTo>
                    <a:pt x="47" y="28"/>
                    <a:pt x="47" y="32"/>
                    <a:pt x="47" y="33"/>
                  </a:cubicBezTo>
                  <a:cubicBezTo>
                    <a:pt x="47" y="34"/>
                    <a:pt x="38" y="36"/>
                    <a:pt x="36" y="35"/>
                  </a:cubicBezTo>
                  <a:cubicBezTo>
                    <a:pt x="34" y="34"/>
                    <a:pt x="36" y="37"/>
                    <a:pt x="35" y="39"/>
                  </a:cubicBezTo>
                  <a:cubicBezTo>
                    <a:pt x="33" y="40"/>
                    <a:pt x="31" y="42"/>
                    <a:pt x="29" y="40"/>
                  </a:cubicBezTo>
                  <a:cubicBezTo>
                    <a:pt x="26" y="39"/>
                    <a:pt x="25" y="34"/>
                    <a:pt x="24" y="33"/>
                  </a:cubicBezTo>
                  <a:cubicBezTo>
                    <a:pt x="23" y="32"/>
                    <a:pt x="20" y="31"/>
                    <a:pt x="20" y="31"/>
                  </a:cubicBezTo>
                  <a:cubicBezTo>
                    <a:pt x="19" y="30"/>
                    <a:pt x="14" y="26"/>
                    <a:pt x="12" y="26"/>
                  </a:cubicBezTo>
                  <a:cubicBezTo>
                    <a:pt x="10" y="27"/>
                    <a:pt x="9" y="27"/>
                    <a:pt x="7" y="26"/>
                  </a:cubicBezTo>
                  <a:cubicBezTo>
                    <a:pt x="6" y="25"/>
                    <a:pt x="5" y="23"/>
                    <a:pt x="4" y="2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1" name="Freeform 468"/>
            <p:cNvSpPr>
              <a:spLocks/>
            </p:cNvSpPr>
            <p:nvPr>
              <p:custDataLst>
                <p:tags r:id="rId20"/>
              </p:custDataLst>
            </p:nvPr>
          </p:nvSpPr>
          <p:spPr bwMode="auto">
            <a:xfrm>
              <a:off x="1361" y="1375"/>
              <a:ext cx="95" cy="53"/>
            </a:xfrm>
            <a:custGeom>
              <a:avLst/>
              <a:gdLst>
                <a:gd name="T0" fmla="*/ 0 w 56"/>
                <a:gd name="T1" fmla="*/ 23210 h 29"/>
                <a:gd name="T2" fmla="*/ 0 w 56"/>
                <a:gd name="T3" fmla="*/ 8704 h 29"/>
                <a:gd name="T4" fmla="*/ 29624 w 56"/>
                <a:gd name="T5" fmla="*/ 14507 h 29"/>
                <a:gd name="T6" fmla="*/ 45783 w 56"/>
                <a:gd name="T7" fmla="*/ 34816 h 29"/>
                <a:gd name="T8" fmla="*/ 61941 w 56"/>
                <a:gd name="T9" fmla="*/ 43520 h 29"/>
                <a:gd name="T10" fmla="*/ 56555 w 56"/>
                <a:gd name="T11" fmla="*/ 17408 h 29"/>
                <a:gd name="T12" fmla="*/ 70020 w 56"/>
                <a:gd name="T13" fmla="*/ 20309 h 29"/>
                <a:gd name="T14" fmla="*/ 96951 w 56"/>
                <a:gd name="T15" fmla="*/ 40618 h 29"/>
                <a:gd name="T16" fmla="*/ 96951 w 56"/>
                <a:gd name="T17" fmla="*/ 23210 h 29"/>
                <a:gd name="T18" fmla="*/ 80793 w 56"/>
                <a:gd name="T19" fmla="*/ 8704 h 29"/>
                <a:gd name="T20" fmla="*/ 96951 w 56"/>
                <a:gd name="T21" fmla="*/ 0 h 29"/>
                <a:gd name="T22" fmla="*/ 121189 w 56"/>
                <a:gd name="T23" fmla="*/ 5803 h 29"/>
                <a:gd name="T24" fmla="*/ 142734 w 56"/>
                <a:gd name="T25" fmla="*/ 17408 h 29"/>
                <a:gd name="T26" fmla="*/ 142734 w 56"/>
                <a:gd name="T27" fmla="*/ 43520 h 29"/>
                <a:gd name="T28" fmla="*/ 150813 w 56"/>
                <a:gd name="T29" fmla="*/ 52224 h 29"/>
                <a:gd name="T30" fmla="*/ 148120 w 56"/>
                <a:gd name="T31" fmla="*/ 63829 h 29"/>
                <a:gd name="T32" fmla="*/ 134654 w 56"/>
                <a:gd name="T33" fmla="*/ 66730 h 29"/>
                <a:gd name="T34" fmla="*/ 137348 w 56"/>
                <a:gd name="T35" fmla="*/ 78335 h 29"/>
                <a:gd name="T36" fmla="*/ 91565 w 56"/>
                <a:gd name="T37" fmla="*/ 81237 h 29"/>
                <a:gd name="T38" fmla="*/ 83486 w 56"/>
                <a:gd name="T39" fmla="*/ 66730 h 29"/>
                <a:gd name="T40" fmla="*/ 94258 w 56"/>
                <a:gd name="T41" fmla="*/ 52224 h 29"/>
                <a:gd name="T42" fmla="*/ 61941 w 56"/>
                <a:gd name="T43" fmla="*/ 58026 h 29"/>
                <a:gd name="T44" fmla="*/ 40396 w 56"/>
                <a:gd name="T45" fmla="*/ 58026 h 29"/>
                <a:gd name="T46" fmla="*/ 35010 w 56"/>
                <a:gd name="T47" fmla="*/ 46421 h 29"/>
                <a:gd name="T48" fmla="*/ 13465 w 56"/>
                <a:gd name="T49" fmla="*/ 40618 h 29"/>
                <a:gd name="T50" fmla="*/ 13465 w 56"/>
                <a:gd name="T51" fmla="*/ 29013 h 29"/>
                <a:gd name="T52" fmla="*/ 0 w 56"/>
                <a:gd name="T53" fmla="*/ 23210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6" h="29">
                  <a:moveTo>
                    <a:pt x="0" y="8"/>
                  </a:moveTo>
                  <a:cubicBezTo>
                    <a:pt x="0" y="7"/>
                    <a:pt x="0" y="3"/>
                    <a:pt x="0" y="3"/>
                  </a:cubicBezTo>
                  <a:cubicBezTo>
                    <a:pt x="2" y="2"/>
                    <a:pt x="10" y="3"/>
                    <a:pt x="11" y="5"/>
                  </a:cubicBezTo>
                  <a:cubicBezTo>
                    <a:pt x="12" y="6"/>
                    <a:pt x="15" y="10"/>
                    <a:pt x="17" y="12"/>
                  </a:cubicBezTo>
                  <a:cubicBezTo>
                    <a:pt x="20" y="13"/>
                    <a:pt x="21" y="15"/>
                    <a:pt x="23" y="15"/>
                  </a:cubicBezTo>
                  <a:cubicBezTo>
                    <a:pt x="24" y="15"/>
                    <a:pt x="19" y="7"/>
                    <a:pt x="21" y="6"/>
                  </a:cubicBezTo>
                  <a:cubicBezTo>
                    <a:pt x="22" y="5"/>
                    <a:pt x="25" y="6"/>
                    <a:pt x="26" y="7"/>
                  </a:cubicBezTo>
                  <a:cubicBezTo>
                    <a:pt x="27" y="8"/>
                    <a:pt x="35" y="14"/>
                    <a:pt x="36" y="14"/>
                  </a:cubicBezTo>
                  <a:cubicBezTo>
                    <a:pt x="38" y="14"/>
                    <a:pt x="37" y="10"/>
                    <a:pt x="36" y="8"/>
                  </a:cubicBezTo>
                  <a:cubicBezTo>
                    <a:pt x="35" y="6"/>
                    <a:pt x="29" y="5"/>
                    <a:pt x="30" y="3"/>
                  </a:cubicBezTo>
                  <a:cubicBezTo>
                    <a:pt x="31" y="1"/>
                    <a:pt x="35" y="0"/>
                    <a:pt x="36" y="0"/>
                  </a:cubicBezTo>
                  <a:cubicBezTo>
                    <a:pt x="37" y="0"/>
                    <a:pt x="43" y="1"/>
                    <a:pt x="45" y="2"/>
                  </a:cubicBezTo>
                  <a:cubicBezTo>
                    <a:pt x="47" y="2"/>
                    <a:pt x="52" y="4"/>
                    <a:pt x="53" y="6"/>
                  </a:cubicBezTo>
                  <a:cubicBezTo>
                    <a:pt x="54" y="9"/>
                    <a:pt x="54" y="14"/>
                    <a:pt x="53" y="15"/>
                  </a:cubicBezTo>
                  <a:cubicBezTo>
                    <a:pt x="52" y="16"/>
                    <a:pt x="56" y="17"/>
                    <a:pt x="56" y="18"/>
                  </a:cubicBezTo>
                  <a:cubicBezTo>
                    <a:pt x="56" y="19"/>
                    <a:pt x="55" y="22"/>
                    <a:pt x="55" y="22"/>
                  </a:cubicBezTo>
                  <a:cubicBezTo>
                    <a:pt x="54" y="23"/>
                    <a:pt x="50" y="21"/>
                    <a:pt x="50" y="23"/>
                  </a:cubicBezTo>
                  <a:cubicBezTo>
                    <a:pt x="50" y="24"/>
                    <a:pt x="52" y="26"/>
                    <a:pt x="51" y="27"/>
                  </a:cubicBezTo>
                  <a:cubicBezTo>
                    <a:pt x="50" y="28"/>
                    <a:pt x="35" y="29"/>
                    <a:pt x="34" y="28"/>
                  </a:cubicBezTo>
                  <a:cubicBezTo>
                    <a:pt x="32" y="27"/>
                    <a:pt x="30" y="23"/>
                    <a:pt x="31" y="23"/>
                  </a:cubicBezTo>
                  <a:cubicBezTo>
                    <a:pt x="32" y="23"/>
                    <a:pt x="37" y="19"/>
                    <a:pt x="35" y="18"/>
                  </a:cubicBezTo>
                  <a:cubicBezTo>
                    <a:pt x="32" y="17"/>
                    <a:pt x="25" y="20"/>
                    <a:pt x="23" y="20"/>
                  </a:cubicBezTo>
                  <a:cubicBezTo>
                    <a:pt x="21" y="21"/>
                    <a:pt x="16" y="21"/>
                    <a:pt x="15" y="20"/>
                  </a:cubicBezTo>
                  <a:cubicBezTo>
                    <a:pt x="13" y="19"/>
                    <a:pt x="15" y="17"/>
                    <a:pt x="13" y="16"/>
                  </a:cubicBezTo>
                  <a:cubicBezTo>
                    <a:pt x="11" y="15"/>
                    <a:pt x="7" y="15"/>
                    <a:pt x="5" y="14"/>
                  </a:cubicBezTo>
                  <a:cubicBezTo>
                    <a:pt x="4" y="12"/>
                    <a:pt x="6" y="11"/>
                    <a:pt x="5" y="10"/>
                  </a:cubicBezTo>
                  <a:cubicBezTo>
                    <a:pt x="4" y="9"/>
                    <a:pt x="1" y="9"/>
                    <a:pt x="0"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2" name="Freeform 469"/>
            <p:cNvSpPr>
              <a:spLocks/>
            </p:cNvSpPr>
            <p:nvPr>
              <p:custDataLst>
                <p:tags r:id="rId21"/>
              </p:custDataLst>
            </p:nvPr>
          </p:nvSpPr>
          <p:spPr bwMode="auto">
            <a:xfrm>
              <a:off x="1346" y="1295"/>
              <a:ext cx="90" cy="50"/>
            </a:xfrm>
            <a:custGeom>
              <a:avLst/>
              <a:gdLst>
                <a:gd name="T0" fmla="*/ 21566 w 53"/>
                <a:gd name="T1" fmla="*/ 26458 h 27"/>
                <a:gd name="T2" fmla="*/ 2696 w 53"/>
                <a:gd name="T3" fmla="*/ 17639 h 27"/>
                <a:gd name="T4" fmla="*/ 8087 w 53"/>
                <a:gd name="T5" fmla="*/ 2940 h 27"/>
                <a:gd name="T6" fmla="*/ 29653 w 53"/>
                <a:gd name="T7" fmla="*/ 0 h 27"/>
                <a:gd name="T8" fmla="*/ 56611 w 53"/>
                <a:gd name="T9" fmla="*/ 5880 h 27"/>
                <a:gd name="T10" fmla="*/ 67394 w 53"/>
                <a:gd name="T11" fmla="*/ 20579 h 27"/>
                <a:gd name="T12" fmla="*/ 78177 w 53"/>
                <a:gd name="T13" fmla="*/ 14699 h 27"/>
                <a:gd name="T14" fmla="*/ 97047 w 53"/>
                <a:gd name="T15" fmla="*/ 20579 h 27"/>
                <a:gd name="T16" fmla="*/ 124005 w 53"/>
                <a:gd name="T17" fmla="*/ 38218 h 27"/>
                <a:gd name="T18" fmla="*/ 124005 w 53"/>
                <a:gd name="T19" fmla="*/ 52917 h 27"/>
                <a:gd name="T20" fmla="*/ 140179 w 53"/>
                <a:gd name="T21" fmla="*/ 64676 h 27"/>
                <a:gd name="T22" fmla="*/ 137483 w 53"/>
                <a:gd name="T23" fmla="*/ 79375 h 27"/>
                <a:gd name="T24" fmla="*/ 113222 w 53"/>
                <a:gd name="T25" fmla="*/ 79375 h 27"/>
                <a:gd name="T26" fmla="*/ 105134 w 53"/>
                <a:gd name="T27" fmla="*/ 73495 h 27"/>
                <a:gd name="T28" fmla="*/ 94351 w 53"/>
                <a:gd name="T29" fmla="*/ 61736 h 27"/>
                <a:gd name="T30" fmla="*/ 67394 w 53"/>
                <a:gd name="T31" fmla="*/ 55856 h 27"/>
                <a:gd name="T32" fmla="*/ 32349 w 53"/>
                <a:gd name="T33" fmla="*/ 55856 h 27"/>
                <a:gd name="T34" fmla="*/ 16175 w 53"/>
                <a:gd name="T35" fmla="*/ 44097 h 27"/>
                <a:gd name="T36" fmla="*/ 43132 w 53"/>
                <a:gd name="T37" fmla="*/ 41157 h 27"/>
                <a:gd name="T38" fmla="*/ 37741 w 53"/>
                <a:gd name="T39" fmla="*/ 26458 h 27"/>
                <a:gd name="T40" fmla="*/ 21566 w 53"/>
                <a:gd name="T41" fmla="*/ 26458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27">
                  <a:moveTo>
                    <a:pt x="8" y="9"/>
                  </a:moveTo>
                  <a:cubicBezTo>
                    <a:pt x="7" y="9"/>
                    <a:pt x="1" y="7"/>
                    <a:pt x="1" y="6"/>
                  </a:cubicBezTo>
                  <a:cubicBezTo>
                    <a:pt x="0" y="5"/>
                    <a:pt x="1" y="2"/>
                    <a:pt x="3" y="1"/>
                  </a:cubicBezTo>
                  <a:cubicBezTo>
                    <a:pt x="5" y="0"/>
                    <a:pt x="7" y="1"/>
                    <a:pt x="11" y="0"/>
                  </a:cubicBezTo>
                  <a:cubicBezTo>
                    <a:pt x="16" y="0"/>
                    <a:pt x="20" y="1"/>
                    <a:pt x="21" y="2"/>
                  </a:cubicBezTo>
                  <a:cubicBezTo>
                    <a:pt x="22" y="3"/>
                    <a:pt x="24" y="7"/>
                    <a:pt x="25" y="7"/>
                  </a:cubicBezTo>
                  <a:cubicBezTo>
                    <a:pt x="26" y="7"/>
                    <a:pt x="26" y="5"/>
                    <a:pt x="29" y="5"/>
                  </a:cubicBezTo>
                  <a:cubicBezTo>
                    <a:pt x="32" y="5"/>
                    <a:pt x="35" y="7"/>
                    <a:pt x="36" y="7"/>
                  </a:cubicBezTo>
                  <a:cubicBezTo>
                    <a:pt x="38" y="8"/>
                    <a:pt x="44" y="13"/>
                    <a:pt x="46" y="13"/>
                  </a:cubicBezTo>
                  <a:cubicBezTo>
                    <a:pt x="48" y="14"/>
                    <a:pt x="45" y="17"/>
                    <a:pt x="46" y="18"/>
                  </a:cubicBezTo>
                  <a:cubicBezTo>
                    <a:pt x="47" y="20"/>
                    <a:pt x="52" y="21"/>
                    <a:pt x="52" y="22"/>
                  </a:cubicBezTo>
                  <a:cubicBezTo>
                    <a:pt x="52" y="24"/>
                    <a:pt x="53" y="26"/>
                    <a:pt x="51" y="27"/>
                  </a:cubicBezTo>
                  <a:cubicBezTo>
                    <a:pt x="49" y="27"/>
                    <a:pt x="44" y="27"/>
                    <a:pt x="42" y="27"/>
                  </a:cubicBezTo>
                  <a:cubicBezTo>
                    <a:pt x="41" y="27"/>
                    <a:pt x="39" y="25"/>
                    <a:pt x="39" y="25"/>
                  </a:cubicBezTo>
                  <a:cubicBezTo>
                    <a:pt x="37" y="23"/>
                    <a:pt x="38" y="22"/>
                    <a:pt x="35" y="21"/>
                  </a:cubicBezTo>
                  <a:cubicBezTo>
                    <a:pt x="32" y="19"/>
                    <a:pt x="27" y="19"/>
                    <a:pt x="25" y="19"/>
                  </a:cubicBezTo>
                  <a:cubicBezTo>
                    <a:pt x="24" y="19"/>
                    <a:pt x="15" y="22"/>
                    <a:pt x="12" y="19"/>
                  </a:cubicBezTo>
                  <a:cubicBezTo>
                    <a:pt x="8" y="17"/>
                    <a:pt x="4" y="16"/>
                    <a:pt x="6" y="15"/>
                  </a:cubicBezTo>
                  <a:cubicBezTo>
                    <a:pt x="7" y="14"/>
                    <a:pt x="15" y="14"/>
                    <a:pt x="16" y="14"/>
                  </a:cubicBezTo>
                  <a:cubicBezTo>
                    <a:pt x="18" y="13"/>
                    <a:pt x="16" y="10"/>
                    <a:pt x="14" y="9"/>
                  </a:cubicBezTo>
                  <a:cubicBezTo>
                    <a:pt x="12" y="8"/>
                    <a:pt x="9" y="9"/>
                    <a:pt x="8"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3" name="Freeform 470"/>
            <p:cNvSpPr>
              <a:spLocks/>
            </p:cNvSpPr>
            <p:nvPr>
              <p:custDataLst>
                <p:tags r:id="rId22"/>
              </p:custDataLst>
            </p:nvPr>
          </p:nvSpPr>
          <p:spPr bwMode="auto">
            <a:xfrm>
              <a:off x="1339" y="1343"/>
              <a:ext cx="31" cy="23"/>
            </a:xfrm>
            <a:custGeom>
              <a:avLst/>
              <a:gdLst>
                <a:gd name="T0" fmla="*/ 16404 w 18"/>
                <a:gd name="T1" fmla="*/ 30896 h 13"/>
                <a:gd name="T2" fmla="*/ 2734 w 18"/>
                <a:gd name="T3" fmla="*/ 2809 h 13"/>
                <a:gd name="T4" fmla="*/ 21872 w 18"/>
                <a:gd name="T5" fmla="*/ 5617 h 13"/>
                <a:gd name="T6" fmla="*/ 32809 w 18"/>
                <a:gd name="T7" fmla="*/ 16852 h 13"/>
                <a:gd name="T8" fmla="*/ 43745 w 18"/>
                <a:gd name="T9" fmla="*/ 30896 h 13"/>
                <a:gd name="T10" fmla="*/ 16404 w 18"/>
                <a:gd name="T11" fmla="*/ 30896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3">
                  <a:moveTo>
                    <a:pt x="6" y="11"/>
                  </a:moveTo>
                  <a:cubicBezTo>
                    <a:pt x="4" y="9"/>
                    <a:pt x="0" y="3"/>
                    <a:pt x="1" y="1"/>
                  </a:cubicBezTo>
                  <a:cubicBezTo>
                    <a:pt x="2" y="0"/>
                    <a:pt x="6" y="1"/>
                    <a:pt x="8" y="2"/>
                  </a:cubicBezTo>
                  <a:cubicBezTo>
                    <a:pt x="10" y="3"/>
                    <a:pt x="11" y="5"/>
                    <a:pt x="12" y="6"/>
                  </a:cubicBezTo>
                  <a:cubicBezTo>
                    <a:pt x="12" y="7"/>
                    <a:pt x="18" y="10"/>
                    <a:pt x="16" y="11"/>
                  </a:cubicBezTo>
                  <a:cubicBezTo>
                    <a:pt x="15" y="12"/>
                    <a:pt x="9" y="13"/>
                    <a:pt x="6"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4" name="Freeform 471"/>
            <p:cNvSpPr>
              <a:spLocks/>
            </p:cNvSpPr>
            <p:nvPr>
              <p:custDataLst>
                <p:tags r:id="rId23"/>
              </p:custDataLst>
            </p:nvPr>
          </p:nvSpPr>
          <p:spPr bwMode="auto">
            <a:xfrm>
              <a:off x="1253" y="1335"/>
              <a:ext cx="41" cy="23"/>
            </a:xfrm>
            <a:custGeom>
              <a:avLst/>
              <a:gdLst>
                <a:gd name="T0" fmla="*/ 0 w 24"/>
                <a:gd name="T1" fmla="*/ 15214 h 12"/>
                <a:gd name="T2" fmla="*/ 8136 w 24"/>
                <a:gd name="T3" fmla="*/ 6086 h 12"/>
                <a:gd name="T4" fmla="*/ 48816 w 24"/>
                <a:gd name="T5" fmla="*/ 0 h 12"/>
                <a:gd name="T6" fmla="*/ 65088 w 24"/>
                <a:gd name="T7" fmla="*/ 3043 h 12"/>
                <a:gd name="T8" fmla="*/ 37968 w 24"/>
                <a:gd name="T9" fmla="*/ 15214 h 12"/>
                <a:gd name="T10" fmla="*/ 56952 w 24"/>
                <a:gd name="T11" fmla="*/ 21299 h 12"/>
                <a:gd name="T12" fmla="*/ 48816 w 24"/>
                <a:gd name="T13" fmla="*/ 30428 h 12"/>
                <a:gd name="T14" fmla="*/ 16272 w 24"/>
                <a:gd name="T15" fmla="*/ 33470 h 12"/>
                <a:gd name="T16" fmla="*/ 0 w 24"/>
                <a:gd name="T17" fmla="*/ 27385 h 12"/>
                <a:gd name="T18" fmla="*/ 0 w 24"/>
                <a:gd name="T19" fmla="*/ 1521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2">
                  <a:moveTo>
                    <a:pt x="0" y="5"/>
                  </a:moveTo>
                  <a:cubicBezTo>
                    <a:pt x="0" y="4"/>
                    <a:pt x="2" y="2"/>
                    <a:pt x="3" y="2"/>
                  </a:cubicBezTo>
                  <a:cubicBezTo>
                    <a:pt x="3" y="2"/>
                    <a:pt x="14" y="0"/>
                    <a:pt x="18" y="0"/>
                  </a:cubicBezTo>
                  <a:cubicBezTo>
                    <a:pt x="22" y="0"/>
                    <a:pt x="24" y="0"/>
                    <a:pt x="24" y="1"/>
                  </a:cubicBezTo>
                  <a:cubicBezTo>
                    <a:pt x="23" y="3"/>
                    <a:pt x="14" y="3"/>
                    <a:pt x="14" y="5"/>
                  </a:cubicBezTo>
                  <a:cubicBezTo>
                    <a:pt x="15" y="8"/>
                    <a:pt x="21" y="6"/>
                    <a:pt x="21" y="7"/>
                  </a:cubicBezTo>
                  <a:cubicBezTo>
                    <a:pt x="22" y="8"/>
                    <a:pt x="21" y="9"/>
                    <a:pt x="18" y="10"/>
                  </a:cubicBezTo>
                  <a:cubicBezTo>
                    <a:pt x="16" y="12"/>
                    <a:pt x="8" y="11"/>
                    <a:pt x="6" y="11"/>
                  </a:cubicBezTo>
                  <a:cubicBezTo>
                    <a:pt x="4" y="11"/>
                    <a:pt x="2" y="10"/>
                    <a:pt x="0" y="9"/>
                  </a:cubicBezTo>
                  <a:cubicBezTo>
                    <a:pt x="0" y="9"/>
                    <a:pt x="0" y="7"/>
                    <a:pt x="0"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5" name="Freeform 472"/>
            <p:cNvSpPr>
              <a:spLocks/>
            </p:cNvSpPr>
            <p:nvPr>
              <p:custDataLst>
                <p:tags r:id="rId24"/>
              </p:custDataLst>
            </p:nvPr>
          </p:nvSpPr>
          <p:spPr bwMode="auto">
            <a:xfrm>
              <a:off x="1244" y="1312"/>
              <a:ext cx="56" cy="18"/>
            </a:xfrm>
            <a:custGeom>
              <a:avLst/>
              <a:gdLst>
                <a:gd name="T0" fmla="*/ 5388 w 33"/>
                <a:gd name="T1" fmla="*/ 17145 h 10"/>
                <a:gd name="T2" fmla="*/ 45797 w 33"/>
                <a:gd name="T3" fmla="*/ 2858 h 10"/>
                <a:gd name="T4" fmla="*/ 70042 w 33"/>
                <a:gd name="T5" fmla="*/ 2858 h 10"/>
                <a:gd name="T6" fmla="*/ 88900 w 33"/>
                <a:gd name="T7" fmla="*/ 14288 h 10"/>
                <a:gd name="T8" fmla="*/ 83512 w 33"/>
                <a:gd name="T9" fmla="*/ 20003 h 10"/>
                <a:gd name="T10" fmla="*/ 51185 w 33"/>
                <a:gd name="T11" fmla="*/ 20003 h 10"/>
                <a:gd name="T12" fmla="*/ 26939 w 33"/>
                <a:gd name="T13" fmla="*/ 25718 h 10"/>
                <a:gd name="T14" fmla="*/ 5388 w 33"/>
                <a:gd name="T15" fmla="*/ 25718 h 10"/>
                <a:gd name="T16" fmla="*/ 5388 w 33"/>
                <a:gd name="T17" fmla="*/ 1714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10">
                  <a:moveTo>
                    <a:pt x="2" y="6"/>
                  </a:moveTo>
                  <a:cubicBezTo>
                    <a:pt x="3" y="4"/>
                    <a:pt x="15" y="2"/>
                    <a:pt x="17" y="1"/>
                  </a:cubicBezTo>
                  <a:cubicBezTo>
                    <a:pt x="19" y="0"/>
                    <a:pt x="24" y="0"/>
                    <a:pt x="26" y="1"/>
                  </a:cubicBezTo>
                  <a:cubicBezTo>
                    <a:pt x="28" y="1"/>
                    <a:pt x="33" y="4"/>
                    <a:pt x="33" y="5"/>
                  </a:cubicBezTo>
                  <a:cubicBezTo>
                    <a:pt x="33" y="6"/>
                    <a:pt x="33" y="7"/>
                    <a:pt x="31" y="7"/>
                  </a:cubicBezTo>
                  <a:cubicBezTo>
                    <a:pt x="29" y="7"/>
                    <a:pt x="21" y="7"/>
                    <a:pt x="19" y="7"/>
                  </a:cubicBezTo>
                  <a:cubicBezTo>
                    <a:pt x="17" y="7"/>
                    <a:pt x="13" y="8"/>
                    <a:pt x="10" y="9"/>
                  </a:cubicBezTo>
                  <a:cubicBezTo>
                    <a:pt x="8" y="9"/>
                    <a:pt x="3" y="10"/>
                    <a:pt x="2" y="9"/>
                  </a:cubicBezTo>
                  <a:cubicBezTo>
                    <a:pt x="0" y="7"/>
                    <a:pt x="2" y="6"/>
                    <a:pt x="2"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6" name="Freeform 473"/>
            <p:cNvSpPr>
              <a:spLocks/>
            </p:cNvSpPr>
            <p:nvPr>
              <p:custDataLst>
                <p:tags r:id="rId25"/>
              </p:custDataLst>
            </p:nvPr>
          </p:nvSpPr>
          <p:spPr bwMode="auto">
            <a:xfrm>
              <a:off x="1222" y="1335"/>
              <a:ext cx="22" cy="13"/>
            </a:xfrm>
            <a:custGeom>
              <a:avLst/>
              <a:gdLst>
                <a:gd name="T0" fmla="*/ 0 w 13"/>
                <a:gd name="T1" fmla="*/ 5897 h 7"/>
                <a:gd name="T2" fmla="*/ 18806 w 13"/>
                <a:gd name="T3" fmla="*/ 0 h 7"/>
                <a:gd name="T4" fmla="*/ 32238 w 13"/>
                <a:gd name="T5" fmla="*/ 11793 h 7"/>
                <a:gd name="T6" fmla="*/ 18806 w 13"/>
                <a:gd name="T7" fmla="*/ 17690 h 7"/>
                <a:gd name="T8" fmla="*/ 8060 w 13"/>
                <a:gd name="T9" fmla="*/ 14741 h 7"/>
                <a:gd name="T10" fmla="*/ 0 w 13"/>
                <a:gd name="T11" fmla="*/ 5897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2"/>
                  </a:moveTo>
                  <a:cubicBezTo>
                    <a:pt x="0" y="1"/>
                    <a:pt x="6" y="0"/>
                    <a:pt x="7" y="0"/>
                  </a:cubicBezTo>
                  <a:cubicBezTo>
                    <a:pt x="8" y="0"/>
                    <a:pt x="13" y="3"/>
                    <a:pt x="12" y="4"/>
                  </a:cubicBezTo>
                  <a:cubicBezTo>
                    <a:pt x="12" y="5"/>
                    <a:pt x="9" y="7"/>
                    <a:pt x="7" y="6"/>
                  </a:cubicBezTo>
                  <a:cubicBezTo>
                    <a:pt x="6" y="5"/>
                    <a:pt x="3" y="5"/>
                    <a:pt x="3" y="5"/>
                  </a:cubicBezTo>
                  <a:cubicBezTo>
                    <a:pt x="1" y="4"/>
                    <a:pt x="0" y="3"/>
                    <a:pt x="0"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7" name="Freeform 474"/>
            <p:cNvSpPr>
              <a:spLocks/>
            </p:cNvSpPr>
            <p:nvPr>
              <p:custDataLst>
                <p:tags r:id="rId26"/>
              </p:custDataLst>
            </p:nvPr>
          </p:nvSpPr>
          <p:spPr bwMode="auto">
            <a:xfrm>
              <a:off x="1191" y="1370"/>
              <a:ext cx="161" cy="78"/>
            </a:xfrm>
            <a:custGeom>
              <a:avLst/>
              <a:gdLst>
                <a:gd name="T0" fmla="*/ 2719 w 94"/>
                <a:gd name="T1" fmla="*/ 76654 h 42"/>
                <a:gd name="T2" fmla="*/ 19033 w 94"/>
                <a:gd name="T3" fmla="*/ 58964 h 42"/>
                <a:gd name="T4" fmla="*/ 27190 w 94"/>
                <a:gd name="T5" fmla="*/ 35379 h 42"/>
                <a:gd name="T6" fmla="*/ 48942 w 94"/>
                <a:gd name="T7" fmla="*/ 20638 h 42"/>
                <a:gd name="T8" fmla="*/ 67976 w 94"/>
                <a:gd name="T9" fmla="*/ 20638 h 42"/>
                <a:gd name="T10" fmla="*/ 76133 w 94"/>
                <a:gd name="T11" fmla="*/ 35379 h 42"/>
                <a:gd name="T12" fmla="*/ 97885 w 94"/>
                <a:gd name="T13" fmla="*/ 29482 h 42"/>
                <a:gd name="T14" fmla="*/ 125075 w 94"/>
                <a:gd name="T15" fmla="*/ 53068 h 42"/>
                <a:gd name="T16" fmla="*/ 130513 w 94"/>
                <a:gd name="T17" fmla="*/ 64861 h 42"/>
                <a:gd name="T18" fmla="*/ 176736 w 94"/>
                <a:gd name="T19" fmla="*/ 64861 h 42"/>
                <a:gd name="T20" fmla="*/ 176736 w 94"/>
                <a:gd name="T21" fmla="*/ 53068 h 42"/>
                <a:gd name="T22" fmla="*/ 163141 w 94"/>
                <a:gd name="T23" fmla="*/ 47171 h 42"/>
                <a:gd name="T24" fmla="*/ 168579 w 94"/>
                <a:gd name="T25" fmla="*/ 35379 h 42"/>
                <a:gd name="T26" fmla="*/ 146827 w 94"/>
                <a:gd name="T27" fmla="*/ 23586 h 42"/>
                <a:gd name="T28" fmla="*/ 171298 w 94"/>
                <a:gd name="T29" fmla="*/ 5896 h 42"/>
                <a:gd name="T30" fmla="*/ 184893 w 94"/>
                <a:gd name="T31" fmla="*/ 0 h 42"/>
                <a:gd name="T32" fmla="*/ 187612 w 94"/>
                <a:gd name="T33" fmla="*/ 17689 h 42"/>
                <a:gd name="T34" fmla="*/ 195770 w 94"/>
                <a:gd name="T35" fmla="*/ 29482 h 42"/>
                <a:gd name="T36" fmla="*/ 193051 w 94"/>
                <a:gd name="T37" fmla="*/ 41275 h 42"/>
                <a:gd name="T38" fmla="*/ 217522 w 94"/>
                <a:gd name="T39" fmla="*/ 50120 h 42"/>
                <a:gd name="T40" fmla="*/ 222960 w 94"/>
                <a:gd name="T41" fmla="*/ 35379 h 42"/>
                <a:gd name="T42" fmla="*/ 244712 w 94"/>
                <a:gd name="T43" fmla="*/ 41275 h 42"/>
                <a:gd name="T44" fmla="*/ 250150 w 94"/>
                <a:gd name="T45" fmla="*/ 67809 h 42"/>
                <a:gd name="T46" fmla="*/ 233836 w 94"/>
                <a:gd name="T47" fmla="*/ 88446 h 42"/>
                <a:gd name="T48" fmla="*/ 179455 w 94"/>
                <a:gd name="T49" fmla="*/ 88446 h 42"/>
                <a:gd name="T50" fmla="*/ 130513 w 94"/>
                <a:gd name="T51" fmla="*/ 106136 h 42"/>
                <a:gd name="T52" fmla="*/ 87009 w 94"/>
                <a:gd name="T53" fmla="*/ 117929 h 42"/>
                <a:gd name="T54" fmla="*/ 65257 w 94"/>
                <a:gd name="T55" fmla="*/ 103188 h 42"/>
                <a:gd name="T56" fmla="*/ 89728 w 94"/>
                <a:gd name="T57" fmla="*/ 94343 h 42"/>
                <a:gd name="T58" fmla="*/ 122356 w 94"/>
                <a:gd name="T59" fmla="*/ 88446 h 42"/>
                <a:gd name="T60" fmla="*/ 133232 w 94"/>
                <a:gd name="T61" fmla="*/ 79602 h 42"/>
                <a:gd name="T62" fmla="*/ 106042 w 94"/>
                <a:gd name="T63" fmla="*/ 76654 h 42"/>
                <a:gd name="T64" fmla="*/ 78852 w 94"/>
                <a:gd name="T65" fmla="*/ 79602 h 42"/>
                <a:gd name="T66" fmla="*/ 76133 w 94"/>
                <a:gd name="T67" fmla="*/ 64861 h 42"/>
                <a:gd name="T68" fmla="*/ 65257 w 94"/>
                <a:gd name="T69" fmla="*/ 67809 h 42"/>
                <a:gd name="T70" fmla="*/ 59818 w 94"/>
                <a:gd name="T71" fmla="*/ 85498 h 42"/>
                <a:gd name="T72" fmla="*/ 38066 w 94"/>
                <a:gd name="T73" fmla="*/ 88446 h 42"/>
                <a:gd name="T74" fmla="*/ 32628 w 94"/>
                <a:gd name="T75" fmla="*/ 85498 h 42"/>
                <a:gd name="T76" fmla="*/ 2719 w 94"/>
                <a:gd name="T77" fmla="*/ 76654 h 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4" h="42">
                  <a:moveTo>
                    <a:pt x="1" y="26"/>
                  </a:moveTo>
                  <a:cubicBezTo>
                    <a:pt x="2" y="25"/>
                    <a:pt x="6" y="21"/>
                    <a:pt x="7" y="20"/>
                  </a:cubicBezTo>
                  <a:cubicBezTo>
                    <a:pt x="8" y="18"/>
                    <a:pt x="10" y="13"/>
                    <a:pt x="10" y="12"/>
                  </a:cubicBezTo>
                  <a:cubicBezTo>
                    <a:pt x="11" y="11"/>
                    <a:pt x="16" y="7"/>
                    <a:pt x="18" y="7"/>
                  </a:cubicBezTo>
                  <a:cubicBezTo>
                    <a:pt x="20" y="7"/>
                    <a:pt x="25" y="6"/>
                    <a:pt x="25" y="7"/>
                  </a:cubicBezTo>
                  <a:cubicBezTo>
                    <a:pt x="26" y="9"/>
                    <a:pt x="25" y="12"/>
                    <a:pt x="28" y="12"/>
                  </a:cubicBezTo>
                  <a:cubicBezTo>
                    <a:pt x="30" y="12"/>
                    <a:pt x="32" y="9"/>
                    <a:pt x="36" y="10"/>
                  </a:cubicBezTo>
                  <a:cubicBezTo>
                    <a:pt x="40" y="12"/>
                    <a:pt x="44" y="16"/>
                    <a:pt x="46" y="18"/>
                  </a:cubicBezTo>
                  <a:cubicBezTo>
                    <a:pt x="47" y="19"/>
                    <a:pt x="46" y="22"/>
                    <a:pt x="48" y="22"/>
                  </a:cubicBezTo>
                  <a:cubicBezTo>
                    <a:pt x="50" y="22"/>
                    <a:pt x="64" y="23"/>
                    <a:pt x="65" y="22"/>
                  </a:cubicBezTo>
                  <a:cubicBezTo>
                    <a:pt x="66" y="21"/>
                    <a:pt x="68" y="20"/>
                    <a:pt x="65" y="18"/>
                  </a:cubicBezTo>
                  <a:cubicBezTo>
                    <a:pt x="62" y="16"/>
                    <a:pt x="61" y="17"/>
                    <a:pt x="60" y="16"/>
                  </a:cubicBezTo>
                  <a:cubicBezTo>
                    <a:pt x="58" y="14"/>
                    <a:pt x="64" y="13"/>
                    <a:pt x="62" y="12"/>
                  </a:cubicBezTo>
                  <a:cubicBezTo>
                    <a:pt x="61" y="11"/>
                    <a:pt x="54" y="9"/>
                    <a:pt x="54" y="8"/>
                  </a:cubicBezTo>
                  <a:cubicBezTo>
                    <a:pt x="54" y="6"/>
                    <a:pt x="61" y="4"/>
                    <a:pt x="63" y="2"/>
                  </a:cubicBezTo>
                  <a:cubicBezTo>
                    <a:pt x="65" y="0"/>
                    <a:pt x="67" y="0"/>
                    <a:pt x="68" y="0"/>
                  </a:cubicBezTo>
                  <a:cubicBezTo>
                    <a:pt x="69" y="0"/>
                    <a:pt x="68" y="4"/>
                    <a:pt x="69" y="6"/>
                  </a:cubicBezTo>
                  <a:cubicBezTo>
                    <a:pt x="70" y="7"/>
                    <a:pt x="71" y="9"/>
                    <a:pt x="72" y="10"/>
                  </a:cubicBezTo>
                  <a:cubicBezTo>
                    <a:pt x="73" y="11"/>
                    <a:pt x="69" y="12"/>
                    <a:pt x="71" y="14"/>
                  </a:cubicBezTo>
                  <a:cubicBezTo>
                    <a:pt x="73" y="15"/>
                    <a:pt x="78" y="17"/>
                    <a:pt x="80" y="17"/>
                  </a:cubicBezTo>
                  <a:cubicBezTo>
                    <a:pt x="82" y="17"/>
                    <a:pt x="80" y="12"/>
                    <a:pt x="82" y="12"/>
                  </a:cubicBezTo>
                  <a:cubicBezTo>
                    <a:pt x="84" y="12"/>
                    <a:pt x="88" y="13"/>
                    <a:pt x="90" y="14"/>
                  </a:cubicBezTo>
                  <a:cubicBezTo>
                    <a:pt x="93" y="16"/>
                    <a:pt x="94" y="20"/>
                    <a:pt x="92" y="23"/>
                  </a:cubicBezTo>
                  <a:cubicBezTo>
                    <a:pt x="90" y="25"/>
                    <a:pt x="89" y="30"/>
                    <a:pt x="86" y="30"/>
                  </a:cubicBezTo>
                  <a:cubicBezTo>
                    <a:pt x="84" y="30"/>
                    <a:pt x="68" y="29"/>
                    <a:pt x="66" y="30"/>
                  </a:cubicBezTo>
                  <a:cubicBezTo>
                    <a:pt x="64" y="31"/>
                    <a:pt x="51" y="36"/>
                    <a:pt x="48" y="36"/>
                  </a:cubicBezTo>
                  <a:cubicBezTo>
                    <a:pt x="45" y="37"/>
                    <a:pt x="37" y="42"/>
                    <a:pt x="32" y="40"/>
                  </a:cubicBezTo>
                  <a:cubicBezTo>
                    <a:pt x="27" y="38"/>
                    <a:pt x="24" y="36"/>
                    <a:pt x="24" y="35"/>
                  </a:cubicBezTo>
                  <a:cubicBezTo>
                    <a:pt x="25" y="34"/>
                    <a:pt x="30" y="32"/>
                    <a:pt x="33" y="32"/>
                  </a:cubicBezTo>
                  <a:cubicBezTo>
                    <a:pt x="36" y="32"/>
                    <a:pt x="43" y="31"/>
                    <a:pt x="45" y="30"/>
                  </a:cubicBezTo>
                  <a:cubicBezTo>
                    <a:pt x="47" y="29"/>
                    <a:pt x="50" y="29"/>
                    <a:pt x="49" y="27"/>
                  </a:cubicBezTo>
                  <a:cubicBezTo>
                    <a:pt x="48" y="26"/>
                    <a:pt x="42" y="26"/>
                    <a:pt x="39" y="26"/>
                  </a:cubicBezTo>
                  <a:cubicBezTo>
                    <a:pt x="36" y="26"/>
                    <a:pt x="30" y="28"/>
                    <a:pt x="29" y="27"/>
                  </a:cubicBezTo>
                  <a:cubicBezTo>
                    <a:pt x="28" y="26"/>
                    <a:pt x="30" y="22"/>
                    <a:pt x="28" y="22"/>
                  </a:cubicBezTo>
                  <a:cubicBezTo>
                    <a:pt x="27" y="22"/>
                    <a:pt x="24" y="23"/>
                    <a:pt x="24" y="23"/>
                  </a:cubicBezTo>
                  <a:cubicBezTo>
                    <a:pt x="24" y="23"/>
                    <a:pt x="23" y="29"/>
                    <a:pt x="22" y="29"/>
                  </a:cubicBezTo>
                  <a:cubicBezTo>
                    <a:pt x="20" y="29"/>
                    <a:pt x="15" y="30"/>
                    <a:pt x="14" y="30"/>
                  </a:cubicBezTo>
                  <a:cubicBezTo>
                    <a:pt x="14" y="30"/>
                    <a:pt x="12" y="29"/>
                    <a:pt x="12" y="29"/>
                  </a:cubicBezTo>
                  <a:cubicBezTo>
                    <a:pt x="10" y="28"/>
                    <a:pt x="0" y="27"/>
                    <a:pt x="1"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8" name="Freeform 475"/>
            <p:cNvSpPr>
              <a:spLocks/>
            </p:cNvSpPr>
            <p:nvPr>
              <p:custDataLst>
                <p:tags r:id="rId27"/>
              </p:custDataLst>
            </p:nvPr>
          </p:nvSpPr>
          <p:spPr bwMode="auto">
            <a:xfrm>
              <a:off x="1168" y="1459"/>
              <a:ext cx="245" cy="135"/>
            </a:xfrm>
            <a:custGeom>
              <a:avLst/>
              <a:gdLst>
                <a:gd name="T0" fmla="*/ 5478 w 142"/>
                <a:gd name="T1" fmla="*/ 83988 h 74"/>
                <a:gd name="T2" fmla="*/ 41085 w 142"/>
                <a:gd name="T3" fmla="*/ 49234 h 74"/>
                <a:gd name="T4" fmla="*/ 106821 w 142"/>
                <a:gd name="T5" fmla="*/ 23169 h 74"/>
                <a:gd name="T6" fmla="*/ 123255 w 142"/>
                <a:gd name="T7" fmla="*/ 49234 h 74"/>
                <a:gd name="T8" fmla="*/ 164340 w 142"/>
                <a:gd name="T9" fmla="*/ 46338 h 74"/>
                <a:gd name="T10" fmla="*/ 172557 w 142"/>
                <a:gd name="T11" fmla="*/ 60819 h 74"/>
                <a:gd name="T12" fmla="*/ 180774 w 142"/>
                <a:gd name="T13" fmla="*/ 31857 h 74"/>
                <a:gd name="T14" fmla="*/ 221859 w 142"/>
                <a:gd name="T15" fmla="*/ 49234 h 74"/>
                <a:gd name="T16" fmla="*/ 251988 w 142"/>
                <a:gd name="T17" fmla="*/ 78195 h 74"/>
                <a:gd name="T18" fmla="*/ 232815 w 142"/>
                <a:gd name="T19" fmla="*/ 23169 h 74"/>
                <a:gd name="T20" fmla="*/ 268422 w 142"/>
                <a:gd name="T21" fmla="*/ 23169 h 74"/>
                <a:gd name="T22" fmla="*/ 290334 w 142"/>
                <a:gd name="T23" fmla="*/ 2896 h 74"/>
                <a:gd name="T24" fmla="*/ 295812 w 142"/>
                <a:gd name="T25" fmla="*/ 34753 h 74"/>
                <a:gd name="T26" fmla="*/ 312246 w 142"/>
                <a:gd name="T27" fmla="*/ 92676 h 74"/>
                <a:gd name="T28" fmla="*/ 331419 w 142"/>
                <a:gd name="T29" fmla="*/ 130325 h 74"/>
                <a:gd name="T30" fmla="*/ 383460 w 142"/>
                <a:gd name="T31" fmla="*/ 167975 h 74"/>
                <a:gd name="T32" fmla="*/ 347853 w 142"/>
                <a:gd name="T33" fmla="*/ 167975 h 74"/>
                <a:gd name="T34" fmla="*/ 339636 w 142"/>
                <a:gd name="T35" fmla="*/ 185352 h 74"/>
                <a:gd name="T36" fmla="*/ 367026 w 142"/>
                <a:gd name="T37" fmla="*/ 191144 h 74"/>
                <a:gd name="T38" fmla="*/ 301290 w 142"/>
                <a:gd name="T39" fmla="*/ 196936 h 74"/>
                <a:gd name="T40" fmla="*/ 268422 w 142"/>
                <a:gd name="T41" fmla="*/ 176663 h 74"/>
                <a:gd name="T42" fmla="*/ 246510 w 142"/>
                <a:gd name="T43" fmla="*/ 191144 h 74"/>
                <a:gd name="T44" fmla="*/ 180774 w 142"/>
                <a:gd name="T45" fmla="*/ 208521 h 74"/>
                <a:gd name="T46" fmla="*/ 120516 w 142"/>
                <a:gd name="T47" fmla="*/ 196936 h 74"/>
                <a:gd name="T48" fmla="*/ 73953 w 142"/>
                <a:gd name="T49" fmla="*/ 179560 h 74"/>
                <a:gd name="T50" fmla="*/ 52041 w 142"/>
                <a:gd name="T51" fmla="*/ 153494 h 74"/>
                <a:gd name="T52" fmla="*/ 142428 w 142"/>
                <a:gd name="T53" fmla="*/ 150598 h 74"/>
                <a:gd name="T54" fmla="*/ 139689 w 142"/>
                <a:gd name="T55" fmla="*/ 130325 h 74"/>
                <a:gd name="T56" fmla="*/ 57519 w 142"/>
                <a:gd name="T57" fmla="*/ 133222 h 74"/>
                <a:gd name="T58" fmla="*/ 21912 w 142"/>
                <a:gd name="T59" fmla="*/ 115845 h 74"/>
                <a:gd name="T60" fmla="*/ 82170 w 142"/>
                <a:gd name="T61" fmla="*/ 95572 h 74"/>
                <a:gd name="T62" fmla="*/ 30129 w 142"/>
                <a:gd name="T63" fmla="*/ 95572 h 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2" h="74">
                  <a:moveTo>
                    <a:pt x="6" y="31"/>
                  </a:moveTo>
                  <a:cubicBezTo>
                    <a:pt x="4" y="30"/>
                    <a:pt x="0" y="31"/>
                    <a:pt x="2" y="29"/>
                  </a:cubicBezTo>
                  <a:cubicBezTo>
                    <a:pt x="4" y="26"/>
                    <a:pt x="7" y="26"/>
                    <a:pt x="9" y="24"/>
                  </a:cubicBezTo>
                  <a:cubicBezTo>
                    <a:pt x="10" y="23"/>
                    <a:pt x="3" y="19"/>
                    <a:pt x="15" y="17"/>
                  </a:cubicBezTo>
                  <a:cubicBezTo>
                    <a:pt x="18" y="16"/>
                    <a:pt x="25" y="12"/>
                    <a:pt x="26" y="11"/>
                  </a:cubicBezTo>
                  <a:cubicBezTo>
                    <a:pt x="30" y="10"/>
                    <a:pt x="37" y="6"/>
                    <a:pt x="39" y="8"/>
                  </a:cubicBezTo>
                  <a:cubicBezTo>
                    <a:pt x="41" y="10"/>
                    <a:pt x="36" y="17"/>
                    <a:pt x="37" y="17"/>
                  </a:cubicBezTo>
                  <a:cubicBezTo>
                    <a:pt x="38" y="18"/>
                    <a:pt x="44" y="18"/>
                    <a:pt x="45" y="17"/>
                  </a:cubicBezTo>
                  <a:cubicBezTo>
                    <a:pt x="45" y="16"/>
                    <a:pt x="46" y="11"/>
                    <a:pt x="47" y="11"/>
                  </a:cubicBezTo>
                  <a:cubicBezTo>
                    <a:pt x="48" y="11"/>
                    <a:pt x="60" y="14"/>
                    <a:pt x="60" y="16"/>
                  </a:cubicBezTo>
                  <a:cubicBezTo>
                    <a:pt x="61" y="18"/>
                    <a:pt x="56" y="20"/>
                    <a:pt x="58" y="21"/>
                  </a:cubicBezTo>
                  <a:cubicBezTo>
                    <a:pt x="59" y="22"/>
                    <a:pt x="61" y="21"/>
                    <a:pt x="63" y="21"/>
                  </a:cubicBezTo>
                  <a:cubicBezTo>
                    <a:pt x="65" y="21"/>
                    <a:pt x="68" y="18"/>
                    <a:pt x="69" y="17"/>
                  </a:cubicBezTo>
                  <a:cubicBezTo>
                    <a:pt x="70" y="16"/>
                    <a:pt x="65" y="12"/>
                    <a:pt x="66" y="11"/>
                  </a:cubicBezTo>
                  <a:cubicBezTo>
                    <a:pt x="68" y="11"/>
                    <a:pt x="71" y="11"/>
                    <a:pt x="73" y="12"/>
                  </a:cubicBezTo>
                  <a:cubicBezTo>
                    <a:pt x="74" y="13"/>
                    <a:pt x="81" y="15"/>
                    <a:pt x="81" y="17"/>
                  </a:cubicBezTo>
                  <a:cubicBezTo>
                    <a:pt x="81" y="20"/>
                    <a:pt x="83" y="31"/>
                    <a:pt x="85" y="31"/>
                  </a:cubicBezTo>
                  <a:cubicBezTo>
                    <a:pt x="87" y="31"/>
                    <a:pt x="91" y="29"/>
                    <a:pt x="92" y="27"/>
                  </a:cubicBezTo>
                  <a:cubicBezTo>
                    <a:pt x="93" y="26"/>
                    <a:pt x="90" y="24"/>
                    <a:pt x="89" y="22"/>
                  </a:cubicBezTo>
                  <a:cubicBezTo>
                    <a:pt x="89" y="19"/>
                    <a:pt x="84" y="9"/>
                    <a:pt x="85" y="8"/>
                  </a:cubicBezTo>
                  <a:cubicBezTo>
                    <a:pt x="86" y="6"/>
                    <a:pt x="90" y="7"/>
                    <a:pt x="92" y="8"/>
                  </a:cubicBezTo>
                  <a:cubicBezTo>
                    <a:pt x="93" y="8"/>
                    <a:pt x="97" y="8"/>
                    <a:pt x="98" y="8"/>
                  </a:cubicBezTo>
                  <a:cubicBezTo>
                    <a:pt x="98" y="8"/>
                    <a:pt x="94" y="3"/>
                    <a:pt x="96" y="2"/>
                  </a:cubicBezTo>
                  <a:cubicBezTo>
                    <a:pt x="99" y="1"/>
                    <a:pt x="102" y="1"/>
                    <a:pt x="106" y="1"/>
                  </a:cubicBezTo>
                  <a:cubicBezTo>
                    <a:pt x="110" y="0"/>
                    <a:pt x="112" y="2"/>
                    <a:pt x="113" y="4"/>
                  </a:cubicBezTo>
                  <a:cubicBezTo>
                    <a:pt x="113" y="6"/>
                    <a:pt x="109" y="12"/>
                    <a:pt x="108" y="12"/>
                  </a:cubicBezTo>
                  <a:cubicBezTo>
                    <a:pt x="106" y="12"/>
                    <a:pt x="106" y="15"/>
                    <a:pt x="106" y="15"/>
                  </a:cubicBezTo>
                  <a:cubicBezTo>
                    <a:pt x="106" y="15"/>
                    <a:pt x="113" y="30"/>
                    <a:pt x="114" y="32"/>
                  </a:cubicBezTo>
                  <a:cubicBezTo>
                    <a:pt x="114" y="34"/>
                    <a:pt x="110" y="38"/>
                    <a:pt x="112" y="39"/>
                  </a:cubicBezTo>
                  <a:cubicBezTo>
                    <a:pt x="114" y="41"/>
                    <a:pt x="118" y="44"/>
                    <a:pt x="121" y="45"/>
                  </a:cubicBezTo>
                  <a:cubicBezTo>
                    <a:pt x="123" y="46"/>
                    <a:pt x="138" y="49"/>
                    <a:pt x="139" y="51"/>
                  </a:cubicBezTo>
                  <a:cubicBezTo>
                    <a:pt x="140" y="53"/>
                    <a:pt x="142" y="58"/>
                    <a:pt x="140" y="58"/>
                  </a:cubicBezTo>
                  <a:cubicBezTo>
                    <a:pt x="139" y="59"/>
                    <a:pt x="133" y="56"/>
                    <a:pt x="131" y="55"/>
                  </a:cubicBezTo>
                  <a:cubicBezTo>
                    <a:pt x="130" y="55"/>
                    <a:pt x="128" y="57"/>
                    <a:pt x="127" y="58"/>
                  </a:cubicBezTo>
                  <a:cubicBezTo>
                    <a:pt x="126" y="59"/>
                    <a:pt x="124" y="60"/>
                    <a:pt x="123" y="60"/>
                  </a:cubicBezTo>
                  <a:cubicBezTo>
                    <a:pt x="121" y="59"/>
                    <a:pt x="122" y="64"/>
                    <a:pt x="124" y="64"/>
                  </a:cubicBezTo>
                  <a:cubicBezTo>
                    <a:pt x="125" y="64"/>
                    <a:pt x="130" y="60"/>
                    <a:pt x="132" y="61"/>
                  </a:cubicBezTo>
                  <a:cubicBezTo>
                    <a:pt x="133" y="63"/>
                    <a:pt x="135" y="64"/>
                    <a:pt x="134" y="66"/>
                  </a:cubicBezTo>
                  <a:cubicBezTo>
                    <a:pt x="134" y="68"/>
                    <a:pt x="129" y="70"/>
                    <a:pt x="126" y="70"/>
                  </a:cubicBezTo>
                  <a:cubicBezTo>
                    <a:pt x="122" y="70"/>
                    <a:pt x="111" y="69"/>
                    <a:pt x="110" y="68"/>
                  </a:cubicBezTo>
                  <a:cubicBezTo>
                    <a:pt x="109" y="66"/>
                    <a:pt x="105" y="65"/>
                    <a:pt x="103" y="65"/>
                  </a:cubicBezTo>
                  <a:cubicBezTo>
                    <a:pt x="101" y="65"/>
                    <a:pt x="100" y="62"/>
                    <a:pt x="98" y="61"/>
                  </a:cubicBezTo>
                  <a:cubicBezTo>
                    <a:pt x="96" y="61"/>
                    <a:pt x="94" y="61"/>
                    <a:pt x="93" y="63"/>
                  </a:cubicBezTo>
                  <a:cubicBezTo>
                    <a:pt x="92" y="64"/>
                    <a:pt x="93" y="66"/>
                    <a:pt x="90" y="66"/>
                  </a:cubicBezTo>
                  <a:cubicBezTo>
                    <a:pt x="87" y="66"/>
                    <a:pt x="83" y="68"/>
                    <a:pt x="81" y="69"/>
                  </a:cubicBezTo>
                  <a:cubicBezTo>
                    <a:pt x="79" y="69"/>
                    <a:pt x="71" y="72"/>
                    <a:pt x="66" y="72"/>
                  </a:cubicBezTo>
                  <a:cubicBezTo>
                    <a:pt x="62" y="72"/>
                    <a:pt x="51" y="74"/>
                    <a:pt x="49" y="73"/>
                  </a:cubicBezTo>
                  <a:cubicBezTo>
                    <a:pt x="47" y="72"/>
                    <a:pt x="44" y="72"/>
                    <a:pt x="44" y="68"/>
                  </a:cubicBezTo>
                  <a:cubicBezTo>
                    <a:pt x="44" y="65"/>
                    <a:pt x="44" y="63"/>
                    <a:pt x="42" y="63"/>
                  </a:cubicBezTo>
                  <a:cubicBezTo>
                    <a:pt x="41" y="63"/>
                    <a:pt x="31" y="64"/>
                    <a:pt x="27" y="62"/>
                  </a:cubicBezTo>
                  <a:cubicBezTo>
                    <a:pt x="23" y="61"/>
                    <a:pt x="16" y="59"/>
                    <a:pt x="15" y="56"/>
                  </a:cubicBezTo>
                  <a:cubicBezTo>
                    <a:pt x="14" y="54"/>
                    <a:pt x="17" y="53"/>
                    <a:pt x="19" y="53"/>
                  </a:cubicBezTo>
                  <a:cubicBezTo>
                    <a:pt x="22" y="52"/>
                    <a:pt x="34" y="51"/>
                    <a:pt x="38" y="51"/>
                  </a:cubicBezTo>
                  <a:cubicBezTo>
                    <a:pt x="41" y="51"/>
                    <a:pt x="49" y="52"/>
                    <a:pt x="52" y="52"/>
                  </a:cubicBezTo>
                  <a:cubicBezTo>
                    <a:pt x="54" y="52"/>
                    <a:pt x="57" y="50"/>
                    <a:pt x="57" y="48"/>
                  </a:cubicBezTo>
                  <a:cubicBezTo>
                    <a:pt x="57" y="47"/>
                    <a:pt x="54" y="46"/>
                    <a:pt x="51" y="45"/>
                  </a:cubicBezTo>
                  <a:cubicBezTo>
                    <a:pt x="47" y="45"/>
                    <a:pt x="41" y="43"/>
                    <a:pt x="38" y="44"/>
                  </a:cubicBezTo>
                  <a:cubicBezTo>
                    <a:pt x="35" y="44"/>
                    <a:pt x="24" y="46"/>
                    <a:pt x="21" y="46"/>
                  </a:cubicBezTo>
                  <a:cubicBezTo>
                    <a:pt x="19" y="46"/>
                    <a:pt x="13" y="46"/>
                    <a:pt x="11" y="44"/>
                  </a:cubicBezTo>
                  <a:cubicBezTo>
                    <a:pt x="8" y="42"/>
                    <a:pt x="6" y="42"/>
                    <a:pt x="8" y="40"/>
                  </a:cubicBezTo>
                  <a:cubicBezTo>
                    <a:pt x="9" y="39"/>
                    <a:pt x="22" y="37"/>
                    <a:pt x="24" y="36"/>
                  </a:cubicBezTo>
                  <a:cubicBezTo>
                    <a:pt x="26" y="35"/>
                    <a:pt x="30" y="35"/>
                    <a:pt x="30" y="33"/>
                  </a:cubicBezTo>
                  <a:cubicBezTo>
                    <a:pt x="29" y="32"/>
                    <a:pt x="26" y="32"/>
                    <a:pt x="23" y="32"/>
                  </a:cubicBezTo>
                  <a:cubicBezTo>
                    <a:pt x="21" y="32"/>
                    <a:pt x="14" y="34"/>
                    <a:pt x="11" y="33"/>
                  </a:cubicBezTo>
                  <a:cubicBezTo>
                    <a:pt x="7" y="32"/>
                    <a:pt x="8" y="33"/>
                    <a:pt x="6" y="3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9" name="Freeform 476"/>
            <p:cNvSpPr>
              <a:spLocks/>
            </p:cNvSpPr>
            <p:nvPr>
              <p:custDataLst>
                <p:tags r:id="rId28"/>
              </p:custDataLst>
            </p:nvPr>
          </p:nvSpPr>
          <p:spPr bwMode="auto">
            <a:xfrm>
              <a:off x="1164" y="1394"/>
              <a:ext cx="31" cy="23"/>
            </a:xfrm>
            <a:custGeom>
              <a:avLst/>
              <a:gdLst>
                <a:gd name="T0" fmla="*/ 35543 w 18"/>
                <a:gd name="T1" fmla="*/ 21299 h 12"/>
                <a:gd name="T2" fmla="*/ 19138 w 18"/>
                <a:gd name="T3" fmla="*/ 33470 h 12"/>
                <a:gd name="T4" fmla="*/ 0 w 18"/>
                <a:gd name="T5" fmla="*/ 24342 h 12"/>
                <a:gd name="T6" fmla="*/ 32809 w 18"/>
                <a:gd name="T7" fmla="*/ 3043 h 12"/>
                <a:gd name="T8" fmla="*/ 43745 w 18"/>
                <a:gd name="T9" fmla="*/ 3043 h 12"/>
                <a:gd name="T10" fmla="*/ 35543 w 18"/>
                <a:gd name="T11" fmla="*/ 21299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2">
                  <a:moveTo>
                    <a:pt x="13" y="7"/>
                  </a:moveTo>
                  <a:cubicBezTo>
                    <a:pt x="13" y="9"/>
                    <a:pt x="9" y="11"/>
                    <a:pt x="7" y="11"/>
                  </a:cubicBezTo>
                  <a:cubicBezTo>
                    <a:pt x="6" y="12"/>
                    <a:pt x="0" y="10"/>
                    <a:pt x="0" y="8"/>
                  </a:cubicBezTo>
                  <a:cubicBezTo>
                    <a:pt x="1" y="7"/>
                    <a:pt x="10" y="1"/>
                    <a:pt x="12" y="1"/>
                  </a:cubicBezTo>
                  <a:cubicBezTo>
                    <a:pt x="12" y="1"/>
                    <a:pt x="15" y="0"/>
                    <a:pt x="16" y="1"/>
                  </a:cubicBezTo>
                  <a:cubicBezTo>
                    <a:pt x="18" y="1"/>
                    <a:pt x="14" y="5"/>
                    <a:pt x="13"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0" name="Freeform 477"/>
            <p:cNvSpPr>
              <a:spLocks/>
            </p:cNvSpPr>
            <p:nvPr>
              <p:custDataLst>
                <p:tags r:id="rId29"/>
              </p:custDataLst>
            </p:nvPr>
          </p:nvSpPr>
          <p:spPr bwMode="auto">
            <a:xfrm>
              <a:off x="1082" y="1437"/>
              <a:ext cx="138" cy="93"/>
            </a:xfrm>
            <a:custGeom>
              <a:avLst/>
              <a:gdLst>
                <a:gd name="T0" fmla="*/ 18932 w 81"/>
                <a:gd name="T1" fmla="*/ 81056 h 51"/>
                <a:gd name="T2" fmla="*/ 40569 w 81"/>
                <a:gd name="T3" fmla="*/ 46318 h 51"/>
                <a:gd name="T4" fmla="*/ 48683 w 81"/>
                <a:gd name="T5" fmla="*/ 34738 h 51"/>
                <a:gd name="T6" fmla="*/ 27046 w 81"/>
                <a:gd name="T7" fmla="*/ 26054 h 51"/>
                <a:gd name="T8" fmla="*/ 21637 w 81"/>
                <a:gd name="T9" fmla="*/ 8685 h 51"/>
                <a:gd name="T10" fmla="*/ 64911 w 81"/>
                <a:gd name="T11" fmla="*/ 2895 h 51"/>
                <a:gd name="T12" fmla="*/ 94662 w 81"/>
                <a:gd name="T13" fmla="*/ 0 h 51"/>
                <a:gd name="T14" fmla="*/ 127118 w 81"/>
                <a:gd name="T15" fmla="*/ 17369 h 51"/>
                <a:gd name="T16" fmla="*/ 170392 w 81"/>
                <a:gd name="T17" fmla="*/ 14474 h 51"/>
                <a:gd name="T18" fmla="*/ 219075 w 81"/>
                <a:gd name="T19" fmla="*/ 46318 h 51"/>
                <a:gd name="T20" fmla="*/ 140641 w 81"/>
                <a:gd name="T21" fmla="*/ 78161 h 51"/>
                <a:gd name="T22" fmla="*/ 129822 w 81"/>
                <a:gd name="T23" fmla="*/ 98425 h 51"/>
                <a:gd name="T24" fmla="*/ 113594 w 81"/>
                <a:gd name="T25" fmla="*/ 101320 h 51"/>
                <a:gd name="T26" fmla="*/ 110890 w 81"/>
                <a:gd name="T27" fmla="*/ 127374 h 51"/>
                <a:gd name="T28" fmla="*/ 89253 w 81"/>
                <a:gd name="T29" fmla="*/ 133164 h 51"/>
                <a:gd name="T30" fmla="*/ 64911 w 81"/>
                <a:gd name="T31" fmla="*/ 147638 h 51"/>
                <a:gd name="T32" fmla="*/ 51388 w 81"/>
                <a:gd name="T33" fmla="*/ 141848 h 51"/>
                <a:gd name="T34" fmla="*/ 45979 w 81"/>
                <a:gd name="T35" fmla="*/ 130269 h 51"/>
                <a:gd name="T36" fmla="*/ 5409 w 81"/>
                <a:gd name="T37" fmla="*/ 110005 h 51"/>
                <a:gd name="T38" fmla="*/ 18932 w 81"/>
                <a:gd name="T39" fmla="*/ 81056 h 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1" h="51">
                  <a:moveTo>
                    <a:pt x="7" y="28"/>
                  </a:moveTo>
                  <a:cubicBezTo>
                    <a:pt x="8" y="26"/>
                    <a:pt x="14" y="17"/>
                    <a:pt x="15" y="16"/>
                  </a:cubicBezTo>
                  <a:cubicBezTo>
                    <a:pt x="16" y="15"/>
                    <a:pt x="18" y="14"/>
                    <a:pt x="18" y="12"/>
                  </a:cubicBezTo>
                  <a:cubicBezTo>
                    <a:pt x="18" y="11"/>
                    <a:pt x="11" y="11"/>
                    <a:pt x="10" y="9"/>
                  </a:cubicBezTo>
                  <a:cubicBezTo>
                    <a:pt x="10" y="8"/>
                    <a:pt x="7" y="4"/>
                    <a:pt x="8" y="3"/>
                  </a:cubicBezTo>
                  <a:cubicBezTo>
                    <a:pt x="9" y="3"/>
                    <a:pt x="22" y="1"/>
                    <a:pt x="24" y="1"/>
                  </a:cubicBezTo>
                  <a:cubicBezTo>
                    <a:pt x="27" y="1"/>
                    <a:pt x="34" y="0"/>
                    <a:pt x="35" y="0"/>
                  </a:cubicBezTo>
                  <a:cubicBezTo>
                    <a:pt x="36" y="0"/>
                    <a:pt x="44" y="6"/>
                    <a:pt x="47" y="6"/>
                  </a:cubicBezTo>
                  <a:cubicBezTo>
                    <a:pt x="49" y="7"/>
                    <a:pt x="61" y="5"/>
                    <a:pt x="63" y="5"/>
                  </a:cubicBezTo>
                  <a:cubicBezTo>
                    <a:pt x="65" y="5"/>
                    <a:pt x="81" y="14"/>
                    <a:pt x="81" y="16"/>
                  </a:cubicBezTo>
                  <a:cubicBezTo>
                    <a:pt x="80" y="17"/>
                    <a:pt x="54" y="27"/>
                    <a:pt x="52" y="27"/>
                  </a:cubicBezTo>
                  <a:cubicBezTo>
                    <a:pt x="51" y="28"/>
                    <a:pt x="50" y="34"/>
                    <a:pt x="48" y="34"/>
                  </a:cubicBezTo>
                  <a:cubicBezTo>
                    <a:pt x="47" y="34"/>
                    <a:pt x="43" y="34"/>
                    <a:pt x="42" y="35"/>
                  </a:cubicBezTo>
                  <a:cubicBezTo>
                    <a:pt x="42" y="36"/>
                    <a:pt x="44" y="43"/>
                    <a:pt x="41" y="44"/>
                  </a:cubicBezTo>
                  <a:cubicBezTo>
                    <a:pt x="38" y="46"/>
                    <a:pt x="34" y="46"/>
                    <a:pt x="33" y="46"/>
                  </a:cubicBezTo>
                  <a:cubicBezTo>
                    <a:pt x="32" y="46"/>
                    <a:pt x="27" y="51"/>
                    <a:pt x="24" y="51"/>
                  </a:cubicBezTo>
                  <a:cubicBezTo>
                    <a:pt x="22" y="51"/>
                    <a:pt x="19" y="51"/>
                    <a:pt x="19" y="49"/>
                  </a:cubicBezTo>
                  <a:cubicBezTo>
                    <a:pt x="18" y="48"/>
                    <a:pt x="18" y="46"/>
                    <a:pt x="17" y="45"/>
                  </a:cubicBezTo>
                  <a:cubicBezTo>
                    <a:pt x="14" y="43"/>
                    <a:pt x="4" y="38"/>
                    <a:pt x="2" y="38"/>
                  </a:cubicBezTo>
                  <a:cubicBezTo>
                    <a:pt x="0" y="38"/>
                    <a:pt x="5" y="29"/>
                    <a:pt x="7" y="2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1" name="Freeform 478"/>
            <p:cNvSpPr>
              <a:spLocks/>
            </p:cNvSpPr>
            <p:nvPr>
              <p:custDataLst>
                <p:tags r:id="rId30"/>
              </p:custDataLst>
            </p:nvPr>
          </p:nvSpPr>
          <p:spPr bwMode="auto">
            <a:xfrm>
              <a:off x="1119" y="1351"/>
              <a:ext cx="99" cy="48"/>
            </a:xfrm>
            <a:custGeom>
              <a:avLst/>
              <a:gdLst>
                <a:gd name="T0" fmla="*/ 10839 w 58"/>
                <a:gd name="T1" fmla="*/ 53622 h 27"/>
                <a:gd name="T2" fmla="*/ 32516 w 58"/>
                <a:gd name="T3" fmla="*/ 50800 h 27"/>
                <a:gd name="T4" fmla="*/ 43355 w 58"/>
                <a:gd name="T5" fmla="*/ 39511 h 27"/>
                <a:gd name="T6" fmla="*/ 81291 w 58"/>
                <a:gd name="T7" fmla="*/ 11289 h 27"/>
                <a:gd name="T8" fmla="*/ 121937 w 58"/>
                <a:gd name="T9" fmla="*/ 14111 h 27"/>
                <a:gd name="T10" fmla="*/ 132776 w 58"/>
                <a:gd name="T11" fmla="*/ 0 h 27"/>
                <a:gd name="T12" fmla="*/ 157163 w 58"/>
                <a:gd name="T13" fmla="*/ 11289 h 27"/>
                <a:gd name="T14" fmla="*/ 138195 w 58"/>
                <a:gd name="T15" fmla="*/ 19756 h 27"/>
                <a:gd name="T16" fmla="*/ 149034 w 58"/>
                <a:gd name="T17" fmla="*/ 36689 h 27"/>
                <a:gd name="T18" fmla="*/ 130066 w 58"/>
                <a:gd name="T19" fmla="*/ 45156 h 27"/>
                <a:gd name="T20" fmla="*/ 113808 w 58"/>
                <a:gd name="T21" fmla="*/ 53622 h 27"/>
                <a:gd name="T22" fmla="*/ 105679 w 58"/>
                <a:gd name="T23" fmla="*/ 39511 h 27"/>
                <a:gd name="T24" fmla="*/ 92130 w 58"/>
                <a:gd name="T25" fmla="*/ 39511 h 27"/>
                <a:gd name="T26" fmla="*/ 86711 w 58"/>
                <a:gd name="T27" fmla="*/ 56444 h 27"/>
                <a:gd name="T28" fmla="*/ 73162 w 58"/>
                <a:gd name="T29" fmla="*/ 67733 h 27"/>
                <a:gd name="T30" fmla="*/ 56904 w 58"/>
                <a:gd name="T31" fmla="*/ 76200 h 27"/>
                <a:gd name="T32" fmla="*/ 43355 w 58"/>
                <a:gd name="T33" fmla="*/ 62089 h 27"/>
                <a:gd name="T34" fmla="*/ 32516 w 58"/>
                <a:gd name="T35" fmla="*/ 76200 h 27"/>
                <a:gd name="T36" fmla="*/ 18968 w 58"/>
                <a:gd name="T37" fmla="*/ 73378 h 27"/>
                <a:gd name="T38" fmla="*/ 10839 w 58"/>
                <a:gd name="T39" fmla="*/ 76200 h 27"/>
                <a:gd name="T40" fmla="*/ 2710 w 58"/>
                <a:gd name="T41" fmla="*/ 70556 h 27"/>
                <a:gd name="T42" fmla="*/ 10839 w 58"/>
                <a:gd name="T43" fmla="*/ 53622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8" h="27">
                  <a:moveTo>
                    <a:pt x="4" y="19"/>
                  </a:moveTo>
                  <a:cubicBezTo>
                    <a:pt x="6" y="18"/>
                    <a:pt x="10" y="20"/>
                    <a:pt x="12" y="18"/>
                  </a:cubicBezTo>
                  <a:cubicBezTo>
                    <a:pt x="14" y="17"/>
                    <a:pt x="14" y="15"/>
                    <a:pt x="16" y="14"/>
                  </a:cubicBezTo>
                  <a:cubicBezTo>
                    <a:pt x="17" y="12"/>
                    <a:pt x="28" y="5"/>
                    <a:pt x="30" y="4"/>
                  </a:cubicBezTo>
                  <a:cubicBezTo>
                    <a:pt x="32" y="4"/>
                    <a:pt x="44" y="6"/>
                    <a:pt x="45" y="5"/>
                  </a:cubicBezTo>
                  <a:cubicBezTo>
                    <a:pt x="47" y="3"/>
                    <a:pt x="46" y="0"/>
                    <a:pt x="49" y="0"/>
                  </a:cubicBezTo>
                  <a:cubicBezTo>
                    <a:pt x="52" y="0"/>
                    <a:pt x="58" y="4"/>
                    <a:pt x="58" y="4"/>
                  </a:cubicBezTo>
                  <a:cubicBezTo>
                    <a:pt x="58" y="5"/>
                    <a:pt x="51" y="6"/>
                    <a:pt x="51" y="7"/>
                  </a:cubicBezTo>
                  <a:cubicBezTo>
                    <a:pt x="51" y="8"/>
                    <a:pt x="56" y="12"/>
                    <a:pt x="55" y="13"/>
                  </a:cubicBezTo>
                  <a:cubicBezTo>
                    <a:pt x="54" y="14"/>
                    <a:pt x="50" y="16"/>
                    <a:pt x="48" y="16"/>
                  </a:cubicBezTo>
                  <a:cubicBezTo>
                    <a:pt x="46" y="16"/>
                    <a:pt x="46" y="20"/>
                    <a:pt x="42" y="19"/>
                  </a:cubicBezTo>
                  <a:cubicBezTo>
                    <a:pt x="39" y="18"/>
                    <a:pt x="39" y="16"/>
                    <a:pt x="39" y="14"/>
                  </a:cubicBezTo>
                  <a:cubicBezTo>
                    <a:pt x="39" y="12"/>
                    <a:pt x="36" y="13"/>
                    <a:pt x="34" y="14"/>
                  </a:cubicBezTo>
                  <a:cubicBezTo>
                    <a:pt x="33" y="15"/>
                    <a:pt x="34" y="19"/>
                    <a:pt x="32" y="20"/>
                  </a:cubicBezTo>
                  <a:cubicBezTo>
                    <a:pt x="29" y="21"/>
                    <a:pt x="29" y="24"/>
                    <a:pt x="27" y="24"/>
                  </a:cubicBezTo>
                  <a:cubicBezTo>
                    <a:pt x="25" y="24"/>
                    <a:pt x="22" y="27"/>
                    <a:pt x="21" y="27"/>
                  </a:cubicBezTo>
                  <a:cubicBezTo>
                    <a:pt x="20" y="27"/>
                    <a:pt x="18" y="21"/>
                    <a:pt x="16" y="22"/>
                  </a:cubicBezTo>
                  <a:cubicBezTo>
                    <a:pt x="14" y="23"/>
                    <a:pt x="14" y="27"/>
                    <a:pt x="12" y="27"/>
                  </a:cubicBezTo>
                  <a:cubicBezTo>
                    <a:pt x="10" y="27"/>
                    <a:pt x="8" y="25"/>
                    <a:pt x="7" y="26"/>
                  </a:cubicBezTo>
                  <a:cubicBezTo>
                    <a:pt x="5" y="26"/>
                    <a:pt x="5" y="27"/>
                    <a:pt x="4" y="27"/>
                  </a:cubicBezTo>
                  <a:cubicBezTo>
                    <a:pt x="2" y="26"/>
                    <a:pt x="1" y="25"/>
                    <a:pt x="1" y="25"/>
                  </a:cubicBezTo>
                  <a:cubicBezTo>
                    <a:pt x="0" y="23"/>
                    <a:pt x="2" y="19"/>
                    <a:pt x="4" y="1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2" name="Freeform 479"/>
            <p:cNvSpPr>
              <a:spLocks/>
            </p:cNvSpPr>
            <p:nvPr>
              <p:custDataLst>
                <p:tags r:id="rId31"/>
              </p:custDataLst>
            </p:nvPr>
          </p:nvSpPr>
          <p:spPr bwMode="auto">
            <a:xfrm>
              <a:off x="882" y="1448"/>
              <a:ext cx="1122" cy="672"/>
            </a:xfrm>
            <a:custGeom>
              <a:avLst/>
              <a:gdLst>
                <a:gd name="T0" fmla="*/ 117111 w 654"/>
                <a:gd name="T1" fmla="*/ 226731 h 367"/>
                <a:gd name="T2" fmla="*/ 234222 w 654"/>
                <a:gd name="T3" fmla="*/ 159875 h 367"/>
                <a:gd name="T4" fmla="*/ 266904 w 654"/>
                <a:gd name="T5" fmla="*/ 148247 h 367"/>
                <a:gd name="T6" fmla="*/ 367674 w 654"/>
                <a:gd name="T7" fmla="*/ 200570 h 367"/>
                <a:gd name="T8" fmla="*/ 522914 w 654"/>
                <a:gd name="T9" fmla="*/ 215104 h 367"/>
                <a:gd name="T10" fmla="*/ 631854 w 654"/>
                <a:gd name="T11" fmla="*/ 255799 h 367"/>
                <a:gd name="T12" fmla="*/ 724453 w 654"/>
                <a:gd name="T13" fmla="*/ 223825 h 367"/>
                <a:gd name="T14" fmla="*/ 849735 w 654"/>
                <a:gd name="T15" fmla="*/ 258706 h 367"/>
                <a:gd name="T16" fmla="*/ 874246 w 654"/>
                <a:gd name="T17" fmla="*/ 220918 h 367"/>
                <a:gd name="T18" fmla="*/ 939611 w 654"/>
                <a:gd name="T19" fmla="*/ 209290 h 367"/>
                <a:gd name="T20" fmla="*/ 955952 w 654"/>
                <a:gd name="T21" fmla="*/ 279054 h 367"/>
                <a:gd name="T22" fmla="*/ 975016 w 654"/>
                <a:gd name="T23" fmla="*/ 223825 h 367"/>
                <a:gd name="T24" fmla="*/ 928717 w 654"/>
                <a:gd name="T25" fmla="*/ 168595 h 367"/>
                <a:gd name="T26" fmla="*/ 942334 w 654"/>
                <a:gd name="T27" fmla="*/ 107552 h 367"/>
                <a:gd name="T28" fmla="*/ 953228 w 654"/>
                <a:gd name="T29" fmla="*/ 14534 h 367"/>
                <a:gd name="T30" fmla="*/ 1037657 w 654"/>
                <a:gd name="T31" fmla="*/ 37789 h 367"/>
                <a:gd name="T32" fmla="*/ 999528 w 654"/>
                <a:gd name="T33" fmla="*/ 116272 h 367"/>
                <a:gd name="T34" fmla="*/ 1053998 w 654"/>
                <a:gd name="T35" fmla="*/ 194756 h 367"/>
                <a:gd name="T36" fmla="*/ 1108468 w 654"/>
                <a:gd name="T37" fmla="*/ 244172 h 367"/>
                <a:gd name="T38" fmla="*/ 1168385 w 654"/>
                <a:gd name="T39" fmla="*/ 226731 h 367"/>
                <a:gd name="T40" fmla="*/ 1241920 w 654"/>
                <a:gd name="T41" fmla="*/ 209290 h 367"/>
                <a:gd name="T42" fmla="*/ 1203791 w 654"/>
                <a:gd name="T43" fmla="*/ 313936 h 367"/>
                <a:gd name="T44" fmla="*/ 1132980 w 654"/>
                <a:gd name="T45" fmla="*/ 340097 h 367"/>
                <a:gd name="T46" fmla="*/ 1124809 w 654"/>
                <a:gd name="T47" fmla="*/ 357538 h 367"/>
                <a:gd name="T48" fmla="*/ 1037657 w 654"/>
                <a:gd name="T49" fmla="*/ 415674 h 367"/>
                <a:gd name="T50" fmla="*/ 961399 w 654"/>
                <a:gd name="T51" fmla="*/ 563922 h 367"/>
                <a:gd name="T52" fmla="*/ 1056722 w 654"/>
                <a:gd name="T53" fmla="*/ 630778 h 367"/>
                <a:gd name="T54" fmla="*/ 1225579 w 654"/>
                <a:gd name="T55" fmla="*/ 752864 h 367"/>
                <a:gd name="T56" fmla="*/ 1277326 w 654"/>
                <a:gd name="T57" fmla="*/ 703449 h 367"/>
                <a:gd name="T58" fmla="*/ 1318178 w 654"/>
                <a:gd name="T59" fmla="*/ 552294 h 367"/>
                <a:gd name="T60" fmla="*/ 1318178 w 654"/>
                <a:gd name="T61" fmla="*/ 450556 h 367"/>
                <a:gd name="T62" fmla="*/ 1487036 w 654"/>
                <a:gd name="T63" fmla="*/ 491251 h 367"/>
                <a:gd name="T64" fmla="*/ 1514271 w 654"/>
                <a:gd name="T65" fmla="*/ 572642 h 367"/>
                <a:gd name="T66" fmla="*/ 1571465 w 654"/>
                <a:gd name="T67" fmla="*/ 540667 h 367"/>
                <a:gd name="T68" fmla="*/ 1642276 w 654"/>
                <a:gd name="T69" fmla="*/ 595896 h 367"/>
                <a:gd name="T70" fmla="*/ 1743046 w 654"/>
                <a:gd name="T71" fmla="*/ 700542 h 367"/>
                <a:gd name="T72" fmla="*/ 1672235 w 654"/>
                <a:gd name="T73" fmla="*/ 752864 h 367"/>
                <a:gd name="T74" fmla="*/ 1775728 w 654"/>
                <a:gd name="T75" fmla="*/ 744144 h 367"/>
                <a:gd name="T76" fmla="*/ 1653170 w 654"/>
                <a:gd name="T77" fmla="*/ 842975 h 367"/>
                <a:gd name="T78" fmla="*/ 1585082 w 654"/>
                <a:gd name="T79" fmla="*/ 895298 h 367"/>
                <a:gd name="T80" fmla="*/ 1585082 w 654"/>
                <a:gd name="T81" fmla="*/ 918553 h 367"/>
                <a:gd name="T82" fmla="*/ 1680405 w 654"/>
                <a:gd name="T83" fmla="*/ 947621 h 367"/>
                <a:gd name="T84" fmla="*/ 1571465 w 654"/>
                <a:gd name="T85" fmla="*/ 1031918 h 367"/>
                <a:gd name="T86" fmla="*/ 1585082 w 654"/>
                <a:gd name="T87" fmla="*/ 967968 h 367"/>
                <a:gd name="T88" fmla="*/ 1470695 w 654"/>
                <a:gd name="T89" fmla="*/ 967968 h 367"/>
                <a:gd name="T90" fmla="*/ 1307284 w 654"/>
                <a:gd name="T91" fmla="*/ 1011571 h 367"/>
                <a:gd name="T92" fmla="*/ 1214685 w 654"/>
                <a:gd name="T93" fmla="*/ 1066800 h 367"/>
                <a:gd name="T94" fmla="*/ 1266432 w 654"/>
                <a:gd name="T95" fmla="*/ 1002850 h 367"/>
                <a:gd name="T96" fmla="*/ 1176556 w 654"/>
                <a:gd name="T97" fmla="*/ 944714 h 367"/>
                <a:gd name="T98" fmla="*/ 1092127 w 654"/>
                <a:gd name="T99" fmla="*/ 880764 h 367"/>
                <a:gd name="T100" fmla="*/ 983187 w 654"/>
                <a:gd name="T101" fmla="*/ 889484 h 367"/>
                <a:gd name="T102" fmla="*/ 386738 w 654"/>
                <a:gd name="T103" fmla="*/ 872044 h 367"/>
                <a:gd name="T104" fmla="*/ 283245 w 654"/>
                <a:gd name="T105" fmla="*/ 811001 h 367"/>
                <a:gd name="T106" fmla="*/ 220604 w 654"/>
                <a:gd name="T107" fmla="*/ 723796 h 367"/>
                <a:gd name="T108" fmla="*/ 190646 w 654"/>
                <a:gd name="T109" fmla="*/ 680194 h 367"/>
                <a:gd name="T110" fmla="*/ 128005 w 654"/>
                <a:gd name="T111" fmla="*/ 561015 h 367"/>
                <a:gd name="T112" fmla="*/ 46300 w 654"/>
                <a:gd name="T113" fmla="*/ 5319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54" h="367">
                  <a:moveTo>
                    <a:pt x="1" y="175"/>
                  </a:moveTo>
                  <a:cubicBezTo>
                    <a:pt x="0" y="63"/>
                    <a:pt x="0" y="63"/>
                    <a:pt x="0" y="63"/>
                  </a:cubicBezTo>
                  <a:cubicBezTo>
                    <a:pt x="4" y="65"/>
                    <a:pt x="7" y="66"/>
                    <a:pt x="8" y="66"/>
                  </a:cubicBezTo>
                  <a:cubicBezTo>
                    <a:pt x="11" y="66"/>
                    <a:pt x="16" y="67"/>
                    <a:pt x="20" y="69"/>
                  </a:cubicBezTo>
                  <a:cubicBezTo>
                    <a:pt x="25" y="72"/>
                    <a:pt x="28" y="74"/>
                    <a:pt x="33" y="76"/>
                  </a:cubicBezTo>
                  <a:cubicBezTo>
                    <a:pt x="37" y="78"/>
                    <a:pt x="41" y="78"/>
                    <a:pt x="43" y="78"/>
                  </a:cubicBezTo>
                  <a:cubicBezTo>
                    <a:pt x="45" y="78"/>
                    <a:pt x="41" y="74"/>
                    <a:pt x="39" y="73"/>
                  </a:cubicBezTo>
                  <a:cubicBezTo>
                    <a:pt x="38" y="72"/>
                    <a:pt x="38" y="69"/>
                    <a:pt x="41" y="68"/>
                  </a:cubicBezTo>
                  <a:cubicBezTo>
                    <a:pt x="43" y="68"/>
                    <a:pt x="49" y="65"/>
                    <a:pt x="51" y="65"/>
                  </a:cubicBezTo>
                  <a:cubicBezTo>
                    <a:pt x="53" y="66"/>
                    <a:pt x="60" y="67"/>
                    <a:pt x="62" y="67"/>
                  </a:cubicBezTo>
                  <a:cubicBezTo>
                    <a:pt x="64" y="67"/>
                    <a:pt x="73" y="60"/>
                    <a:pt x="75" y="59"/>
                  </a:cubicBezTo>
                  <a:cubicBezTo>
                    <a:pt x="76" y="58"/>
                    <a:pt x="84" y="54"/>
                    <a:pt x="86" y="55"/>
                  </a:cubicBezTo>
                  <a:cubicBezTo>
                    <a:pt x="87" y="55"/>
                    <a:pt x="89" y="57"/>
                    <a:pt x="89" y="58"/>
                  </a:cubicBezTo>
                  <a:cubicBezTo>
                    <a:pt x="89" y="60"/>
                    <a:pt x="82" y="62"/>
                    <a:pt x="82" y="63"/>
                  </a:cubicBezTo>
                  <a:cubicBezTo>
                    <a:pt x="81" y="64"/>
                    <a:pt x="82" y="66"/>
                    <a:pt x="84" y="66"/>
                  </a:cubicBezTo>
                  <a:cubicBezTo>
                    <a:pt x="85" y="65"/>
                    <a:pt x="94" y="63"/>
                    <a:pt x="96" y="62"/>
                  </a:cubicBezTo>
                  <a:cubicBezTo>
                    <a:pt x="98" y="61"/>
                    <a:pt x="98" y="58"/>
                    <a:pt x="98" y="57"/>
                  </a:cubicBezTo>
                  <a:cubicBezTo>
                    <a:pt x="98" y="55"/>
                    <a:pt x="96" y="52"/>
                    <a:pt x="98" y="51"/>
                  </a:cubicBezTo>
                  <a:cubicBezTo>
                    <a:pt x="100" y="51"/>
                    <a:pt x="104" y="54"/>
                    <a:pt x="106" y="57"/>
                  </a:cubicBezTo>
                  <a:cubicBezTo>
                    <a:pt x="109" y="59"/>
                    <a:pt x="114" y="66"/>
                    <a:pt x="116" y="67"/>
                  </a:cubicBezTo>
                  <a:cubicBezTo>
                    <a:pt x="118" y="68"/>
                    <a:pt x="119" y="60"/>
                    <a:pt x="120" y="60"/>
                  </a:cubicBezTo>
                  <a:cubicBezTo>
                    <a:pt x="121" y="59"/>
                    <a:pt x="127" y="57"/>
                    <a:pt x="128" y="59"/>
                  </a:cubicBezTo>
                  <a:cubicBezTo>
                    <a:pt x="128" y="61"/>
                    <a:pt x="125" y="68"/>
                    <a:pt x="127" y="69"/>
                  </a:cubicBezTo>
                  <a:cubicBezTo>
                    <a:pt x="128" y="71"/>
                    <a:pt x="132" y="69"/>
                    <a:pt x="135" y="69"/>
                  </a:cubicBezTo>
                  <a:cubicBezTo>
                    <a:pt x="137" y="69"/>
                    <a:pt x="137" y="63"/>
                    <a:pt x="138" y="63"/>
                  </a:cubicBezTo>
                  <a:cubicBezTo>
                    <a:pt x="139" y="63"/>
                    <a:pt x="144" y="62"/>
                    <a:pt x="147" y="62"/>
                  </a:cubicBezTo>
                  <a:cubicBezTo>
                    <a:pt x="150" y="63"/>
                    <a:pt x="153" y="64"/>
                    <a:pt x="156" y="66"/>
                  </a:cubicBezTo>
                  <a:cubicBezTo>
                    <a:pt x="160" y="68"/>
                    <a:pt x="172" y="72"/>
                    <a:pt x="175" y="73"/>
                  </a:cubicBezTo>
                  <a:cubicBezTo>
                    <a:pt x="178" y="74"/>
                    <a:pt x="185" y="75"/>
                    <a:pt x="187" y="76"/>
                  </a:cubicBezTo>
                  <a:cubicBezTo>
                    <a:pt x="189" y="77"/>
                    <a:pt x="190" y="74"/>
                    <a:pt x="192" y="74"/>
                  </a:cubicBezTo>
                  <a:cubicBezTo>
                    <a:pt x="194" y="75"/>
                    <a:pt x="202" y="77"/>
                    <a:pt x="204" y="78"/>
                  </a:cubicBezTo>
                  <a:cubicBezTo>
                    <a:pt x="206" y="79"/>
                    <a:pt x="208" y="83"/>
                    <a:pt x="207" y="83"/>
                  </a:cubicBezTo>
                  <a:cubicBezTo>
                    <a:pt x="206" y="84"/>
                    <a:pt x="200" y="84"/>
                    <a:pt x="198" y="84"/>
                  </a:cubicBezTo>
                  <a:cubicBezTo>
                    <a:pt x="197" y="84"/>
                    <a:pt x="196" y="88"/>
                    <a:pt x="197" y="89"/>
                  </a:cubicBezTo>
                  <a:cubicBezTo>
                    <a:pt x="198" y="89"/>
                    <a:pt x="210" y="90"/>
                    <a:pt x="212" y="90"/>
                  </a:cubicBezTo>
                  <a:cubicBezTo>
                    <a:pt x="214" y="90"/>
                    <a:pt x="230" y="88"/>
                    <a:pt x="232" y="88"/>
                  </a:cubicBezTo>
                  <a:cubicBezTo>
                    <a:pt x="236" y="88"/>
                    <a:pt x="238" y="87"/>
                    <a:pt x="240" y="87"/>
                  </a:cubicBezTo>
                  <a:cubicBezTo>
                    <a:pt x="244" y="88"/>
                    <a:pt x="250" y="105"/>
                    <a:pt x="256" y="105"/>
                  </a:cubicBezTo>
                  <a:cubicBezTo>
                    <a:pt x="256" y="105"/>
                    <a:pt x="257" y="102"/>
                    <a:pt x="256" y="99"/>
                  </a:cubicBezTo>
                  <a:cubicBezTo>
                    <a:pt x="251" y="88"/>
                    <a:pt x="260" y="88"/>
                    <a:pt x="258" y="85"/>
                  </a:cubicBezTo>
                  <a:cubicBezTo>
                    <a:pt x="256" y="84"/>
                    <a:pt x="249" y="85"/>
                    <a:pt x="249" y="84"/>
                  </a:cubicBezTo>
                  <a:cubicBezTo>
                    <a:pt x="251" y="78"/>
                    <a:pt x="264" y="77"/>
                    <a:pt x="266" y="77"/>
                  </a:cubicBezTo>
                  <a:cubicBezTo>
                    <a:pt x="269" y="77"/>
                    <a:pt x="272" y="78"/>
                    <a:pt x="273" y="79"/>
                  </a:cubicBezTo>
                  <a:cubicBezTo>
                    <a:pt x="275" y="81"/>
                    <a:pt x="278" y="84"/>
                    <a:pt x="280" y="85"/>
                  </a:cubicBezTo>
                  <a:cubicBezTo>
                    <a:pt x="282" y="87"/>
                    <a:pt x="286" y="85"/>
                    <a:pt x="289" y="85"/>
                  </a:cubicBezTo>
                  <a:cubicBezTo>
                    <a:pt x="291" y="85"/>
                    <a:pt x="292" y="88"/>
                    <a:pt x="294" y="89"/>
                  </a:cubicBezTo>
                  <a:cubicBezTo>
                    <a:pt x="297" y="91"/>
                    <a:pt x="300" y="91"/>
                    <a:pt x="302" y="91"/>
                  </a:cubicBezTo>
                  <a:cubicBezTo>
                    <a:pt x="305" y="91"/>
                    <a:pt x="310" y="89"/>
                    <a:pt x="312" y="89"/>
                  </a:cubicBezTo>
                  <a:cubicBezTo>
                    <a:pt x="314" y="89"/>
                    <a:pt x="316" y="90"/>
                    <a:pt x="318" y="91"/>
                  </a:cubicBezTo>
                  <a:cubicBezTo>
                    <a:pt x="320" y="92"/>
                    <a:pt x="324" y="91"/>
                    <a:pt x="326" y="90"/>
                  </a:cubicBezTo>
                  <a:cubicBezTo>
                    <a:pt x="327" y="88"/>
                    <a:pt x="322" y="86"/>
                    <a:pt x="323" y="85"/>
                  </a:cubicBezTo>
                  <a:cubicBezTo>
                    <a:pt x="323" y="84"/>
                    <a:pt x="322" y="82"/>
                    <a:pt x="324" y="82"/>
                  </a:cubicBezTo>
                  <a:cubicBezTo>
                    <a:pt x="326" y="82"/>
                    <a:pt x="329" y="80"/>
                    <a:pt x="329" y="78"/>
                  </a:cubicBezTo>
                  <a:cubicBezTo>
                    <a:pt x="329" y="77"/>
                    <a:pt x="324" y="76"/>
                    <a:pt x="321" y="76"/>
                  </a:cubicBezTo>
                  <a:cubicBezTo>
                    <a:pt x="318" y="76"/>
                    <a:pt x="317" y="73"/>
                    <a:pt x="318" y="72"/>
                  </a:cubicBezTo>
                  <a:cubicBezTo>
                    <a:pt x="320" y="71"/>
                    <a:pt x="325" y="69"/>
                    <a:pt x="326" y="68"/>
                  </a:cubicBezTo>
                  <a:cubicBezTo>
                    <a:pt x="327" y="68"/>
                    <a:pt x="328" y="61"/>
                    <a:pt x="329" y="61"/>
                  </a:cubicBezTo>
                  <a:cubicBezTo>
                    <a:pt x="331" y="62"/>
                    <a:pt x="335" y="65"/>
                    <a:pt x="336" y="66"/>
                  </a:cubicBezTo>
                  <a:cubicBezTo>
                    <a:pt x="338" y="67"/>
                    <a:pt x="340" y="68"/>
                    <a:pt x="342" y="68"/>
                  </a:cubicBezTo>
                  <a:cubicBezTo>
                    <a:pt x="344" y="68"/>
                    <a:pt x="345" y="71"/>
                    <a:pt x="345" y="72"/>
                  </a:cubicBezTo>
                  <a:cubicBezTo>
                    <a:pt x="346" y="74"/>
                    <a:pt x="347" y="77"/>
                    <a:pt x="347" y="77"/>
                  </a:cubicBezTo>
                  <a:cubicBezTo>
                    <a:pt x="346" y="78"/>
                    <a:pt x="338" y="78"/>
                    <a:pt x="337" y="78"/>
                  </a:cubicBezTo>
                  <a:cubicBezTo>
                    <a:pt x="335" y="78"/>
                    <a:pt x="334" y="80"/>
                    <a:pt x="335" y="81"/>
                  </a:cubicBezTo>
                  <a:cubicBezTo>
                    <a:pt x="336" y="82"/>
                    <a:pt x="344" y="83"/>
                    <a:pt x="343" y="84"/>
                  </a:cubicBezTo>
                  <a:cubicBezTo>
                    <a:pt x="343" y="85"/>
                    <a:pt x="340" y="92"/>
                    <a:pt x="341" y="94"/>
                  </a:cubicBezTo>
                  <a:cubicBezTo>
                    <a:pt x="342" y="95"/>
                    <a:pt x="351" y="97"/>
                    <a:pt x="351" y="96"/>
                  </a:cubicBezTo>
                  <a:cubicBezTo>
                    <a:pt x="351" y="94"/>
                    <a:pt x="348" y="91"/>
                    <a:pt x="348" y="90"/>
                  </a:cubicBezTo>
                  <a:cubicBezTo>
                    <a:pt x="348" y="88"/>
                    <a:pt x="349" y="87"/>
                    <a:pt x="350" y="86"/>
                  </a:cubicBezTo>
                  <a:cubicBezTo>
                    <a:pt x="350" y="85"/>
                    <a:pt x="354" y="86"/>
                    <a:pt x="356" y="86"/>
                  </a:cubicBezTo>
                  <a:cubicBezTo>
                    <a:pt x="357" y="85"/>
                    <a:pt x="362" y="83"/>
                    <a:pt x="362" y="81"/>
                  </a:cubicBezTo>
                  <a:cubicBezTo>
                    <a:pt x="362" y="80"/>
                    <a:pt x="363" y="78"/>
                    <a:pt x="363" y="77"/>
                  </a:cubicBezTo>
                  <a:cubicBezTo>
                    <a:pt x="362" y="76"/>
                    <a:pt x="359" y="77"/>
                    <a:pt x="358" y="77"/>
                  </a:cubicBezTo>
                  <a:cubicBezTo>
                    <a:pt x="357" y="77"/>
                    <a:pt x="358" y="75"/>
                    <a:pt x="358" y="73"/>
                  </a:cubicBezTo>
                  <a:cubicBezTo>
                    <a:pt x="359" y="72"/>
                    <a:pt x="363" y="70"/>
                    <a:pt x="363" y="69"/>
                  </a:cubicBezTo>
                  <a:cubicBezTo>
                    <a:pt x="363" y="68"/>
                    <a:pt x="361" y="67"/>
                    <a:pt x="359" y="67"/>
                  </a:cubicBezTo>
                  <a:cubicBezTo>
                    <a:pt x="358" y="67"/>
                    <a:pt x="356" y="64"/>
                    <a:pt x="355" y="64"/>
                  </a:cubicBezTo>
                  <a:cubicBezTo>
                    <a:pt x="354" y="64"/>
                    <a:pt x="349" y="63"/>
                    <a:pt x="347" y="63"/>
                  </a:cubicBezTo>
                  <a:cubicBezTo>
                    <a:pt x="345" y="63"/>
                    <a:pt x="342" y="60"/>
                    <a:pt x="341" y="58"/>
                  </a:cubicBezTo>
                  <a:cubicBezTo>
                    <a:pt x="339" y="57"/>
                    <a:pt x="342" y="54"/>
                    <a:pt x="343" y="53"/>
                  </a:cubicBezTo>
                  <a:cubicBezTo>
                    <a:pt x="344" y="52"/>
                    <a:pt x="342" y="51"/>
                    <a:pt x="341" y="50"/>
                  </a:cubicBezTo>
                  <a:cubicBezTo>
                    <a:pt x="340" y="49"/>
                    <a:pt x="341" y="45"/>
                    <a:pt x="342" y="43"/>
                  </a:cubicBezTo>
                  <a:cubicBezTo>
                    <a:pt x="342" y="41"/>
                    <a:pt x="346" y="44"/>
                    <a:pt x="347" y="43"/>
                  </a:cubicBezTo>
                  <a:cubicBezTo>
                    <a:pt x="347" y="43"/>
                    <a:pt x="347" y="41"/>
                    <a:pt x="348" y="41"/>
                  </a:cubicBezTo>
                  <a:cubicBezTo>
                    <a:pt x="349" y="40"/>
                    <a:pt x="344" y="39"/>
                    <a:pt x="346" y="37"/>
                  </a:cubicBezTo>
                  <a:cubicBezTo>
                    <a:pt x="348" y="35"/>
                    <a:pt x="350" y="28"/>
                    <a:pt x="350" y="25"/>
                  </a:cubicBezTo>
                  <a:cubicBezTo>
                    <a:pt x="350" y="23"/>
                    <a:pt x="348" y="21"/>
                    <a:pt x="347" y="21"/>
                  </a:cubicBezTo>
                  <a:cubicBezTo>
                    <a:pt x="345" y="20"/>
                    <a:pt x="347" y="17"/>
                    <a:pt x="347" y="16"/>
                  </a:cubicBezTo>
                  <a:cubicBezTo>
                    <a:pt x="348" y="15"/>
                    <a:pt x="347" y="12"/>
                    <a:pt x="347" y="10"/>
                  </a:cubicBezTo>
                  <a:cubicBezTo>
                    <a:pt x="347" y="8"/>
                    <a:pt x="351" y="10"/>
                    <a:pt x="353" y="9"/>
                  </a:cubicBezTo>
                  <a:cubicBezTo>
                    <a:pt x="354" y="8"/>
                    <a:pt x="351" y="6"/>
                    <a:pt x="350" y="5"/>
                  </a:cubicBezTo>
                  <a:cubicBezTo>
                    <a:pt x="349" y="3"/>
                    <a:pt x="352" y="1"/>
                    <a:pt x="354" y="0"/>
                  </a:cubicBezTo>
                  <a:cubicBezTo>
                    <a:pt x="357" y="0"/>
                    <a:pt x="365" y="0"/>
                    <a:pt x="368" y="0"/>
                  </a:cubicBezTo>
                  <a:cubicBezTo>
                    <a:pt x="370" y="0"/>
                    <a:pt x="371" y="4"/>
                    <a:pt x="373" y="4"/>
                  </a:cubicBezTo>
                  <a:cubicBezTo>
                    <a:pt x="376" y="4"/>
                    <a:pt x="378" y="2"/>
                    <a:pt x="382" y="2"/>
                  </a:cubicBezTo>
                  <a:cubicBezTo>
                    <a:pt x="385" y="3"/>
                    <a:pt x="390" y="4"/>
                    <a:pt x="389" y="5"/>
                  </a:cubicBezTo>
                  <a:cubicBezTo>
                    <a:pt x="389" y="6"/>
                    <a:pt x="383" y="11"/>
                    <a:pt x="381" y="13"/>
                  </a:cubicBezTo>
                  <a:cubicBezTo>
                    <a:pt x="380" y="16"/>
                    <a:pt x="377" y="18"/>
                    <a:pt x="375" y="20"/>
                  </a:cubicBezTo>
                  <a:cubicBezTo>
                    <a:pt x="372" y="21"/>
                    <a:pt x="361" y="18"/>
                    <a:pt x="360" y="19"/>
                  </a:cubicBezTo>
                  <a:cubicBezTo>
                    <a:pt x="358" y="19"/>
                    <a:pt x="359" y="22"/>
                    <a:pt x="361" y="22"/>
                  </a:cubicBezTo>
                  <a:cubicBezTo>
                    <a:pt x="363" y="23"/>
                    <a:pt x="364" y="27"/>
                    <a:pt x="363" y="28"/>
                  </a:cubicBezTo>
                  <a:cubicBezTo>
                    <a:pt x="362" y="30"/>
                    <a:pt x="358" y="32"/>
                    <a:pt x="358" y="34"/>
                  </a:cubicBezTo>
                  <a:cubicBezTo>
                    <a:pt x="358" y="36"/>
                    <a:pt x="363" y="38"/>
                    <a:pt x="367" y="40"/>
                  </a:cubicBezTo>
                  <a:cubicBezTo>
                    <a:pt x="370" y="43"/>
                    <a:pt x="368" y="46"/>
                    <a:pt x="368" y="48"/>
                  </a:cubicBezTo>
                  <a:cubicBezTo>
                    <a:pt x="368" y="50"/>
                    <a:pt x="370" y="50"/>
                    <a:pt x="372" y="51"/>
                  </a:cubicBezTo>
                  <a:cubicBezTo>
                    <a:pt x="375" y="51"/>
                    <a:pt x="378" y="55"/>
                    <a:pt x="377" y="56"/>
                  </a:cubicBezTo>
                  <a:cubicBezTo>
                    <a:pt x="377" y="57"/>
                    <a:pt x="369" y="63"/>
                    <a:pt x="370" y="64"/>
                  </a:cubicBezTo>
                  <a:cubicBezTo>
                    <a:pt x="370" y="64"/>
                    <a:pt x="377" y="66"/>
                    <a:pt x="379" y="65"/>
                  </a:cubicBezTo>
                  <a:cubicBezTo>
                    <a:pt x="380" y="64"/>
                    <a:pt x="385" y="66"/>
                    <a:pt x="387" y="67"/>
                  </a:cubicBezTo>
                  <a:cubicBezTo>
                    <a:pt x="388" y="69"/>
                    <a:pt x="384" y="69"/>
                    <a:pt x="386" y="73"/>
                  </a:cubicBezTo>
                  <a:cubicBezTo>
                    <a:pt x="389" y="76"/>
                    <a:pt x="383" y="81"/>
                    <a:pt x="390" y="81"/>
                  </a:cubicBezTo>
                  <a:cubicBezTo>
                    <a:pt x="391" y="80"/>
                    <a:pt x="392" y="74"/>
                    <a:pt x="392" y="74"/>
                  </a:cubicBezTo>
                  <a:cubicBezTo>
                    <a:pt x="392" y="73"/>
                    <a:pt x="395" y="69"/>
                    <a:pt x="397" y="69"/>
                  </a:cubicBezTo>
                  <a:cubicBezTo>
                    <a:pt x="398" y="69"/>
                    <a:pt x="405" y="74"/>
                    <a:pt x="407" y="76"/>
                  </a:cubicBezTo>
                  <a:cubicBezTo>
                    <a:pt x="408" y="79"/>
                    <a:pt x="408" y="83"/>
                    <a:pt x="407" y="84"/>
                  </a:cubicBezTo>
                  <a:cubicBezTo>
                    <a:pt x="406" y="85"/>
                    <a:pt x="403" y="82"/>
                    <a:pt x="403" y="85"/>
                  </a:cubicBezTo>
                  <a:cubicBezTo>
                    <a:pt x="403" y="89"/>
                    <a:pt x="408" y="96"/>
                    <a:pt x="410" y="96"/>
                  </a:cubicBezTo>
                  <a:cubicBezTo>
                    <a:pt x="413" y="97"/>
                    <a:pt x="417" y="96"/>
                    <a:pt x="417" y="94"/>
                  </a:cubicBezTo>
                  <a:cubicBezTo>
                    <a:pt x="417" y="93"/>
                    <a:pt x="419" y="91"/>
                    <a:pt x="419" y="89"/>
                  </a:cubicBezTo>
                  <a:cubicBezTo>
                    <a:pt x="420" y="88"/>
                    <a:pt x="422" y="83"/>
                    <a:pt x="422" y="81"/>
                  </a:cubicBezTo>
                  <a:cubicBezTo>
                    <a:pt x="422" y="79"/>
                    <a:pt x="429" y="78"/>
                    <a:pt x="429" y="78"/>
                  </a:cubicBezTo>
                  <a:cubicBezTo>
                    <a:pt x="429" y="77"/>
                    <a:pt x="429" y="75"/>
                    <a:pt x="428" y="73"/>
                  </a:cubicBezTo>
                  <a:cubicBezTo>
                    <a:pt x="427" y="72"/>
                    <a:pt x="423" y="67"/>
                    <a:pt x="424" y="66"/>
                  </a:cubicBezTo>
                  <a:cubicBezTo>
                    <a:pt x="426" y="64"/>
                    <a:pt x="430" y="63"/>
                    <a:pt x="432" y="63"/>
                  </a:cubicBezTo>
                  <a:cubicBezTo>
                    <a:pt x="434" y="63"/>
                    <a:pt x="438" y="65"/>
                    <a:pt x="440" y="65"/>
                  </a:cubicBezTo>
                  <a:cubicBezTo>
                    <a:pt x="442" y="65"/>
                    <a:pt x="446" y="66"/>
                    <a:pt x="447" y="67"/>
                  </a:cubicBezTo>
                  <a:cubicBezTo>
                    <a:pt x="448" y="68"/>
                    <a:pt x="456" y="71"/>
                    <a:pt x="456" y="72"/>
                  </a:cubicBezTo>
                  <a:cubicBezTo>
                    <a:pt x="457" y="73"/>
                    <a:pt x="457" y="76"/>
                    <a:pt x="457" y="79"/>
                  </a:cubicBezTo>
                  <a:cubicBezTo>
                    <a:pt x="457" y="82"/>
                    <a:pt x="449" y="79"/>
                    <a:pt x="447" y="81"/>
                  </a:cubicBezTo>
                  <a:cubicBezTo>
                    <a:pt x="446" y="82"/>
                    <a:pt x="458" y="92"/>
                    <a:pt x="458" y="94"/>
                  </a:cubicBezTo>
                  <a:cubicBezTo>
                    <a:pt x="458" y="95"/>
                    <a:pt x="456" y="101"/>
                    <a:pt x="455" y="101"/>
                  </a:cubicBezTo>
                  <a:cubicBezTo>
                    <a:pt x="453" y="101"/>
                    <a:pt x="448" y="105"/>
                    <a:pt x="446" y="106"/>
                  </a:cubicBezTo>
                  <a:cubicBezTo>
                    <a:pt x="444" y="106"/>
                    <a:pt x="443" y="107"/>
                    <a:pt x="442" y="108"/>
                  </a:cubicBezTo>
                  <a:cubicBezTo>
                    <a:pt x="440" y="108"/>
                    <a:pt x="444" y="113"/>
                    <a:pt x="438" y="115"/>
                  </a:cubicBezTo>
                  <a:cubicBezTo>
                    <a:pt x="436" y="116"/>
                    <a:pt x="435" y="111"/>
                    <a:pt x="432" y="110"/>
                  </a:cubicBezTo>
                  <a:cubicBezTo>
                    <a:pt x="430" y="109"/>
                    <a:pt x="430" y="105"/>
                    <a:pt x="426" y="104"/>
                  </a:cubicBezTo>
                  <a:cubicBezTo>
                    <a:pt x="423" y="104"/>
                    <a:pt x="416" y="105"/>
                    <a:pt x="415" y="106"/>
                  </a:cubicBezTo>
                  <a:cubicBezTo>
                    <a:pt x="414" y="107"/>
                    <a:pt x="421" y="110"/>
                    <a:pt x="421" y="111"/>
                  </a:cubicBezTo>
                  <a:cubicBezTo>
                    <a:pt x="421" y="112"/>
                    <a:pt x="417" y="116"/>
                    <a:pt x="416" y="117"/>
                  </a:cubicBezTo>
                  <a:cubicBezTo>
                    <a:pt x="415" y="117"/>
                    <a:pt x="407" y="118"/>
                    <a:pt x="405" y="117"/>
                  </a:cubicBezTo>
                  <a:cubicBezTo>
                    <a:pt x="403" y="116"/>
                    <a:pt x="397" y="113"/>
                    <a:pt x="394" y="113"/>
                  </a:cubicBezTo>
                  <a:cubicBezTo>
                    <a:pt x="392" y="113"/>
                    <a:pt x="390" y="113"/>
                    <a:pt x="390" y="114"/>
                  </a:cubicBezTo>
                  <a:cubicBezTo>
                    <a:pt x="389" y="115"/>
                    <a:pt x="392" y="118"/>
                    <a:pt x="394" y="119"/>
                  </a:cubicBezTo>
                  <a:cubicBezTo>
                    <a:pt x="397" y="121"/>
                    <a:pt x="401" y="122"/>
                    <a:pt x="404" y="122"/>
                  </a:cubicBezTo>
                  <a:cubicBezTo>
                    <a:pt x="406" y="122"/>
                    <a:pt x="411" y="122"/>
                    <a:pt x="413" y="123"/>
                  </a:cubicBezTo>
                  <a:cubicBezTo>
                    <a:pt x="413" y="124"/>
                    <a:pt x="414" y="124"/>
                    <a:pt x="413" y="125"/>
                  </a:cubicBezTo>
                  <a:cubicBezTo>
                    <a:pt x="413" y="127"/>
                    <a:pt x="410" y="129"/>
                    <a:pt x="409" y="131"/>
                  </a:cubicBezTo>
                  <a:cubicBezTo>
                    <a:pt x="408" y="133"/>
                    <a:pt x="403" y="137"/>
                    <a:pt x="400" y="138"/>
                  </a:cubicBezTo>
                  <a:cubicBezTo>
                    <a:pt x="398" y="139"/>
                    <a:pt x="393" y="135"/>
                    <a:pt x="392" y="136"/>
                  </a:cubicBezTo>
                  <a:cubicBezTo>
                    <a:pt x="391" y="137"/>
                    <a:pt x="390" y="140"/>
                    <a:pt x="387" y="141"/>
                  </a:cubicBezTo>
                  <a:cubicBezTo>
                    <a:pt x="384" y="142"/>
                    <a:pt x="381" y="142"/>
                    <a:pt x="381" y="143"/>
                  </a:cubicBezTo>
                  <a:cubicBezTo>
                    <a:pt x="381" y="144"/>
                    <a:pt x="385" y="148"/>
                    <a:pt x="385" y="150"/>
                  </a:cubicBezTo>
                  <a:cubicBezTo>
                    <a:pt x="385" y="152"/>
                    <a:pt x="377" y="155"/>
                    <a:pt x="375" y="156"/>
                  </a:cubicBezTo>
                  <a:cubicBezTo>
                    <a:pt x="373" y="157"/>
                    <a:pt x="370" y="158"/>
                    <a:pt x="367" y="160"/>
                  </a:cubicBezTo>
                  <a:cubicBezTo>
                    <a:pt x="365" y="161"/>
                    <a:pt x="367" y="165"/>
                    <a:pt x="366" y="166"/>
                  </a:cubicBezTo>
                  <a:cubicBezTo>
                    <a:pt x="364" y="166"/>
                    <a:pt x="359" y="174"/>
                    <a:pt x="356" y="177"/>
                  </a:cubicBezTo>
                  <a:cubicBezTo>
                    <a:pt x="354" y="181"/>
                    <a:pt x="352" y="194"/>
                    <a:pt x="353" y="194"/>
                  </a:cubicBezTo>
                  <a:cubicBezTo>
                    <a:pt x="353" y="195"/>
                    <a:pt x="354" y="199"/>
                    <a:pt x="355" y="199"/>
                  </a:cubicBezTo>
                  <a:cubicBezTo>
                    <a:pt x="357" y="200"/>
                    <a:pt x="364" y="197"/>
                    <a:pt x="366" y="199"/>
                  </a:cubicBezTo>
                  <a:cubicBezTo>
                    <a:pt x="368" y="202"/>
                    <a:pt x="368" y="208"/>
                    <a:pt x="370" y="210"/>
                  </a:cubicBezTo>
                  <a:cubicBezTo>
                    <a:pt x="372" y="213"/>
                    <a:pt x="369" y="218"/>
                    <a:pt x="370" y="219"/>
                  </a:cubicBezTo>
                  <a:cubicBezTo>
                    <a:pt x="371" y="220"/>
                    <a:pt x="374" y="217"/>
                    <a:pt x="377" y="217"/>
                  </a:cubicBezTo>
                  <a:cubicBezTo>
                    <a:pt x="380" y="217"/>
                    <a:pt x="385" y="216"/>
                    <a:pt x="388" y="217"/>
                  </a:cubicBezTo>
                  <a:cubicBezTo>
                    <a:pt x="391" y="219"/>
                    <a:pt x="398" y="219"/>
                    <a:pt x="401" y="221"/>
                  </a:cubicBezTo>
                  <a:cubicBezTo>
                    <a:pt x="405" y="223"/>
                    <a:pt x="406" y="224"/>
                    <a:pt x="408" y="227"/>
                  </a:cubicBezTo>
                  <a:cubicBezTo>
                    <a:pt x="410" y="231"/>
                    <a:pt x="417" y="230"/>
                    <a:pt x="423" y="234"/>
                  </a:cubicBezTo>
                  <a:cubicBezTo>
                    <a:pt x="430" y="238"/>
                    <a:pt x="434" y="236"/>
                    <a:pt x="439" y="237"/>
                  </a:cubicBezTo>
                  <a:cubicBezTo>
                    <a:pt x="444" y="237"/>
                    <a:pt x="449" y="237"/>
                    <a:pt x="450" y="240"/>
                  </a:cubicBezTo>
                  <a:cubicBezTo>
                    <a:pt x="451" y="242"/>
                    <a:pt x="450" y="255"/>
                    <a:pt x="450" y="259"/>
                  </a:cubicBezTo>
                  <a:cubicBezTo>
                    <a:pt x="450" y="263"/>
                    <a:pt x="451" y="263"/>
                    <a:pt x="453" y="266"/>
                  </a:cubicBezTo>
                  <a:cubicBezTo>
                    <a:pt x="455" y="268"/>
                    <a:pt x="460" y="271"/>
                    <a:pt x="462" y="273"/>
                  </a:cubicBezTo>
                  <a:cubicBezTo>
                    <a:pt x="464" y="275"/>
                    <a:pt x="465" y="280"/>
                    <a:pt x="468" y="279"/>
                  </a:cubicBezTo>
                  <a:cubicBezTo>
                    <a:pt x="471" y="279"/>
                    <a:pt x="476" y="272"/>
                    <a:pt x="477" y="268"/>
                  </a:cubicBezTo>
                  <a:cubicBezTo>
                    <a:pt x="479" y="265"/>
                    <a:pt x="473" y="254"/>
                    <a:pt x="472" y="251"/>
                  </a:cubicBezTo>
                  <a:cubicBezTo>
                    <a:pt x="472" y="247"/>
                    <a:pt x="468" y="243"/>
                    <a:pt x="469" y="242"/>
                  </a:cubicBezTo>
                  <a:cubicBezTo>
                    <a:pt x="470" y="241"/>
                    <a:pt x="475" y="240"/>
                    <a:pt x="477" y="240"/>
                  </a:cubicBezTo>
                  <a:cubicBezTo>
                    <a:pt x="479" y="239"/>
                    <a:pt x="488" y="232"/>
                    <a:pt x="491" y="229"/>
                  </a:cubicBezTo>
                  <a:cubicBezTo>
                    <a:pt x="493" y="226"/>
                    <a:pt x="492" y="218"/>
                    <a:pt x="491" y="214"/>
                  </a:cubicBezTo>
                  <a:cubicBezTo>
                    <a:pt x="491" y="211"/>
                    <a:pt x="485" y="205"/>
                    <a:pt x="483" y="205"/>
                  </a:cubicBezTo>
                  <a:cubicBezTo>
                    <a:pt x="480" y="204"/>
                    <a:pt x="476" y="201"/>
                    <a:pt x="476" y="199"/>
                  </a:cubicBezTo>
                  <a:cubicBezTo>
                    <a:pt x="476" y="196"/>
                    <a:pt x="482" y="192"/>
                    <a:pt x="484" y="190"/>
                  </a:cubicBezTo>
                  <a:cubicBezTo>
                    <a:pt x="485" y="188"/>
                    <a:pt x="484" y="183"/>
                    <a:pt x="484" y="181"/>
                  </a:cubicBezTo>
                  <a:cubicBezTo>
                    <a:pt x="484" y="179"/>
                    <a:pt x="478" y="177"/>
                    <a:pt x="478" y="176"/>
                  </a:cubicBezTo>
                  <a:cubicBezTo>
                    <a:pt x="478" y="175"/>
                    <a:pt x="479" y="174"/>
                    <a:pt x="481" y="173"/>
                  </a:cubicBezTo>
                  <a:cubicBezTo>
                    <a:pt x="484" y="172"/>
                    <a:pt x="483" y="170"/>
                    <a:pt x="481" y="165"/>
                  </a:cubicBezTo>
                  <a:cubicBezTo>
                    <a:pt x="480" y="163"/>
                    <a:pt x="480" y="161"/>
                    <a:pt x="480" y="160"/>
                  </a:cubicBezTo>
                  <a:cubicBezTo>
                    <a:pt x="480" y="157"/>
                    <a:pt x="481" y="155"/>
                    <a:pt x="484" y="155"/>
                  </a:cubicBezTo>
                  <a:cubicBezTo>
                    <a:pt x="489" y="154"/>
                    <a:pt x="503" y="158"/>
                    <a:pt x="508" y="159"/>
                  </a:cubicBezTo>
                  <a:cubicBezTo>
                    <a:pt x="511" y="159"/>
                    <a:pt x="514" y="155"/>
                    <a:pt x="515" y="156"/>
                  </a:cubicBezTo>
                  <a:cubicBezTo>
                    <a:pt x="516" y="157"/>
                    <a:pt x="523" y="159"/>
                    <a:pt x="525" y="161"/>
                  </a:cubicBezTo>
                  <a:cubicBezTo>
                    <a:pt x="527" y="163"/>
                    <a:pt x="529" y="165"/>
                    <a:pt x="531" y="168"/>
                  </a:cubicBezTo>
                  <a:cubicBezTo>
                    <a:pt x="532" y="171"/>
                    <a:pt x="538" y="172"/>
                    <a:pt x="540" y="173"/>
                  </a:cubicBezTo>
                  <a:cubicBezTo>
                    <a:pt x="547" y="174"/>
                    <a:pt x="543" y="167"/>
                    <a:pt x="546" y="169"/>
                  </a:cubicBezTo>
                  <a:cubicBezTo>
                    <a:pt x="547" y="170"/>
                    <a:pt x="548" y="171"/>
                    <a:pt x="549" y="172"/>
                  </a:cubicBezTo>
                  <a:cubicBezTo>
                    <a:pt x="550" y="174"/>
                    <a:pt x="546" y="179"/>
                    <a:pt x="546" y="179"/>
                  </a:cubicBezTo>
                  <a:cubicBezTo>
                    <a:pt x="546" y="179"/>
                    <a:pt x="546" y="181"/>
                    <a:pt x="547" y="183"/>
                  </a:cubicBezTo>
                  <a:cubicBezTo>
                    <a:pt x="547" y="185"/>
                    <a:pt x="547" y="187"/>
                    <a:pt x="547" y="189"/>
                  </a:cubicBezTo>
                  <a:cubicBezTo>
                    <a:pt x="547" y="191"/>
                    <a:pt x="548" y="193"/>
                    <a:pt x="549" y="195"/>
                  </a:cubicBezTo>
                  <a:cubicBezTo>
                    <a:pt x="550" y="197"/>
                    <a:pt x="555" y="196"/>
                    <a:pt x="556" y="197"/>
                  </a:cubicBezTo>
                  <a:cubicBezTo>
                    <a:pt x="557" y="198"/>
                    <a:pt x="559" y="203"/>
                    <a:pt x="561" y="203"/>
                  </a:cubicBezTo>
                  <a:cubicBezTo>
                    <a:pt x="562" y="204"/>
                    <a:pt x="566" y="203"/>
                    <a:pt x="568" y="202"/>
                  </a:cubicBezTo>
                  <a:cubicBezTo>
                    <a:pt x="569" y="202"/>
                    <a:pt x="569" y="198"/>
                    <a:pt x="570" y="198"/>
                  </a:cubicBezTo>
                  <a:cubicBezTo>
                    <a:pt x="571" y="197"/>
                    <a:pt x="574" y="198"/>
                    <a:pt x="575" y="196"/>
                  </a:cubicBezTo>
                  <a:cubicBezTo>
                    <a:pt x="576" y="195"/>
                    <a:pt x="579" y="193"/>
                    <a:pt x="579" y="192"/>
                  </a:cubicBezTo>
                  <a:cubicBezTo>
                    <a:pt x="579" y="190"/>
                    <a:pt x="575" y="187"/>
                    <a:pt x="577" y="186"/>
                  </a:cubicBezTo>
                  <a:cubicBezTo>
                    <a:pt x="578" y="184"/>
                    <a:pt x="579" y="186"/>
                    <a:pt x="580" y="183"/>
                  </a:cubicBezTo>
                  <a:cubicBezTo>
                    <a:pt x="581" y="181"/>
                    <a:pt x="581" y="177"/>
                    <a:pt x="582" y="177"/>
                  </a:cubicBezTo>
                  <a:cubicBezTo>
                    <a:pt x="583" y="177"/>
                    <a:pt x="584" y="176"/>
                    <a:pt x="585" y="176"/>
                  </a:cubicBezTo>
                  <a:cubicBezTo>
                    <a:pt x="585" y="177"/>
                    <a:pt x="586" y="179"/>
                    <a:pt x="586" y="181"/>
                  </a:cubicBezTo>
                  <a:cubicBezTo>
                    <a:pt x="587" y="182"/>
                    <a:pt x="592" y="191"/>
                    <a:pt x="594" y="195"/>
                  </a:cubicBezTo>
                  <a:cubicBezTo>
                    <a:pt x="596" y="198"/>
                    <a:pt x="600" y="203"/>
                    <a:pt x="603" y="205"/>
                  </a:cubicBezTo>
                  <a:cubicBezTo>
                    <a:pt x="605" y="207"/>
                    <a:pt x="602" y="210"/>
                    <a:pt x="605" y="212"/>
                  </a:cubicBezTo>
                  <a:cubicBezTo>
                    <a:pt x="607" y="214"/>
                    <a:pt x="610" y="215"/>
                    <a:pt x="611" y="218"/>
                  </a:cubicBezTo>
                  <a:cubicBezTo>
                    <a:pt x="612" y="222"/>
                    <a:pt x="608" y="224"/>
                    <a:pt x="609" y="226"/>
                  </a:cubicBezTo>
                  <a:cubicBezTo>
                    <a:pt x="609" y="229"/>
                    <a:pt x="615" y="231"/>
                    <a:pt x="617" y="233"/>
                  </a:cubicBezTo>
                  <a:cubicBezTo>
                    <a:pt x="619" y="235"/>
                    <a:pt x="624" y="236"/>
                    <a:pt x="626" y="237"/>
                  </a:cubicBezTo>
                  <a:cubicBezTo>
                    <a:pt x="629" y="239"/>
                    <a:pt x="638" y="241"/>
                    <a:pt x="640" y="241"/>
                  </a:cubicBezTo>
                  <a:cubicBezTo>
                    <a:pt x="642" y="242"/>
                    <a:pt x="641" y="245"/>
                    <a:pt x="640" y="245"/>
                  </a:cubicBezTo>
                  <a:cubicBezTo>
                    <a:pt x="639" y="245"/>
                    <a:pt x="636" y="244"/>
                    <a:pt x="633" y="245"/>
                  </a:cubicBezTo>
                  <a:cubicBezTo>
                    <a:pt x="631" y="246"/>
                    <a:pt x="627" y="248"/>
                    <a:pt x="625" y="248"/>
                  </a:cubicBezTo>
                  <a:cubicBezTo>
                    <a:pt x="624" y="249"/>
                    <a:pt x="621" y="250"/>
                    <a:pt x="620" y="251"/>
                  </a:cubicBezTo>
                  <a:cubicBezTo>
                    <a:pt x="618" y="251"/>
                    <a:pt x="617" y="254"/>
                    <a:pt x="616" y="255"/>
                  </a:cubicBezTo>
                  <a:cubicBezTo>
                    <a:pt x="616" y="256"/>
                    <a:pt x="612" y="259"/>
                    <a:pt x="614" y="259"/>
                  </a:cubicBezTo>
                  <a:cubicBezTo>
                    <a:pt x="618" y="259"/>
                    <a:pt x="618" y="259"/>
                    <a:pt x="618" y="259"/>
                  </a:cubicBezTo>
                  <a:cubicBezTo>
                    <a:pt x="621" y="259"/>
                    <a:pt x="626" y="255"/>
                    <a:pt x="627" y="254"/>
                  </a:cubicBezTo>
                  <a:cubicBezTo>
                    <a:pt x="628" y="253"/>
                    <a:pt x="633" y="250"/>
                    <a:pt x="634" y="250"/>
                  </a:cubicBezTo>
                  <a:cubicBezTo>
                    <a:pt x="636" y="249"/>
                    <a:pt x="639" y="249"/>
                    <a:pt x="640" y="250"/>
                  </a:cubicBezTo>
                  <a:cubicBezTo>
                    <a:pt x="641" y="250"/>
                    <a:pt x="642" y="252"/>
                    <a:pt x="643" y="252"/>
                  </a:cubicBezTo>
                  <a:cubicBezTo>
                    <a:pt x="644" y="253"/>
                    <a:pt x="650" y="254"/>
                    <a:pt x="652" y="256"/>
                  </a:cubicBezTo>
                  <a:cubicBezTo>
                    <a:pt x="654" y="257"/>
                    <a:pt x="652" y="261"/>
                    <a:pt x="652" y="263"/>
                  </a:cubicBezTo>
                  <a:cubicBezTo>
                    <a:pt x="652" y="266"/>
                    <a:pt x="653" y="268"/>
                    <a:pt x="652" y="270"/>
                  </a:cubicBezTo>
                  <a:cubicBezTo>
                    <a:pt x="651" y="271"/>
                    <a:pt x="642" y="276"/>
                    <a:pt x="641" y="276"/>
                  </a:cubicBezTo>
                  <a:cubicBezTo>
                    <a:pt x="639" y="277"/>
                    <a:pt x="632" y="278"/>
                    <a:pt x="631" y="279"/>
                  </a:cubicBezTo>
                  <a:cubicBezTo>
                    <a:pt x="629" y="281"/>
                    <a:pt x="622" y="288"/>
                    <a:pt x="619" y="289"/>
                  </a:cubicBezTo>
                  <a:cubicBezTo>
                    <a:pt x="617" y="289"/>
                    <a:pt x="610" y="290"/>
                    <a:pt x="607" y="290"/>
                  </a:cubicBezTo>
                  <a:cubicBezTo>
                    <a:pt x="605" y="290"/>
                    <a:pt x="600" y="288"/>
                    <a:pt x="598" y="288"/>
                  </a:cubicBezTo>
                  <a:cubicBezTo>
                    <a:pt x="585" y="288"/>
                    <a:pt x="585" y="288"/>
                    <a:pt x="585" y="288"/>
                  </a:cubicBezTo>
                  <a:cubicBezTo>
                    <a:pt x="584" y="288"/>
                    <a:pt x="581" y="290"/>
                    <a:pt x="580" y="291"/>
                  </a:cubicBezTo>
                  <a:cubicBezTo>
                    <a:pt x="579" y="292"/>
                    <a:pt x="581" y="296"/>
                    <a:pt x="584" y="297"/>
                  </a:cubicBezTo>
                  <a:cubicBezTo>
                    <a:pt x="586" y="299"/>
                    <a:pt x="589" y="304"/>
                    <a:pt x="587" y="305"/>
                  </a:cubicBezTo>
                  <a:cubicBezTo>
                    <a:pt x="586" y="306"/>
                    <a:pt x="584" y="306"/>
                    <a:pt x="582" y="308"/>
                  </a:cubicBezTo>
                  <a:cubicBezTo>
                    <a:pt x="580" y="309"/>
                    <a:pt x="578" y="308"/>
                    <a:pt x="577" y="308"/>
                  </a:cubicBezTo>
                  <a:cubicBezTo>
                    <a:pt x="575" y="308"/>
                    <a:pt x="569" y="308"/>
                    <a:pt x="569" y="309"/>
                  </a:cubicBezTo>
                  <a:cubicBezTo>
                    <a:pt x="569" y="310"/>
                    <a:pt x="571" y="311"/>
                    <a:pt x="572" y="311"/>
                  </a:cubicBezTo>
                  <a:cubicBezTo>
                    <a:pt x="574" y="312"/>
                    <a:pt x="575" y="314"/>
                    <a:pt x="577" y="315"/>
                  </a:cubicBezTo>
                  <a:cubicBezTo>
                    <a:pt x="578" y="316"/>
                    <a:pt x="584" y="311"/>
                    <a:pt x="584" y="312"/>
                  </a:cubicBezTo>
                  <a:cubicBezTo>
                    <a:pt x="584" y="313"/>
                    <a:pt x="583" y="314"/>
                    <a:pt x="582" y="316"/>
                  </a:cubicBezTo>
                  <a:cubicBezTo>
                    <a:pt x="582" y="318"/>
                    <a:pt x="583" y="320"/>
                    <a:pt x="586" y="323"/>
                  </a:cubicBezTo>
                  <a:cubicBezTo>
                    <a:pt x="588" y="325"/>
                    <a:pt x="589" y="324"/>
                    <a:pt x="592" y="327"/>
                  </a:cubicBezTo>
                  <a:cubicBezTo>
                    <a:pt x="594" y="330"/>
                    <a:pt x="598" y="331"/>
                    <a:pt x="600" y="331"/>
                  </a:cubicBezTo>
                  <a:cubicBezTo>
                    <a:pt x="603" y="331"/>
                    <a:pt x="607" y="328"/>
                    <a:pt x="609" y="326"/>
                  </a:cubicBezTo>
                  <a:cubicBezTo>
                    <a:pt x="611" y="324"/>
                    <a:pt x="615" y="319"/>
                    <a:pt x="617" y="320"/>
                  </a:cubicBezTo>
                  <a:cubicBezTo>
                    <a:pt x="619" y="320"/>
                    <a:pt x="616" y="324"/>
                    <a:pt x="617" y="326"/>
                  </a:cubicBezTo>
                  <a:cubicBezTo>
                    <a:pt x="618" y="328"/>
                    <a:pt x="622" y="328"/>
                    <a:pt x="622" y="330"/>
                  </a:cubicBezTo>
                  <a:cubicBezTo>
                    <a:pt x="622" y="332"/>
                    <a:pt x="614" y="336"/>
                    <a:pt x="612" y="337"/>
                  </a:cubicBezTo>
                  <a:cubicBezTo>
                    <a:pt x="611" y="338"/>
                    <a:pt x="607" y="340"/>
                    <a:pt x="604" y="341"/>
                  </a:cubicBezTo>
                  <a:cubicBezTo>
                    <a:pt x="600" y="341"/>
                    <a:pt x="590" y="344"/>
                    <a:pt x="588" y="344"/>
                  </a:cubicBezTo>
                  <a:cubicBezTo>
                    <a:pt x="587" y="345"/>
                    <a:pt x="583" y="350"/>
                    <a:pt x="581" y="351"/>
                  </a:cubicBezTo>
                  <a:cubicBezTo>
                    <a:pt x="580" y="352"/>
                    <a:pt x="579" y="355"/>
                    <a:pt x="577" y="355"/>
                  </a:cubicBezTo>
                  <a:cubicBezTo>
                    <a:pt x="576" y="355"/>
                    <a:pt x="575" y="354"/>
                    <a:pt x="573" y="352"/>
                  </a:cubicBezTo>
                  <a:cubicBezTo>
                    <a:pt x="572" y="350"/>
                    <a:pt x="572" y="346"/>
                    <a:pt x="573" y="344"/>
                  </a:cubicBezTo>
                  <a:cubicBezTo>
                    <a:pt x="574" y="342"/>
                    <a:pt x="581" y="338"/>
                    <a:pt x="584" y="337"/>
                  </a:cubicBezTo>
                  <a:cubicBezTo>
                    <a:pt x="587" y="336"/>
                    <a:pt x="590" y="336"/>
                    <a:pt x="588" y="334"/>
                  </a:cubicBezTo>
                  <a:cubicBezTo>
                    <a:pt x="587" y="333"/>
                    <a:pt x="586" y="329"/>
                    <a:pt x="585" y="330"/>
                  </a:cubicBezTo>
                  <a:cubicBezTo>
                    <a:pt x="585" y="330"/>
                    <a:pt x="583" y="332"/>
                    <a:pt x="582" y="333"/>
                  </a:cubicBezTo>
                  <a:cubicBezTo>
                    <a:pt x="580" y="334"/>
                    <a:pt x="572" y="337"/>
                    <a:pt x="570" y="337"/>
                  </a:cubicBezTo>
                  <a:cubicBezTo>
                    <a:pt x="568" y="338"/>
                    <a:pt x="567" y="340"/>
                    <a:pt x="567" y="340"/>
                  </a:cubicBezTo>
                  <a:cubicBezTo>
                    <a:pt x="561" y="331"/>
                    <a:pt x="561" y="331"/>
                    <a:pt x="561" y="331"/>
                  </a:cubicBezTo>
                  <a:cubicBezTo>
                    <a:pt x="561" y="329"/>
                    <a:pt x="561" y="321"/>
                    <a:pt x="560" y="318"/>
                  </a:cubicBezTo>
                  <a:cubicBezTo>
                    <a:pt x="559" y="315"/>
                    <a:pt x="553" y="318"/>
                    <a:pt x="550" y="316"/>
                  </a:cubicBezTo>
                  <a:cubicBezTo>
                    <a:pt x="548" y="315"/>
                    <a:pt x="541" y="330"/>
                    <a:pt x="540" y="333"/>
                  </a:cubicBezTo>
                  <a:cubicBezTo>
                    <a:pt x="539" y="337"/>
                    <a:pt x="532" y="338"/>
                    <a:pt x="532" y="338"/>
                  </a:cubicBezTo>
                  <a:cubicBezTo>
                    <a:pt x="506" y="339"/>
                    <a:pt x="506" y="339"/>
                    <a:pt x="506" y="339"/>
                  </a:cubicBezTo>
                  <a:cubicBezTo>
                    <a:pt x="495" y="349"/>
                    <a:pt x="495" y="349"/>
                    <a:pt x="495" y="349"/>
                  </a:cubicBezTo>
                  <a:cubicBezTo>
                    <a:pt x="495" y="349"/>
                    <a:pt x="495" y="349"/>
                    <a:pt x="495" y="349"/>
                  </a:cubicBezTo>
                  <a:cubicBezTo>
                    <a:pt x="495" y="348"/>
                    <a:pt x="494" y="348"/>
                    <a:pt x="492" y="348"/>
                  </a:cubicBezTo>
                  <a:cubicBezTo>
                    <a:pt x="488" y="348"/>
                    <a:pt x="480" y="348"/>
                    <a:pt x="480" y="348"/>
                  </a:cubicBezTo>
                  <a:cubicBezTo>
                    <a:pt x="476" y="348"/>
                    <a:pt x="474" y="350"/>
                    <a:pt x="473" y="351"/>
                  </a:cubicBezTo>
                  <a:cubicBezTo>
                    <a:pt x="472" y="352"/>
                    <a:pt x="472" y="354"/>
                    <a:pt x="476" y="354"/>
                  </a:cubicBezTo>
                  <a:cubicBezTo>
                    <a:pt x="472" y="359"/>
                    <a:pt x="472" y="359"/>
                    <a:pt x="472" y="359"/>
                  </a:cubicBezTo>
                  <a:cubicBezTo>
                    <a:pt x="470" y="359"/>
                    <a:pt x="467" y="359"/>
                    <a:pt x="466" y="360"/>
                  </a:cubicBezTo>
                  <a:cubicBezTo>
                    <a:pt x="463" y="360"/>
                    <a:pt x="459" y="360"/>
                    <a:pt x="456" y="361"/>
                  </a:cubicBezTo>
                  <a:cubicBezTo>
                    <a:pt x="453" y="362"/>
                    <a:pt x="448" y="367"/>
                    <a:pt x="446" y="367"/>
                  </a:cubicBezTo>
                  <a:cubicBezTo>
                    <a:pt x="446" y="367"/>
                    <a:pt x="445" y="367"/>
                    <a:pt x="444" y="367"/>
                  </a:cubicBezTo>
                  <a:cubicBezTo>
                    <a:pt x="448" y="358"/>
                    <a:pt x="448" y="358"/>
                    <a:pt x="448" y="358"/>
                  </a:cubicBezTo>
                  <a:cubicBezTo>
                    <a:pt x="450" y="360"/>
                    <a:pt x="451" y="357"/>
                    <a:pt x="453" y="356"/>
                  </a:cubicBezTo>
                  <a:cubicBezTo>
                    <a:pt x="455" y="356"/>
                    <a:pt x="455" y="348"/>
                    <a:pt x="455" y="346"/>
                  </a:cubicBezTo>
                  <a:cubicBezTo>
                    <a:pt x="456" y="344"/>
                    <a:pt x="455" y="339"/>
                    <a:pt x="457" y="339"/>
                  </a:cubicBezTo>
                  <a:cubicBezTo>
                    <a:pt x="459" y="338"/>
                    <a:pt x="462" y="344"/>
                    <a:pt x="465" y="345"/>
                  </a:cubicBezTo>
                  <a:cubicBezTo>
                    <a:pt x="468" y="346"/>
                    <a:pt x="468" y="344"/>
                    <a:pt x="468" y="342"/>
                  </a:cubicBezTo>
                  <a:cubicBezTo>
                    <a:pt x="469" y="341"/>
                    <a:pt x="463" y="331"/>
                    <a:pt x="461" y="331"/>
                  </a:cubicBezTo>
                  <a:cubicBezTo>
                    <a:pt x="460" y="331"/>
                    <a:pt x="455" y="329"/>
                    <a:pt x="454" y="329"/>
                  </a:cubicBezTo>
                  <a:cubicBezTo>
                    <a:pt x="452" y="329"/>
                    <a:pt x="453" y="333"/>
                    <a:pt x="451" y="333"/>
                  </a:cubicBezTo>
                  <a:cubicBezTo>
                    <a:pt x="449" y="333"/>
                    <a:pt x="443" y="332"/>
                    <a:pt x="440" y="332"/>
                  </a:cubicBezTo>
                  <a:cubicBezTo>
                    <a:pt x="432" y="325"/>
                    <a:pt x="432" y="325"/>
                    <a:pt x="432" y="325"/>
                  </a:cubicBezTo>
                  <a:cubicBezTo>
                    <a:pt x="434" y="325"/>
                    <a:pt x="431" y="321"/>
                    <a:pt x="431" y="319"/>
                  </a:cubicBezTo>
                  <a:cubicBezTo>
                    <a:pt x="431" y="317"/>
                    <a:pt x="431" y="312"/>
                    <a:pt x="430" y="312"/>
                  </a:cubicBezTo>
                  <a:cubicBezTo>
                    <a:pt x="429" y="312"/>
                    <a:pt x="422" y="312"/>
                    <a:pt x="421" y="311"/>
                  </a:cubicBezTo>
                  <a:cubicBezTo>
                    <a:pt x="419" y="310"/>
                    <a:pt x="420" y="303"/>
                    <a:pt x="417" y="303"/>
                  </a:cubicBezTo>
                  <a:cubicBezTo>
                    <a:pt x="415" y="303"/>
                    <a:pt x="409" y="302"/>
                    <a:pt x="407" y="301"/>
                  </a:cubicBezTo>
                  <a:cubicBezTo>
                    <a:pt x="404" y="300"/>
                    <a:pt x="402" y="302"/>
                    <a:pt x="401" y="303"/>
                  </a:cubicBezTo>
                  <a:cubicBezTo>
                    <a:pt x="401" y="304"/>
                    <a:pt x="395" y="308"/>
                    <a:pt x="394" y="310"/>
                  </a:cubicBezTo>
                  <a:cubicBezTo>
                    <a:pt x="394" y="310"/>
                    <a:pt x="393" y="311"/>
                    <a:pt x="392" y="311"/>
                  </a:cubicBezTo>
                  <a:cubicBezTo>
                    <a:pt x="392" y="311"/>
                    <a:pt x="392" y="311"/>
                    <a:pt x="392" y="311"/>
                  </a:cubicBezTo>
                  <a:cubicBezTo>
                    <a:pt x="392" y="311"/>
                    <a:pt x="388" y="307"/>
                    <a:pt x="386" y="308"/>
                  </a:cubicBezTo>
                  <a:cubicBezTo>
                    <a:pt x="385" y="308"/>
                    <a:pt x="380" y="309"/>
                    <a:pt x="376" y="308"/>
                  </a:cubicBezTo>
                  <a:cubicBezTo>
                    <a:pt x="373" y="307"/>
                    <a:pt x="362" y="306"/>
                    <a:pt x="361" y="306"/>
                  </a:cubicBezTo>
                  <a:cubicBezTo>
                    <a:pt x="360" y="306"/>
                    <a:pt x="356" y="298"/>
                    <a:pt x="356" y="297"/>
                  </a:cubicBezTo>
                  <a:cubicBezTo>
                    <a:pt x="356" y="296"/>
                    <a:pt x="350" y="295"/>
                    <a:pt x="350" y="295"/>
                  </a:cubicBezTo>
                  <a:cubicBezTo>
                    <a:pt x="350" y="295"/>
                    <a:pt x="350" y="301"/>
                    <a:pt x="348" y="301"/>
                  </a:cubicBezTo>
                  <a:cubicBezTo>
                    <a:pt x="142" y="301"/>
                    <a:pt x="142" y="301"/>
                    <a:pt x="142" y="301"/>
                  </a:cubicBezTo>
                  <a:cubicBezTo>
                    <a:pt x="142" y="301"/>
                    <a:pt x="142" y="301"/>
                    <a:pt x="142" y="301"/>
                  </a:cubicBezTo>
                  <a:cubicBezTo>
                    <a:pt x="142" y="301"/>
                    <a:pt x="142" y="301"/>
                    <a:pt x="142" y="300"/>
                  </a:cubicBezTo>
                  <a:cubicBezTo>
                    <a:pt x="141" y="299"/>
                    <a:pt x="139" y="295"/>
                    <a:pt x="137" y="295"/>
                  </a:cubicBezTo>
                  <a:cubicBezTo>
                    <a:pt x="135" y="295"/>
                    <a:pt x="132" y="295"/>
                    <a:pt x="129" y="294"/>
                  </a:cubicBezTo>
                  <a:cubicBezTo>
                    <a:pt x="126" y="292"/>
                    <a:pt x="123" y="289"/>
                    <a:pt x="122" y="288"/>
                  </a:cubicBezTo>
                  <a:cubicBezTo>
                    <a:pt x="122" y="287"/>
                    <a:pt x="116" y="285"/>
                    <a:pt x="115" y="284"/>
                  </a:cubicBezTo>
                  <a:cubicBezTo>
                    <a:pt x="114" y="284"/>
                    <a:pt x="110" y="282"/>
                    <a:pt x="110" y="282"/>
                  </a:cubicBezTo>
                  <a:cubicBezTo>
                    <a:pt x="109" y="281"/>
                    <a:pt x="106" y="279"/>
                    <a:pt x="104" y="279"/>
                  </a:cubicBezTo>
                  <a:cubicBezTo>
                    <a:pt x="103" y="278"/>
                    <a:pt x="102" y="277"/>
                    <a:pt x="100" y="275"/>
                  </a:cubicBezTo>
                  <a:cubicBezTo>
                    <a:pt x="97" y="273"/>
                    <a:pt x="97" y="270"/>
                    <a:pt x="96" y="268"/>
                  </a:cubicBezTo>
                  <a:cubicBezTo>
                    <a:pt x="96" y="266"/>
                    <a:pt x="92" y="263"/>
                    <a:pt x="91" y="261"/>
                  </a:cubicBezTo>
                  <a:cubicBezTo>
                    <a:pt x="90" y="260"/>
                    <a:pt x="87" y="259"/>
                    <a:pt x="84" y="258"/>
                  </a:cubicBezTo>
                  <a:cubicBezTo>
                    <a:pt x="81" y="257"/>
                    <a:pt x="81" y="253"/>
                    <a:pt x="80" y="252"/>
                  </a:cubicBezTo>
                  <a:cubicBezTo>
                    <a:pt x="78" y="250"/>
                    <a:pt x="80" y="250"/>
                    <a:pt x="81" y="249"/>
                  </a:cubicBezTo>
                  <a:cubicBezTo>
                    <a:pt x="82" y="249"/>
                    <a:pt x="84" y="244"/>
                    <a:pt x="84" y="243"/>
                  </a:cubicBezTo>
                  <a:cubicBezTo>
                    <a:pt x="84" y="242"/>
                    <a:pt x="84" y="241"/>
                    <a:pt x="82" y="240"/>
                  </a:cubicBezTo>
                  <a:cubicBezTo>
                    <a:pt x="81" y="239"/>
                    <a:pt x="79" y="242"/>
                    <a:pt x="78" y="241"/>
                  </a:cubicBezTo>
                  <a:cubicBezTo>
                    <a:pt x="77" y="240"/>
                    <a:pt x="78" y="235"/>
                    <a:pt x="78" y="233"/>
                  </a:cubicBezTo>
                  <a:cubicBezTo>
                    <a:pt x="78" y="231"/>
                    <a:pt x="76" y="229"/>
                    <a:pt x="74" y="229"/>
                  </a:cubicBezTo>
                  <a:cubicBezTo>
                    <a:pt x="72" y="228"/>
                    <a:pt x="72" y="234"/>
                    <a:pt x="70" y="234"/>
                  </a:cubicBezTo>
                  <a:cubicBezTo>
                    <a:pt x="69" y="235"/>
                    <a:pt x="68" y="233"/>
                    <a:pt x="66" y="232"/>
                  </a:cubicBezTo>
                  <a:cubicBezTo>
                    <a:pt x="66" y="231"/>
                    <a:pt x="62" y="225"/>
                    <a:pt x="62" y="223"/>
                  </a:cubicBezTo>
                  <a:cubicBezTo>
                    <a:pt x="61" y="220"/>
                    <a:pt x="62" y="219"/>
                    <a:pt x="60" y="218"/>
                  </a:cubicBezTo>
                  <a:cubicBezTo>
                    <a:pt x="59" y="216"/>
                    <a:pt x="59" y="213"/>
                    <a:pt x="58" y="212"/>
                  </a:cubicBezTo>
                  <a:cubicBezTo>
                    <a:pt x="58" y="211"/>
                    <a:pt x="54" y="205"/>
                    <a:pt x="52" y="204"/>
                  </a:cubicBezTo>
                  <a:cubicBezTo>
                    <a:pt x="51" y="203"/>
                    <a:pt x="48" y="194"/>
                    <a:pt x="47" y="193"/>
                  </a:cubicBezTo>
                  <a:cubicBezTo>
                    <a:pt x="46" y="192"/>
                    <a:pt x="46" y="192"/>
                    <a:pt x="45" y="192"/>
                  </a:cubicBezTo>
                  <a:cubicBezTo>
                    <a:pt x="45" y="192"/>
                    <a:pt x="45" y="185"/>
                    <a:pt x="43" y="185"/>
                  </a:cubicBezTo>
                  <a:cubicBezTo>
                    <a:pt x="41" y="184"/>
                    <a:pt x="38" y="186"/>
                    <a:pt x="37" y="186"/>
                  </a:cubicBezTo>
                  <a:cubicBezTo>
                    <a:pt x="36" y="186"/>
                    <a:pt x="29" y="194"/>
                    <a:pt x="29" y="194"/>
                  </a:cubicBezTo>
                  <a:cubicBezTo>
                    <a:pt x="29" y="193"/>
                    <a:pt x="26" y="190"/>
                    <a:pt x="25" y="190"/>
                  </a:cubicBezTo>
                  <a:cubicBezTo>
                    <a:pt x="24" y="189"/>
                    <a:pt x="17" y="183"/>
                    <a:pt x="17" y="183"/>
                  </a:cubicBezTo>
                  <a:cubicBezTo>
                    <a:pt x="17" y="182"/>
                    <a:pt x="19" y="178"/>
                    <a:pt x="18" y="177"/>
                  </a:cubicBezTo>
                  <a:cubicBezTo>
                    <a:pt x="16" y="176"/>
                    <a:pt x="9" y="178"/>
                    <a:pt x="8" y="177"/>
                  </a:cubicBezTo>
                  <a:cubicBezTo>
                    <a:pt x="7" y="177"/>
                    <a:pt x="1" y="175"/>
                    <a:pt x="1" y="17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3" name="Freeform 480"/>
            <p:cNvSpPr>
              <a:spLocks/>
            </p:cNvSpPr>
            <p:nvPr>
              <p:custDataLst>
                <p:tags r:id="rId32"/>
              </p:custDataLst>
            </p:nvPr>
          </p:nvSpPr>
          <p:spPr bwMode="auto">
            <a:xfrm>
              <a:off x="980" y="1879"/>
              <a:ext cx="22" cy="20"/>
            </a:xfrm>
            <a:custGeom>
              <a:avLst/>
              <a:gdLst>
                <a:gd name="T0" fmla="*/ 21492 w 13"/>
                <a:gd name="T1" fmla="*/ 8659 h 11"/>
                <a:gd name="T2" fmla="*/ 32238 w 13"/>
                <a:gd name="T3" fmla="*/ 25977 h 11"/>
                <a:gd name="T4" fmla="*/ 16119 w 13"/>
                <a:gd name="T5" fmla="*/ 20205 h 11"/>
                <a:gd name="T6" fmla="*/ 13433 w 13"/>
                <a:gd name="T7" fmla="*/ 31750 h 11"/>
                <a:gd name="T8" fmla="*/ 0 w 13"/>
                <a:gd name="T9" fmla="*/ 5773 h 11"/>
                <a:gd name="T10" fmla="*/ 10746 w 13"/>
                <a:gd name="T11" fmla="*/ 0 h 11"/>
                <a:gd name="T12" fmla="*/ 21492 w 13"/>
                <a:gd name="T13" fmla="*/ 8659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1">
                  <a:moveTo>
                    <a:pt x="8" y="3"/>
                  </a:moveTo>
                  <a:cubicBezTo>
                    <a:pt x="9" y="4"/>
                    <a:pt x="13" y="8"/>
                    <a:pt x="12" y="9"/>
                  </a:cubicBezTo>
                  <a:cubicBezTo>
                    <a:pt x="12" y="10"/>
                    <a:pt x="7" y="7"/>
                    <a:pt x="6" y="7"/>
                  </a:cubicBezTo>
                  <a:cubicBezTo>
                    <a:pt x="6" y="7"/>
                    <a:pt x="6" y="11"/>
                    <a:pt x="5" y="11"/>
                  </a:cubicBezTo>
                  <a:cubicBezTo>
                    <a:pt x="3" y="10"/>
                    <a:pt x="0" y="2"/>
                    <a:pt x="0" y="2"/>
                  </a:cubicBezTo>
                  <a:cubicBezTo>
                    <a:pt x="1" y="1"/>
                    <a:pt x="3" y="0"/>
                    <a:pt x="4" y="0"/>
                  </a:cubicBezTo>
                  <a:cubicBezTo>
                    <a:pt x="5" y="1"/>
                    <a:pt x="7" y="2"/>
                    <a:pt x="8"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4" name="Freeform 481"/>
            <p:cNvSpPr>
              <a:spLocks/>
            </p:cNvSpPr>
            <p:nvPr>
              <p:custDataLst>
                <p:tags r:id="rId33"/>
              </p:custDataLst>
            </p:nvPr>
          </p:nvSpPr>
          <p:spPr bwMode="auto">
            <a:xfrm>
              <a:off x="968" y="1855"/>
              <a:ext cx="11" cy="20"/>
            </a:xfrm>
            <a:custGeom>
              <a:avLst/>
              <a:gdLst>
                <a:gd name="T0" fmla="*/ 2911 w 6"/>
                <a:gd name="T1" fmla="*/ 17318 h 11"/>
                <a:gd name="T2" fmla="*/ 5821 w 6"/>
                <a:gd name="T3" fmla="*/ 0 h 11"/>
                <a:gd name="T4" fmla="*/ 14553 w 6"/>
                <a:gd name="T5" fmla="*/ 2886 h 11"/>
                <a:gd name="T6" fmla="*/ 14553 w 6"/>
                <a:gd name="T7" fmla="*/ 25977 h 11"/>
                <a:gd name="T8" fmla="*/ 2911 w 6"/>
                <a:gd name="T9" fmla="*/ 31750 h 11"/>
                <a:gd name="T10" fmla="*/ 2911 w 6"/>
                <a:gd name="T11" fmla="*/ 17318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1">
                  <a:moveTo>
                    <a:pt x="1" y="6"/>
                  </a:moveTo>
                  <a:cubicBezTo>
                    <a:pt x="1" y="4"/>
                    <a:pt x="2" y="0"/>
                    <a:pt x="2" y="0"/>
                  </a:cubicBezTo>
                  <a:cubicBezTo>
                    <a:pt x="3" y="0"/>
                    <a:pt x="5" y="0"/>
                    <a:pt x="5" y="1"/>
                  </a:cubicBezTo>
                  <a:cubicBezTo>
                    <a:pt x="6" y="2"/>
                    <a:pt x="5" y="8"/>
                    <a:pt x="5" y="9"/>
                  </a:cubicBezTo>
                  <a:cubicBezTo>
                    <a:pt x="5" y="10"/>
                    <a:pt x="3" y="11"/>
                    <a:pt x="1" y="11"/>
                  </a:cubicBezTo>
                  <a:cubicBezTo>
                    <a:pt x="0" y="11"/>
                    <a:pt x="1" y="7"/>
                    <a:pt x="1"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5" name="Freeform 482"/>
            <p:cNvSpPr>
              <a:spLocks/>
            </p:cNvSpPr>
            <p:nvPr>
              <p:custDataLst>
                <p:tags r:id="rId34"/>
              </p:custDataLst>
            </p:nvPr>
          </p:nvSpPr>
          <p:spPr bwMode="auto">
            <a:xfrm>
              <a:off x="961" y="1826"/>
              <a:ext cx="14" cy="21"/>
            </a:xfrm>
            <a:custGeom>
              <a:avLst/>
              <a:gdLst>
                <a:gd name="T0" fmla="*/ 16669 w 8"/>
                <a:gd name="T1" fmla="*/ 13891 h 12"/>
                <a:gd name="T2" fmla="*/ 19447 w 8"/>
                <a:gd name="T3" fmla="*/ 25004 h 12"/>
                <a:gd name="T4" fmla="*/ 5556 w 8"/>
                <a:gd name="T5" fmla="*/ 33338 h 12"/>
                <a:gd name="T6" fmla="*/ 5556 w 8"/>
                <a:gd name="T7" fmla="*/ 19447 h 12"/>
                <a:gd name="T8" fmla="*/ 2778 w 8"/>
                <a:gd name="T9" fmla="*/ 0 h 12"/>
                <a:gd name="T10" fmla="*/ 16669 w 8"/>
                <a:gd name="T11" fmla="*/ 1389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2">
                  <a:moveTo>
                    <a:pt x="6" y="5"/>
                  </a:moveTo>
                  <a:cubicBezTo>
                    <a:pt x="6" y="5"/>
                    <a:pt x="8" y="9"/>
                    <a:pt x="7" y="9"/>
                  </a:cubicBezTo>
                  <a:cubicBezTo>
                    <a:pt x="7" y="10"/>
                    <a:pt x="3" y="12"/>
                    <a:pt x="2" y="12"/>
                  </a:cubicBezTo>
                  <a:cubicBezTo>
                    <a:pt x="2" y="11"/>
                    <a:pt x="2" y="8"/>
                    <a:pt x="2" y="7"/>
                  </a:cubicBezTo>
                  <a:cubicBezTo>
                    <a:pt x="2" y="6"/>
                    <a:pt x="0" y="0"/>
                    <a:pt x="1" y="0"/>
                  </a:cubicBezTo>
                  <a:cubicBezTo>
                    <a:pt x="2" y="0"/>
                    <a:pt x="6" y="5"/>
                    <a:pt x="6"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6" name="Freeform 483"/>
            <p:cNvSpPr>
              <a:spLocks/>
            </p:cNvSpPr>
            <p:nvPr>
              <p:custDataLst>
                <p:tags r:id="rId35"/>
              </p:custDataLst>
            </p:nvPr>
          </p:nvSpPr>
          <p:spPr bwMode="auto">
            <a:xfrm>
              <a:off x="938" y="1833"/>
              <a:ext cx="22" cy="37"/>
            </a:xfrm>
            <a:custGeom>
              <a:avLst/>
              <a:gdLst>
                <a:gd name="T0" fmla="*/ 21492 w 13"/>
                <a:gd name="T1" fmla="*/ 26432 h 20"/>
                <a:gd name="T2" fmla="*/ 8060 w 13"/>
                <a:gd name="T3" fmla="*/ 23495 h 20"/>
                <a:gd name="T4" fmla="*/ 0 w 13"/>
                <a:gd name="T5" fmla="*/ 5874 h 20"/>
                <a:gd name="T6" fmla="*/ 16119 w 13"/>
                <a:gd name="T7" fmla="*/ 0 h 20"/>
                <a:gd name="T8" fmla="*/ 24179 w 13"/>
                <a:gd name="T9" fmla="*/ 0 h 20"/>
                <a:gd name="T10" fmla="*/ 29552 w 13"/>
                <a:gd name="T11" fmla="*/ 26432 h 20"/>
                <a:gd name="T12" fmla="*/ 34925 w 13"/>
                <a:gd name="T13" fmla="*/ 52864 h 20"/>
                <a:gd name="T14" fmla="*/ 34925 w 13"/>
                <a:gd name="T15" fmla="*/ 58738 h 20"/>
                <a:gd name="T16" fmla="*/ 21492 w 13"/>
                <a:gd name="T17" fmla="*/ 38180 h 20"/>
                <a:gd name="T18" fmla="*/ 21492 w 13"/>
                <a:gd name="T19" fmla="*/ 26432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0">
                  <a:moveTo>
                    <a:pt x="8" y="9"/>
                  </a:moveTo>
                  <a:cubicBezTo>
                    <a:pt x="7" y="9"/>
                    <a:pt x="3" y="9"/>
                    <a:pt x="3" y="8"/>
                  </a:cubicBezTo>
                  <a:cubicBezTo>
                    <a:pt x="3" y="6"/>
                    <a:pt x="0" y="2"/>
                    <a:pt x="0" y="2"/>
                  </a:cubicBezTo>
                  <a:cubicBezTo>
                    <a:pt x="0" y="1"/>
                    <a:pt x="5" y="0"/>
                    <a:pt x="6" y="0"/>
                  </a:cubicBezTo>
                  <a:cubicBezTo>
                    <a:pt x="7" y="0"/>
                    <a:pt x="9" y="0"/>
                    <a:pt x="9" y="0"/>
                  </a:cubicBezTo>
                  <a:cubicBezTo>
                    <a:pt x="9" y="1"/>
                    <a:pt x="11" y="8"/>
                    <a:pt x="11" y="9"/>
                  </a:cubicBezTo>
                  <a:cubicBezTo>
                    <a:pt x="11" y="10"/>
                    <a:pt x="13" y="18"/>
                    <a:pt x="13" y="18"/>
                  </a:cubicBezTo>
                  <a:cubicBezTo>
                    <a:pt x="13" y="20"/>
                    <a:pt x="13" y="20"/>
                    <a:pt x="13" y="20"/>
                  </a:cubicBezTo>
                  <a:cubicBezTo>
                    <a:pt x="12" y="20"/>
                    <a:pt x="8" y="14"/>
                    <a:pt x="8" y="13"/>
                  </a:cubicBezTo>
                  <a:cubicBezTo>
                    <a:pt x="7" y="12"/>
                    <a:pt x="9" y="10"/>
                    <a:pt x="8"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7" name="Freeform 266"/>
            <p:cNvSpPr>
              <a:spLocks/>
            </p:cNvSpPr>
            <p:nvPr>
              <p:custDataLst>
                <p:tags r:id="rId36"/>
              </p:custDataLst>
            </p:nvPr>
          </p:nvSpPr>
          <p:spPr bwMode="auto">
            <a:xfrm>
              <a:off x="2486" y="1409"/>
              <a:ext cx="20" cy="17"/>
            </a:xfrm>
            <a:custGeom>
              <a:avLst/>
              <a:gdLst>
                <a:gd name="T0" fmla="*/ 2646 w 12"/>
                <a:gd name="T1" fmla="*/ 20991 h 9"/>
                <a:gd name="T2" fmla="*/ 2646 w 12"/>
                <a:gd name="T3" fmla="*/ 2999 h 9"/>
                <a:gd name="T4" fmla="*/ 15875 w 12"/>
                <a:gd name="T5" fmla="*/ 0 h 9"/>
                <a:gd name="T6" fmla="*/ 29104 w 12"/>
                <a:gd name="T7" fmla="*/ 14993 h 9"/>
                <a:gd name="T8" fmla="*/ 21167 w 12"/>
                <a:gd name="T9" fmla="*/ 26988 h 9"/>
                <a:gd name="T10" fmla="*/ 2646 w 12"/>
                <a:gd name="T11" fmla="*/ 20991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1" y="7"/>
                  </a:moveTo>
                  <a:cubicBezTo>
                    <a:pt x="1" y="6"/>
                    <a:pt x="0" y="1"/>
                    <a:pt x="1" y="1"/>
                  </a:cubicBezTo>
                  <a:cubicBezTo>
                    <a:pt x="2" y="1"/>
                    <a:pt x="6" y="0"/>
                    <a:pt x="6" y="0"/>
                  </a:cubicBezTo>
                  <a:cubicBezTo>
                    <a:pt x="6" y="0"/>
                    <a:pt x="9" y="4"/>
                    <a:pt x="11" y="5"/>
                  </a:cubicBezTo>
                  <a:cubicBezTo>
                    <a:pt x="12" y="5"/>
                    <a:pt x="10" y="9"/>
                    <a:pt x="8" y="9"/>
                  </a:cubicBezTo>
                  <a:cubicBezTo>
                    <a:pt x="7" y="8"/>
                    <a:pt x="1" y="8"/>
                    <a:pt x="1"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8" name="Freeform 267"/>
            <p:cNvSpPr>
              <a:spLocks/>
            </p:cNvSpPr>
            <p:nvPr>
              <p:custDataLst>
                <p:tags r:id="rId37"/>
              </p:custDataLst>
            </p:nvPr>
          </p:nvSpPr>
          <p:spPr bwMode="auto">
            <a:xfrm>
              <a:off x="2474" y="1303"/>
              <a:ext cx="30" cy="35"/>
            </a:xfrm>
            <a:custGeom>
              <a:avLst/>
              <a:gdLst>
                <a:gd name="T0" fmla="*/ 5292 w 18"/>
                <a:gd name="T1" fmla="*/ 49714 h 19"/>
                <a:gd name="T2" fmla="*/ 7938 w 18"/>
                <a:gd name="T3" fmla="*/ 35092 h 19"/>
                <a:gd name="T4" fmla="*/ 15875 w 18"/>
                <a:gd name="T5" fmla="*/ 32168 h 19"/>
                <a:gd name="T6" fmla="*/ 23813 w 18"/>
                <a:gd name="T7" fmla="*/ 17546 h 19"/>
                <a:gd name="T8" fmla="*/ 44979 w 18"/>
                <a:gd name="T9" fmla="*/ 2924 h 19"/>
                <a:gd name="T10" fmla="*/ 31750 w 18"/>
                <a:gd name="T11" fmla="*/ 26319 h 19"/>
                <a:gd name="T12" fmla="*/ 18521 w 18"/>
                <a:gd name="T13" fmla="*/ 52639 h 19"/>
                <a:gd name="T14" fmla="*/ 5292 w 18"/>
                <a:gd name="T15" fmla="*/ 49714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 h="19">
                  <a:moveTo>
                    <a:pt x="2" y="17"/>
                  </a:moveTo>
                  <a:cubicBezTo>
                    <a:pt x="0" y="17"/>
                    <a:pt x="2" y="13"/>
                    <a:pt x="3" y="12"/>
                  </a:cubicBezTo>
                  <a:cubicBezTo>
                    <a:pt x="3" y="12"/>
                    <a:pt x="5" y="11"/>
                    <a:pt x="6" y="11"/>
                  </a:cubicBezTo>
                  <a:cubicBezTo>
                    <a:pt x="7" y="11"/>
                    <a:pt x="8" y="8"/>
                    <a:pt x="9" y="6"/>
                  </a:cubicBezTo>
                  <a:cubicBezTo>
                    <a:pt x="10" y="4"/>
                    <a:pt x="16" y="0"/>
                    <a:pt x="17" y="1"/>
                  </a:cubicBezTo>
                  <a:cubicBezTo>
                    <a:pt x="18" y="2"/>
                    <a:pt x="14" y="7"/>
                    <a:pt x="12" y="9"/>
                  </a:cubicBezTo>
                  <a:cubicBezTo>
                    <a:pt x="11" y="10"/>
                    <a:pt x="8" y="17"/>
                    <a:pt x="7" y="18"/>
                  </a:cubicBezTo>
                  <a:cubicBezTo>
                    <a:pt x="6" y="19"/>
                    <a:pt x="4" y="17"/>
                    <a:pt x="2" y="1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69" name="Freeform 412"/>
            <p:cNvSpPr>
              <a:spLocks/>
            </p:cNvSpPr>
            <p:nvPr>
              <p:custDataLst>
                <p:tags r:id="rId38"/>
              </p:custDataLst>
            </p:nvPr>
          </p:nvSpPr>
          <p:spPr bwMode="auto">
            <a:xfrm>
              <a:off x="2012" y="1550"/>
              <a:ext cx="39" cy="26"/>
            </a:xfrm>
            <a:custGeom>
              <a:avLst/>
              <a:gdLst>
                <a:gd name="T0" fmla="*/ 22514 w 22"/>
                <a:gd name="T1" fmla="*/ 41275 h 14"/>
                <a:gd name="T2" fmla="*/ 2814 w 22"/>
                <a:gd name="T3" fmla="*/ 29482 h 14"/>
                <a:gd name="T4" fmla="*/ 0 w 22"/>
                <a:gd name="T5" fmla="*/ 14741 h 14"/>
                <a:gd name="T6" fmla="*/ 5628 w 22"/>
                <a:gd name="T7" fmla="*/ 0 h 14"/>
                <a:gd name="T8" fmla="*/ 16885 w 22"/>
                <a:gd name="T9" fmla="*/ 5896 h 14"/>
                <a:gd name="T10" fmla="*/ 28142 w 22"/>
                <a:gd name="T11" fmla="*/ 11793 h 14"/>
                <a:gd name="T12" fmla="*/ 45028 w 22"/>
                <a:gd name="T13" fmla="*/ 20638 h 14"/>
                <a:gd name="T14" fmla="*/ 61913 w 22"/>
                <a:gd name="T15" fmla="*/ 23586 h 14"/>
                <a:gd name="T16" fmla="*/ 59099 w 22"/>
                <a:gd name="T17" fmla="*/ 35379 h 14"/>
                <a:gd name="T18" fmla="*/ 22514 w 22"/>
                <a:gd name="T19" fmla="*/ 41275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14">
                  <a:moveTo>
                    <a:pt x="8" y="14"/>
                  </a:moveTo>
                  <a:cubicBezTo>
                    <a:pt x="6" y="14"/>
                    <a:pt x="5" y="10"/>
                    <a:pt x="1" y="10"/>
                  </a:cubicBezTo>
                  <a:cubicBezTo>
                    <a:pt x="0" y="10"/>
                    <a:pt x="0" y="9"/>
                    <a:pt x="0" y="5"/>
                  </a:cubicBezTo>
                  <a:cubicBezTo>
                    <a:pt x="0" y="1"/>
                    <a:pt x="0" y="0"/>
                    <a:pt x="2" y="0"/>
                  </a:cubicBezTo>
                  <a:cubicBezTo>
                    <a:pt x="2" y="0"/>
                    <a:pt x="5" y="2"/>
                    <a:pt x="6" y="2"/>
                  </a:cubicBezTo>
                  <a:cubicBezTo>
                    <a:pt x="6" y="2"/>
                    <a:pt x="7" y="3"/>
                    <a:pt x="10" y="4"/>
                  </a:cubicBezTo>
                  <a:cubicBezTo>
                    <a:pt x="12" y="5"/>
                    <a:pt x="14" y="6"/>
                    <a:pt x="16" y="7"/>
                  </a:cubicBezTo>
                  <a:cubicBezTo>
                    <a:pt x="18" y="9"/>
                    <a:pt x="22" y="7"/>
                    <a:pt x="22" y="8"/>
                  </a:cubicBezTo>
                  <a:cubicBezTo>
                    <a:pt x="22" y="9"/>
                    <a:pt x="22" y="11"/>
                    <a:pt x="21" y="12"/>
                  </a:cubicBezTo>
                  <a:cubicBezTo>
                    <a:pt x="20" y="12"/>
                    <a:pt x="10" y="14"/>
                    <a:pt x="8"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0" name="Freeform 413"/>
            <p:cNvSpPr>
              <a:spLocks/>
            </p:cNvSpPr>
            <p:nvPr>
              <p:custDataLst>
                <p:tags r:id="rId39"/>
              </p:custDataLst>
            </p:nvPr>
          </p:nvSpPr>
          <p:spPr bwMode="auto">
            <a:xfrm>
              <a:off x="1774" y="1154"/>
              <a:ext cx="805" cy="636"/>
            </a:xfrm>
            <a:custGeom>
              <a:avLst/>
              <a:gdLst>
                <a:gd name="T0" fmla="*/ 103323 w 470"/>
                <a:gd name="T1" fmla="*/ 314243 h 347"/>
                <a:gd name="T2" fmla="*/ 62537 w 470"/>
                <a:gd name="T3" fmla="*/ 256050 h 347"/>
                <a:gd name="T4" fmla="*/ 122356 w 470"/>
                <a:gd name="T5" fmla="*/ 192037 h 347"/>
                <a:gd name="T6" fmla="*/ 236554 w 470"/>
                <a:gd name="T7" fmla="*/ 139663 h 347"/>
                <a:gd name="T8" fmla="*/ 269183 w 470"/>
                <a:gd name="T9" fmla="*/ 93109 h 347"/>
                <a:gd name="T10" fmla="*/ 296373 w 470"/>
                <a:gd name="T11" fmla="*/ 84380 h 347"/>
                <a:gd name="T12" fmla="*/ 396976 w 470"/>
                <a:gd name="T13" fmla="*/ 113477 h 347"/>
                <a:gd name="T14" fmla="*/ 410572 w 470"/>
                <a:gd name="T15" fmla="*/ 69832 h 347"/>
                <a:gd name="T16" fmla="*/ 486704 w 470"/>
                <a:gd name="T17" fmla="*/ 93109 h 347"/>
                <a:gd name="T18" fmla="*/ 579151 w 470"/>
                <a:gd name="T19" fmla="*/ 104748 h 347"/>
                <a:gd name="T20" fmla="*/ 524770 w 470"/>
                <a:gd name="T21" fmla="*/ 52374 h 347"/>
                <a:gd name="T22" fmla="*/ 581870 w 470"/>
                <a:gd name="T23" fmla="*/ 46554 h 347"/>
                <a:gd name="T24" fmla="*/ 644407 w 470"/>
                <a:gd name="T25" fmla="*/ 34916 h 347"/>
                <a:gd name="T26" fmla="*/ 747730 w 470"/>
                <a:gd name="T27" fmla="*/ 2910 h 347"/>
                <a:gd name="T28" fmla="*/ 978846 w 470"/>
                <a:gd name="T29" fmla="*/ 14548 h 347"/>
                <a:gd name="T30" fmla="*/ 1054979 w 470"/>
                <a:gd name="T31" fmla="*/ 66922 h 347"/>
                <a:gd name="T32" fmla="*/ 832019 w 470"/>
                <a:gd name="T33" fmla="*/ 93109 h 347"/>
                <a:gd name="T34" fmla="*/ 910871 w 470"/>
                <a:gd name="T35" fmla="*/ 104748 h 347"/>
                <a:gd name="T36" fmla="*/ 959813 w 470"/>
                <a:gd name="T37" fmla="*/ 113477 h 347"/>
                <a:gd name="T38" fmla="*/ 1071293 w 470"/>
                <a:gd name="T39" fmla="*/ 84380 h 347"/>
                <a:gd name="T40" fmla="*/ 1044103 w 470"/>
                <a:gd name="T41" fmla="*/ 151302 h 347"/>
                <a:gd name="T42" fmla="*/ 1180053 w 470"/>
                <a:gd name="T43" fmla="*/ 98928 h 347"/>
                <a:gd name="T44" fmla="*/ 1237153 w 470"/>
                <a:gd name="T45" fmla="*/ 139663 h 347"/>
                <a:gd name="T46" fmla="*/ 1117516 w 470"/>
                <a:gd name="T47" fmla="*/ 160031 h 347"/>
                <a:gd name="T48" fmla="*/ 1098483 w 470"/>
                <a:gd name="T49" fmla="*/ 189128 h 347"/>
                <a:gd name="T50" fmla="*/ 1109359 w 470"/>
                <a:gd name="T51" fmla="*/ 221134 h 347"/>
                <a:gd name="T52" fmla="*/ 1087607 w 470"/>
                <a:gd name="T53" fmla="*/ 293875 h 347"/>
                <a:gd name="T54" fmla="*/ 1114797 w 470"/>
                <a:gd name="T55" fmla="*/ 331701 h 347"/>
                <a:gd name="T56" fmla="*/ 1074012 w 470"/>
                <a:gd name="T57" fmla="*/ 343339 h 347"/>
                <a:gd name="T58" fmla="*/ 1112078 w 470"/>
                <a:gd name="T59" fmla="*/ 407352 h 347"/>
                <a:gd name="T60" fmla="*/ 1122954 w 470"/>
                <a:gd name="T61" fmla="*/ 445177 h 347"/>
                <a:gd name="T62" fmla="*/ 1090326 w 470"/>
                <a:gd name="T63" fmla="*/ 500461 h 347"/>
                <a:gd name="T64" fmla="*/ 1035945 w 470"/>
                <a:gd name="T65" fmla="*/ 515009 h 347"/>
                <a:gd name="T66" fmla="*/ 1003317 w 470"/>
                <a:gd name="T67" fmla="*/ 526647 h 347"/>
                <a:gd name="T68" fmla="*/ 1049541 w 470"/>
                <a:gd name="T69" fmla="*/ 567383 h 347"/>
                <a:gd name="T70" fmla="*/ 984284 w 470"/>
                <a:gd name="T71" fmla="*/ 581931 h 347"/>
                <a:gd name="T72" fmla="*/ 1038665 w 470"/>
                <a:gd name="T73" fmla="*/ 640124 h 347"/>
                <a:gd name="T74" fmla="*/ 875523 w 470"/>
                <a:gd name="T75" fmla="*/ 718685 h 347"/>
                <a:gd name="T76" fmla="*/ 761325 w 470"/>
                <a:gd name="T77" fmla="*/ 800155 h 347"/>
                <a:gd name="T78" fmla="*/ 668878 w 470"/>
                <a:gd name="T79" fmla="*/ 832161 h 347"/>
                <a:gd name="T80" fmla="*/ 609060 w 470"/>
                <a:gd name="T81" fmla="*/ 1006740 h 347"/>
                <a:gd name="T82" fmla="*/ 470390 w 470"/>
                <a:gd name="T83" fmla="*/ 922360 h 347"/>
                <a:gd name="T84" fmla="*/ 418729 w 470"/>
                <a:gd name="T85" fmla="*/ 817613 h 347"/>
                <a:gd name="T86" fmla="*/ 399696 w 470"/>
                <a:gd name="T87" fmla="*/ 724504 h 347"/>
                <a:gd name="T88" fmla="*/ 454076 w 470"/>
                <a:gd name="T89" fmla="*/ 704136 h 347"/>
                <a:gd name="T90" fmla="*/ 413291 w 470"/>
                <a:gd name="T91" fmla="*/ 628485 h 347"/>
                <a:gd name="T92" fmla="*/ 437762 w 470"/>
                <a:gd name="T93" fmla="*/ 616847 h 347"/>
                <a:gd name="T94" fmla="*/ 410572 w 470"/>
                <a:gd name="T95" fmla="*/ 567383 h 347"/>
                <a:gd name="T96" fmla="*/ 358910 w 470"/>
                <a:gd name="T97" fmla="*/ 549925 h 347"/>
                <a:gd name="T98" fmla="*/ 320844 w 470"/>
                <a:gd name="T99" fmla="*/ 436448 h 347"/>
                <a:gd name="T100" fmla="*/ 225678 w 470"/>
                <a:gd name="T101" fmla="*/ 378255 h 347"/>
                <a:gd name="T102" fmla="*/ 130513 w 470"/>
                <a:gd name="T103" fmla="*/ 395713 h 3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47">
                  <a:moveTo>
                    <a:pt x="24" y="120"/>
                  </a:moveTo>
                  <a:cubicBezTo>
                    <a:pt x="21" y="120"/>
                    <a:pt x="15" y="119"/>
                    <a:pt x="14" y="118"/>
                  </a:cubicBezTo>
                  <a:cubicBezTo>
                    <a:pt x="12" y="116"/>
                    <a:pt x="13" y="115"/>
                    <a:pt x="15" y="114"/>
                  </a:cubicBezTo>
                  <a:cubicBezTo>
                    <a:pt x="16" y="114"/>
                    <a:pt x="34" y="113"/>
                    <a:pt x="35" y="112"/>
                  </a:cubicBezTo>
                  <a:cubicBezTo>
                    <a:pt x="36" y="112"/>
                    <a:pt x="38" y="110"/>
                    <a:pt x="38" y="108"/>
                  </a:cubicBezTo>
                  <a:cubicBezTo>
                    <a:pt x="37" y="107"/>
                    <a:pt x="36" y="108"/>
                    <a:pt x="31" y="108"/>
                  </a:cubicBezTo>
                  <a:cubicBezTo>
                    <a:pt x="27" y="108"/>
                    <a:pt x="22" y="107"/>
                    <a:pt x="20" y="106"/>
                  </a:cubicBezTo>
                  <a:cubicBezTo>
                    <a:pt x="18" y="104"/>
                    <a:pt x="3" y="101"/>
                    <a:pt x="2" y="99"/>
                  </a:cubicBezTo>
                  <a:cubicBezTo>
                    <a:pt x="0" y="96"/>
                    <a:pt x="2" y="92"/>
                    <a:pt x="3" y="92"/>
                  </a:cubicBezTo>
                  <a:cubicBezTo>
                    <a:pt x="5" y="91"/>
                    <a:pt x="20" y="88"/>
                    <a:pt x="23" y="88"/>
                  </a:cubicBezTo>
                  <a:cubicBezTo>
                    <a:pt x="26" y="87"/>
                    <a:pt x="36" y="82"/>
                    <a:pt x="38" y="82"/>
                  </a:cubicBezTo>
                  <a:cubicBezTo>
                    <a:pt x="39" y="82"/>
                    <a:pt x="52" y="82"/>
                    <a:pt x="53" y="82"/>
                  </a:cubicBezTo>
                  <a:cubicBezTo>
                    <a:pt x="55" y="81"/>
                    <a:pt x="62" y="76"/>
                    <a:pt x="62" y="74"/>
                  </a:cubicBezTo>
                  <a:cubicBezTo>
                    <a:pt x="62" y="72"/>
                    <a:pt x="62" y="66"/>
                    <a:pt x="59" y="66"/>
                  </a:cubicBezTo>
                  <a:cubicBezTo>
                    <a:pt x="57" y="66"/>
                    <a:pt x="47" y="67"/>
                    <a:pt x="45" y="66"/>
                  </a:cubicBezTo>
                  <a:cubicBezTo>
                    <a:pt x="44" y="65"/>
                    <a:pt x="43" y="62"/>
                    <a:pt x="44" y="61"/>
                  </a:cubicBezTo>
                  <a:cubicBezTo>
                    <a:pt x="45" y="60"/>
                    <a:pt x="51" y="57"/>
                    <a:pt x="54" y="56"/>
                  </a:cubicBezTo>
                  <a:cubicBezTo>
                    <a:pt x="57" y="55"/>
                    <a:pt x="68" y="48"/>
                    <a:pt x="69" y="47"/>
                  </a:cubicBezTo>
                  <a:cubicBezTo>
                    <a:pt x="71" y="46"/>
                    <a:pt x="77" y="45"/>
                    <a:pt x="79" y="45"/>
                  </a:cubicBezTo>
                  <a:cubicBezTo>
                    <a:pt x="80" y="46"/>
                    <a:pt x="85" y="48"/>
                    <a:pt x="87" y="48"/>
                  </a:cubicBezTo>
                  <a:cubicBezTo>
                    <a:pt x="89" y="48"/>
                    <a:pt x="91" y="46"/>
                    <a:pt x="91" y="46"/>
                  </a:cubicBezTo>
                  <a:cubicBezTo>
                    <a:pt x="91" y="45"/>
                    <a:pt x="89" y="43"/>
                    <a:pt x="89" y="42"/>
                  </a:cubicBezTo>
                  <a:cubicBezTo>
                    <a:pt x="90" y="41"/>
                    <a:pt x="92" y="40"/>
                    <a:pt x="91" y="38"/>
                  </a:cubicBezTo>
                  <a:cubicBezTo>
                    <a:pt x="90" y="36"/>
                    <a:pt x="88" y="35"/>
                    <a:pt x="89" y="35"/>
                  </a:cubicBezTo>
                  <a:cubicBezTo>
                    <a:pt x="90" y="34"/>
                    <a:pt x="96" y="31"/>
                    <a:pt x="99" y="32"/>
                  </a:cubicBezTo>
                  <a:cubicBezTo>
                    <a:pt x="101" y="32"/>
                    <a:pt x="105" y="32"/>
                    <a:pt x="106" y="33"/>
                  </a:cubicBezTo>
                  <a:cubicBezTo>
                    <a:pt x="107" y="34"/>
                    <a:pt x="114" y="38"/>
                    <a:pt x="116" y="39"/>
                  </a:cubicBezTo>
                  <a:cubicBezTo>
                    <a:pt x="117" y="40"/>
                    <a:pt x="122" y="42"/>
                    <a:pt x="123" y="42"/>
                  </a:cubicBezTo>
                  <a:cubicBezTo>
                    <a:pt x="123" y="42"/>
                    <a:pt x="123" y="39"/>
                    <a:pt x="121" y="37"/>
                  </a:cubicBezTo>
                  <a:cubicBezTo>
                    <a:pt x="119" y="35"/>
                    <a:pt x="110" y="29"/>
                    <a:pt x="109" y="29"/>
                  </a:cubicBezTo>
                  <a:cubicBezTo>
                    <a:pt x="108" y="28"/>
                    <a:pt x="115" y="27"/>
                    <a:pt x="117" y="27"/>
                  </a:cubicBezTo>
                  <a:cubicBezTo>
                    <a:pt x="118" y="27"/>
                    <a:pt x="128" y="26"/>
                    <a:pt x="131" y="26"/>
                  </a:cubicBezTo>
                  <a:cubicBezTo>
                    <a:pt x="134" y="25"/>
                    <a:pt x="138" y="23"/>
                    <a:pt x="140" y="24"/>
                  </a:cubicBezTo>
                  <a:cubicBezTo>
                    <a:pt x="142" y="24"/>
                    <a:pt x="147" y="28"/>
                    <a:pt x="147" y="30"/>
                  </a:cubicBezTo>
                  <a:cubicBezTo>
                    <a:pt x="147" y="31"/>
                    <a:pt x="145" y="37"/>
                    <a:pt x="146" y="39"/>
                  </a:cubicBezTo>
                  <a:cubicBezTo>
                    <a:pt x="146" y="40"/>
                    <a:pt x="149" y="40"/>
                    <a:pt x="150" y="40"/>
                  </a:cubicBezTo>
                  <a:cubicBezTo>
                    <a:pt x="151" y="40"/>
                    <a:pt x="152" y="39"/>
                    <a:pt x="151" y="36"/>
                  </a:cubicBezTo>
                  <a:cubicBezTo>
                    <a:pt x="151" y="34"/>
                    <a:pt x="152" y="33"/>
                    <a:pt x="154" y="32"/>
                  </a:cubicBezTo>
                  <a:cubicBezTo>
                    <a:pt x="155" y="31"/>
                    <a:pt x="154" y="29"/>
                    <a:pt x="153" y="28"/>
                  </a:cubicBezTo>
                  <a:cubicBezTo>
                    <a:pt x="153" y="27"/>
                    <a:pt x="150" y="25"/>
                    <a:pt x="151" y="24"/>
                  </a:cubicBezTo>
                  <a:cubicBezTo>
                    <a:pt x="152" y="23"/>
                    <a:pt x="157" y="24"/>
                    <a:pt x="158" y="25"/>
                  </a:cubicBezTo>
                  <a:cubicBezTo>
                    <a:pt x="160" y="27"/>
                    <a:pt x="164" y="28"/>
                    <a:pt x="165" y="29"/>
                  </a:cubicBezTo>
                  <a:cubicBezTo>
                    <a:pt x="165" y="29"/>
                    <a:pt x="168" y="33"/>
                    <a:pt x="169" y="33"/>
                  </a:cubicBezTo>
                  <a:cubicBezTo>
                    <a:pt x="170" y="34"/>
                    <a:pt x="176" y="36"/>
                    <a:pt x="177" y="37"/>
                  </a:cubicBezTo>
                  <a:cubicBezTo>
                    <a:pt x="178" y="38"/>
                    <a:pt x="178" y="33"/>
                    <a:pt x="179" y="32"/>
                  </a:cubicBezTo>
                  <a:cubicBezTo>
                    <a:pt x="180" y="30"/>
                    <a:pt x="175" y="29"/>
                    <a:pt x="173" y="28"/>
                  </a:cubicBezTo>
                  <a:cubicBezTo>
                    <a:pt x="170" y="27"/>
                    <a:pt x="166" y="22"/>
                    <a:pt x="166" y="21"/>
                  </a:cubicBezTo>
                  <a:cubicBezTo>
                    <a:pt x="166" y="20"/>
                    <a:pt x="178" y="20"/>
                    <a:pt x="180" y="21"/>
                  </a:cubicBezTo>
                  <a:cubicBezTo>
                    <a:pt x="181" y="21"/>
                    <a:pt x="203" y="31"/>
                    <a:pt x="205" y="32"/>
                  </a:cubicBezTo>
                  <a:cubicBezTo>
                    <a:pt x="206" y="32"/>
                    <a:pt x="212" y="36"/>
                    <a:pt x="213" y="36"/>
                  </a:cubicBezTo>
                  <a:cubicBezTo>
                    <a:pt x="214" y="36"/>
                    <a:pt x="219" y="35"/>
                    <a:pt x="219" y="34"/>
                  </a:cubicBezTo>
                  <a:cubicBezTo>
                    <a:pt x="220" y="33"/>
                    <a:pt x="219" y="32"/>
                    <a:pt x="217" y="31"/>
                  </a:cubicBezTo>
                  <a:cubicBezTo>
                    <a:pt x="216" y="30"/>
                    <a:pt x="213" y="27"/>
                    <a:pt x="211" y="26"/>
                  </a:cubicBezTo>
                  <a:cubicBezTo>
                    <a:pt x="209" y="26"/>
                    <a:pt x="201" y="23"/>
                    <a:pt x="200" y="22"/>
                  </a:cubicBezTo>
                  <a:cubicBezTo>
                    <a:pt x="198" y="22"/>
                    <a:pt x="193" y="19"/>
                    <a:pt x="193" y="18"/>
                  </a:cubicBezTo>
                  <a:cubicBezTo>
                    <a:pt x="194" y="18"/>
                    <a:pt x="199" y="18"/>
                    <a:pt x="200" y="18"/>
                  </a:cubicBezTo>
                  <a:cubicBezTo>
                    <a:pt x="201" y="18"/>
                    <a:pt x="207" y="19"/>
                    <a:pt x="208" y="19"/>
                  </a:cubicBezTo>
                  <a:cubicBezTo>
                    <a:pt x="210" y="20"/>
                    <a:pt x="218" y="24"/>
                    <a:pt x="218" y="24"/>
                  </a:cubicBezTo>
                  <a:cubicBezTo>
                    <a:pt x="218" y="24"/>
                    <a:pt x="225" y="23"/>
                    <a:pt x="223" y="23"/>
                  </a:cubicBezTo>
                  <a:cubicBezTo>
                    <a:pt x="222" y="22"/>
                    <a:pt x="214" y="17"/>
                    <a:pt x="214" y="16"/>
                  </a:cubicBezTo>
                  <a:cubicBezTo>
                    <a:pt x="214" y="15"/>
                    <a:pt x="227" y="16"/>
                    <a:pt x="228" y="16"/>
                  </a:cubicBezTo>
                  <a:cubicBezTo>
                    <a:pt x="230" y="16"/>
                    <a:pt x="241" y="18"/>
                    <a:pt x="242" y="19"/>
                  </a:cubicBezTo>
                  <a:cubicBezTo>
                    <a:pt x="242" y="19"/>
                    <a:pt x="249" y="21"/>
                    <a:pt x="250" y="21"/>
                  </a:cubicBezTo>
                  <a:cubicBezTo>
                    <a:pt x="251" y="21"/>
                    <a:pt x="252" y="17"/>
                    <a:pt x="250" y="16"/>
                  </a:cubicBezTo>
                  <a:cubicBezTo>
                    <a:pt x="249" y="16"/>
                    <a:pt x="240" y="13"/>
                    <a:pt x="237" y="12"/>
                  </a:cubicBezTo>
                  <a:cubicBezTo>
                    <a:pt x="235" y="12"/>
                    <a:pt x="220" y="10"/>
                    <a:pt x="219" y="10"/>
                  </a:cubicBezTo>
                  <a:cubicBezTo>
                    <a:pt x="218" y="9"/>
                    <a:pt x="237" y="7"/>
                    <a:pt x="240" y="7"/>
                  </a:cubicBezTo>
                  <a:cubicBezTo>
                    <a:pt x="243" y="8"/>
                    <a:pt x="249" y="7"/>
                    <a:pt x="253" y="7"/>
                  </a:cubicBezTo>
                  <a:cubicBezTo>
                    <a:pt x="256" y="7"/>
                    <a:pt x="259" y="4"/>
                    <a:pt x="261" y="4"/>
                  </a:cubicBezTo>
                  <a:cubicBezTo>
                    <a:pt x="263" y="3"/>
                    <a:pt x="273" y="1"/>
                    <a:pt x="275" y="1"/>
                  </a:cubicBezTo>
                  <a:cubicBezTo>
                    <a:pt x="277" y="1"/>
                    <a:pt x="296" y="0"/>
                    <a:pt x="300" y="0"/>
                  </a:cubicBezTo>
                  <a:cubicBezTo>
                    <a:pt x="305" y="0"/>
                    <a:pt x="325" y="0"/>
                    <a:pt x="327" y="0"/>
                  </a:cubicBezTo>
                  <a:cubicBezTo>
                    <a:pt x="329" y="1"/>
                    <a:pt x="337" y="3"/>
                    <a:pt x="340" y="3"/>
                  </a:cubicBezTo>
                  <a:cubicBezTo>
                    <a:pt x="343" y="3"/>
                    <a:pt x="349" y="3"/>
                    <a:pt x="352" y="3"/>
                  </a:cubicBezTo>
                  <a:cubicBezTo>
                    <a:pt x="354" y="4"/>
                    <a:pt x="360" y="5"/>
                    <a:pt x="360" y="5"/>
                  </a:cubicBezTo>
                  <a:cubicBezTo>
                    <a:pt x="360" y="6"/>
                    <a:pt x="367" y="8"/>
                    <a:pt x="367" y="9"/>
                  </a:cubicBezTo>
                  <a:cubicBezTo>
                    <a:pt x="367" y="11"/>
                    <a:pt x="363" y="13"/>
                    <a:pt x="363" y="15"/>
                  </a:cubicBezTo>
                  <a:cubicBezTo>
                    <a:pt x="362" y="17"/>
                    <a:pt x="375" y="14"/>
                    <a:pt x="377" y="14"/>
                  </a:cubicBezTo>
                  <a:cubicBezTo>
                    <a:pt x="378" y="15"/>
                    <a:pt x="392" y="17"/>
                    <a:pt x="393" y="18"/>
                  </a:cubicBezTo>
                  <a:cubicBezTo>
                    <a:pt x="393" y="19"/>
                    <a:pt x="391" y="23"/>
                    <a:pt x="388" y="23"/>
                  </a:cubicBezTo>
                  <a:cubicBezTo>
                    <a:pt x="386" y="23"/>
                    <a:pt x="374" y="24"/>
                    <a:pt x="371" y="24"/>
                  </a:cubicBezTo>
                  <a:cubicBezTo>
                    <a:pt x="369" y="25"/>
                    <a:pt x="367" y="26"/>
                    <a:pt x="365" y="26"/>
                  </a:cubicBezTo>
                  <a:cubicBezTo>
                    <a:pt x="362" y="26"/>
                    <a:pt x="341" y="25"/>
                    <a:pt x="338" y="25"/>
                  </a:cubicBezTo>
                  <a:cubicBezTo>
                    <a:pt x="336" y="26"/>
                    <a:pt x="327" y="26"/>
                    <a:pt x="324" y="27"/>
                  </a:cubicBezTo>
                  <a:cubicBezTo>
                    <a:pt x="321" y="28"/>
                    <a:pt x="308" y="30"/>
                    <a:pt x="306" y="32"/>
                  </a:cubicBezTo>
                  <a:cubicBezTo>
                    <a:pt x="304" y="33"/>
                    <a:pt x="306" y="36"/>
                    <a:pt x="306" y="37"/>
                  </a:cubicBezTo>
                  <a:cubicBezTo>
                    <a:pt x="307" y="38"/>
                    <a:pt x="309" y="40"/>
                    <a:pt x="310" y="39"/>
                  </a:cubicBezTo>
                  <a:cubicBezTo>
                    <a:pt x="312" y="39"/>
                    <a:pt x="318" y="35"/>
                    <a:pt x="320" y="34"/>
                  </a:cubicBezTo>
                  <a:cubicBezTo>
                    <a:pt x="323" y="34"/>
                    <a:pt x="331" y="33"/>
                    <a:pt x="331" y="34"/>
                  </a:cubicBezTo>
                  <a:cubicBezTo>
                    <a:pt x="331" y="35"/>
                    <a:pt x="334" y="38"/>
                    <a:pt x="335" y="36"/>
                  </a:cubicBezTo>
                  <a:cubicBezTo>
                    <a:pt x="335" y="34"/>
                    <a:pt x="337" y="32"/>
                    <a:pt x="340" y="31"/>
                  </a:cubicBezTo>
                  <a:cubicBezTo>
                    <a:pt x="342" y="31"/>
                    <a:pt x="349" y="31"/>
                    <a:pt x="353" y="31"/>
                  </a:cubicBezTo>
                  <a:cubicBezTo>
                    <a:pt x="357" y="31"/>
                    <a:pt x="367" y="31"/>
                    <a:pt x="368" y="31"/>
                  </a:cubicBezTo>
                  <a:cubicBezTo>
                    <a:pt x="369" y="31"/>
                    <a:pt x="369" y="34"/>
                    <a:pt x="369" y="35"/>
                  </a:cubicBezTo>
                  <a:cubicBezTo>
                    <a:pt x="368" y="35"/>
                    <a:pt x="353" y="38"/>
                    <a:pt x="353" y="39"/>
                  </a:cubicBezTo>
                  <a:cubicBezTo>
                    <a:pt x="353" y="40"/>
                    <a:pt x="355" y="42"/>
                    <a:pt x="357" y="42"/>
                  </a:cubicBezTo>
                  <a:cubicBezTo>
                    <a:pt x="359" y="42"/>
                    <a:pt x="368" y="40"/>
                    <a:pt x="370" y="39"/>
                  </a:cubicBezTo>
                  <a:cubicBezTo>
                    <a:pt x="372" y="39"/>
                    <a:pt x="379" y="36"/>
                    <a:pt x="380" y="36"/>
                  </a:cubicBezTo>
                  <a:cubicBezTo>
                    <a:pt x="381" y="36"/>
                    <a:pt x="379" y="31"/>
                    <a:pt x="380" y="30"/>
                  </a:cubicBezTo>
                  <a:cubicBezTo>
                    <a:pt x="381" y="30"/>
                    <a:pt x="393" y="29"/>
                    <a:pt x="394" y="29"/>
                  </a:cubicBezTo>
                  <a:cubicBezTo>
                    <a:pt x="396" y="30"/>
                    <a:pt x="398" y="34"/>
                    <a:pt x="394" y="39"/>
                  </a:cubicBezTo>
                  <a:cubicBezTo>
                    <a:pt x="389" y="44"/>
                    <a:pt x="385" y="45"/>
                    <a:pt x="381" y="47"/>
                  </a:cubicBezTo>
                  <a:cubicBezTo>
                    <a:pt x="378" y="49"/>
                    <a:pt x="378" y="51"/>
                    <a:pt x="377" y="52"/>
                  </a:cubicBezTo>
                  <a:cubicBezTo>
                    <a:pt x="377" y="52"/>
                    <a:pt x="372" y="56"/>
                    <a:pt x="373" y="56"/>
                  </a:cubicBezTo>
                  <a:cubicBezTo>
                    <a:pt x="375" y="57"/>
                    <a:pt x="381" y="54"/>
                    <a:pt x="384" y="52"/>
                  </a:cubicBezTo>
                  <a:cubicBezTo>
                    <a:pt x="389" y="49"/>
                    <a:pt x="393" y="48"/>
                    <a:pt x="395" y="47"/>
                  </a:cubicBezTo>
                  <a:cubicBezTo>
                    <a:pt x="397" y="46"/>
                    <a:pt x="402" y="42"/>
                    <a:pt x="404" y="41"/>
                  </a:cubicBezTo>
                  <a:cubicBezTo>
                    <a:pt x="405" y="40"/>
                    <a:pt x="408" y="38"/>
                    <a:pt x="409" y="38"/>
                  </a:cubicBezTo>
                  <a:cubicBezTo>
                    <a:pt x="410" y="38"/>
                    <a:pt x="424" y="42"/>
                    <a:pt x="425" y="42"/>
                  </a:cubicBezTo>
                  <a:cubicBezTo>
                    <a:pt x="426" y="41"/>
                    <a:pt x="431" y="34"/>
                    <a:pt x="434" y="34"/>
                  </a:cubicBezTo>
                  <a:cubicBezTo>
                    <a:pt x="438" y="34"/>
                    <a:pt x="448" y="33"/>
                    <a:pt x="451" y="34"/>
                  </a:cubicBezTo>
                  <a:cubicBezTo>
                    <a:pt x="455" y="35"/>
                    <a:pt x="467" y="38"/>
                    <a:pt x="467" y="38"/>
                  </a:cubicBezTo>
                  <a:cubicBezTo>
                    <a:pt x="468" y="39"/>
                    <a:pt x="470" y="40"/>
                    <a:pt x="470" y="40"/>
                  </a:cubicBezTo>
                  <a:cubicBezTo>
                    <a:pt x="470" y="41"/>
                    <a:pt x="463" y="45"/>
                    <a:pt x="461" y="46"/>
                  </a:cubicBezTo>
                  <a:cubicBezTo>
                    <a:pt x="459" y="47"/>
                    <a:pt x="456" y="48"/>
                    <a:pt x="455" y="48"/>
                  </a:cubicBezTo>
                  <a:cubicBezTo>
                    <a:pt x="453" y="48"/>
                    <a:pt x="447" y="46"/>
                    <a:pt x="445" y="48"/>
                  </a:cubicBezTo>
                  <a:cubicBezTo>
                    <a:pt x="444" y="50"/>
                    <a:pt x="449" y="52"/>
                    <a:pt x="448" y="53"/>
                  </a:cubicBezTo>
                  <a:cubicBezTo>
                    <a:pt x="447" y="53"/>
                    <a:pt x="441" y="54"/>
                    <a:pt x="439" y="54"/>
                  </a:cubicBezTo>
                  <a:cubicBezTo>
                    <a:pt x="437" y="54"/>
                    <a:pt x="426" y="53"/>
                    <a:pt x="424" y="53"/>
                  </a:cubicBezTo>
                  <a:cubicBezTo>
                    <a:pt x="423" y="53"/>
                    <a:pt x="413" y="55"/>
                    <a:pt x="411" y="55"/>
                  </a:cubicBezTo>
                  <a:cubicBezTo>
                    <a:pt x="409" y="54"/>
                    <a:pt x="408" y="57"/>
                    <a:pt x="408" y="57"/>
                  </a:cubicBezTo>
                  <a:cubicBezTo>
                    <a:pt x="408" y="58"/>
                    <a:pt x="420" y="59"/>
                    <a:pt x="422" y="59"/>
                  </a:cubicBezTo>
                  <a:cubicBezTo>
                    <a:pt x="423" y="59"/>
                    <a:pt x="435" y="59"/>
                    <a:pt x="435" y="60"/>
                  </a:cubicBezTo>
                  <a:cubicBezTo>
                    <a:pt x="435" y="61"/>
                    <a:pt x="422" y="64"/>
                    <a:pt x="416" y="64"/>
                  </a:cubicBezTo>
                  <a:cubicBezTo>
                    <a:pt x="410" y="64"/>
                    <a:pt x="404" y="64"/>
                    <a:pt x="404" y="65"/>
                  </a:cubicBezTo>
                  <a:cubicBezTo>
                    <a:pt x="403" y="67"/>
                    <a:pt x="400" y="68"/>
                    <a:pt x="402" y="69"/>
                  </a:cubicBezTo>
                  <a:cubicBezTo>
                    <a:pt x="404" y="70"/>
                    <a:pt x="407" y="70"/>
                    <a:pt x="407" y="70"/>
                  </a:cubicBezTo>
                  <a:cubicBezTo>
                    <a:pt x="407" y="70"/>
                    <a:pt x="423" y="68"/>
                    <a:pt x="423" y="69"/>
                  </a:cubicBezTo>
                  <a:cubicBezTo>
                    <a:pt x="424" y="70"/>
                    <a:pt x="419" y="75"/>
                    <a:pt x="418" y="76"/>
                  </a:cubicBezTo>
                  <a:cubicBezTo>
                    <a:pt x="417" y="76"/>
                    <a:pt x="410" y="73"/>
                    <a:pt x="408" y="76"/>
                  </a:cubicBezTo>
                  <a:cubicBezTo>
                    <a:pt x="408" y="77"/>
                    <a:pt x="408" y="85"/>
                    <a:pt x="407" y="86"/>
                  </a:cubicBezTo>
                  <a:cubicBezTo>
                    <a:pt x="406" y="87"/>
                    <a:pt x="399" y="86"/>
                    <a:pt x="399" y="87"/>
                  </a:cubicBezTo>
                  <a:cubicBezTo>
                    <a:pt x="399" y="89"/>
                    <a:pt x="389" y="104"/>
                    <a:pt x="389" y="105"/>
                  </a:cubicBezTo>
                  <a:cubicBezTo>
                    <a:pt x="388" y="106"/>
                    <a:pt x="394" y="106"/>
                    <a:pt x="395" y="106"/>
                  </a:cubicBezTo>
                  <a:cubicBezTo>
                    <a:pt x="397" y="107"/>
                    <a:pt x="398" y="101"/>
                    <a:pt x="400" y="101"/>
                  </a:cubicBezTo>
                  <a:cubicBezTo>
                    <a:pt x="401" y="101"/>
                    <a:pt x="410" y="102"/>
                    <a:pt x="410" y="103"/>
                  </a:cubicBezTo>
                  <a:cubicBezTo>
                    <a:pt x="410" y="104"/>
                    <a:pt x="413" y="107"/>
                    <a:pt x="413" y="107"/>
                  </a:cubicBezTo>
                  <a:cubicBezTo>
                    <a:pt x="413" y="108"/>
                    <a:pt x="404" y="106"/>
                    <a:pt x="403" y="107"/>
                  </a:cubicBezTo>
                  <a:cubicBezTo>
                    <a:pt x="401" y="107"/>
                    <a:pt x="401" y="110"/>
                    <a:pt x="401" y="111"/>
                  </a:cubicBezTo>
                  <a:cubicBezTo>
                    <a:pt x="402" y="111"/>
                    <a:pt x="410" y="114"/>
                    <a:pt x="410" y="114"/>
                  </a:cubicBezTo>
                  <a:cubicBezTo>
                    <a:pt x="411" y="114"/>
                    <a:pt x="412" y="112"/>
                    <a:pt x="413" y="112"/>
                  </a:cubicBezTo>
                  <a:cubicBezTo>
                    <a:pt x="413" y="112"/>
                    <a:pt x="418" y="113"/>
                    <a:pt x="418" y="114"/>
                  </a:cubicBezTo>
                  <a:cubicBezTo>
                    <a:pt x="418" y="116"/>
                    <a:pt x="418" y="121"/>
                    <a:pt x="416" y="121"/>
                  </a:cubicBezTo>
                  <a:cubicBezTo>
                    <a:pt x="415" y="121"/>
                    <a:pt x="406" y="120"/>
                    <a:pt x="404" y="119"/>
                  </a:cubicBezTo>
                  <a:cubicBezTo>
                    <a:pt x="402" y="119"/>
                    <a:pt x="396" y="117"/>
                    <a:pt x="395" y="118"/>
                  </a:cubicBezTo>
                  <a:cubicBezTo>
                    <a:pt x="395" y="120"/>
                    <a:pt x="395" y="123"/>
                    <a:pt x="396" y="123"/>
                  </a:cubicBezTo>
                  <a:cubicBezTo>
                    <a:pt x="398" y="124"/>
                    <a:pt x="401" y="124"/>
                    <a:pt x="402" y="126"/>
                  </a:cubicBezTo>
                  <a:cubicBezTo>
                    <a:pt x="402" y="127"/>
                    <a:pt x="406" y="128"/>
                    <a:pt x="406" y="129"/>
                  </a:cubicBezTo>
                  <a:cubicBezTo>
                    <a:pt x="406" y="130"/>
                    <a:pt x="405" y="133"/>
                    <a:pt x="407" y="134"/>
                  </a:cubicBezTo>
                  <a:cubicBezTo>
                    <a:pt x="408" y="136"/>
                    <a:pt x="409" y="138"/>
                    <a:pt x="409" y="140"/>
                  </a:cubicBezTo>
                  <a:cubicBezTo>
                    <a:pt x="409" y="142"/>
                    <a:pt x="410" y="145"/>
                    <a:pt x="408" y="145"/>
                  </a:cubicBezTo>
                  <a:cubicBezTo>
                    <a:pt x="406" y="145"/>
                    <a:pt x="400" y="142"/>
                    <a:pt x="399" y="144"/>
                  </a:cubicBezTo>
                  <a:cubicBezTo>
                    <a:pt x="399" y="146"/>
                    <a:pt x="398" y="148"/>
                    <a:pt x="400" y="149"/>
                  </a:cubicBezTo>
                  <a:cubicBezTo>
                    <a:pt x="402" y="150"/>
                    <a:pt x="404" y="153"/>
                    <a:pt x="406" y="153"/>
                  </a:cubicBezTo>
                  <a:cubicBezTo>
                    <a:pt x="408" y="153"/>
                    <a:pt x="411" y="152"/>
                    <a:pt x="413" y="153"/>
                  </a:cubicBezTo>
                  <a:cubicBezTo>
                    <a:pt x="415" y="154"/>
                    <a:pt x="416" y="156"/>
                    <a:pt x="415" y="157"/>
                  </a:cubicBezTo>
                  <a:cubicBezTo>
                    <a:pt x="414" y="158"/>
                    <a:pt x="408" y="161"/>
                    <a:pt x="406" y="161"/>
                  </a:cubicBezTo>
                  <a:cubicBezTo>
                    <a:pt x="404" y="161"/>
                    <a:pt x="397" y="161"/>
                    <a:pt x="396" y="162"/>
                  </a:cubicBezTo>
                  <a:cubicBezTo>
                    <a:pt x="395" y="164"/>
                    <a:pt x="403" y="165"/>
                    <a:pt x="402" y="166"/>
                  </a:cubicBezTo>
                  <a:cubicBezTo>
                    <a:pt x="402" y="167"/>
                    <a:pt x="402" y="171"/>
                    <a:pt x="401" y="172"/>
                  </a:cubicBezTo>
                  <a:cubicBezTo>
                    <a:pt x="399" y="172"/>
                    <a:pt x="388" y="174"/>
                    <a:pt x="387" y="174"/>
                  </a:cubicBezTo>
                  <a:cubicBezTo>
                    <a:pt x="386" y="174"/>
                    <a:pt x="374" y="167"/>
                    <a:pt x="372" y="167"/>
                  </a:cubicBezTo>
                  <a:cubicBezTo>
                    <a:pt x="370" y="166"/>
                    <a:pt x="366" y="169"/>
                    <a:pt x="366" y="171"/>
                  </a:cubicBezTo>
                  <a:cubicBezTo>
                    <a:pt x="366" y="173"/>
                    <a:pt x="365" y="175"/>
                    <a:pt x="368" y="175"/>
                  </a:cubicBezTo>
                  <a:cubicBezTo>
                    <a:pt x="370" y="175"/>
                    <a:pt x="379" y="177"/>
                    <a:pt x="381" y="177"/>
                  </a:cubicBezTo>
                  <a:cubicBezTo>
                    <a:pt x="382" y="178"/>
                    <a:pt x="386" y="178"/>
                    <a:pt x="388" y="179"/>
                  </a:cubicBezTo>
                  <a:cubicBezTo>
                    <a:pt x="389" y="181"/>
                    <a:pt x="389" y="182"/>
                    <a:pt x="389" y="183"/>
                  </a:cubicBezTo>
                  <a:cubicBezTo>
                    <a:pt x="389" y="184"/>
                    <a:pt x="390" y="189"/>
                    <a:pt x="389" y="190"/>
                  </a:cubicBezTo>
                  <a:cubicBezTo>
                    <a:pt x="388" y="190"/>
                    <a:pt x="374" y="186"/>
                    <a:pt x="373" y="184"/>
                  </a:cubicBezTo>
                  <a:cubicBezTo>
                    <a:pt x="371" y="182"/>
                    <a:pt x="370" y="180"/>
                    <a:pt x="369" y="181"/>
                  </a:cubicBezTo>
                  <a:cubicBezTo>
                    <a:pt x="367" y="181"/>
                    <a:pt x="361" y="179"/>
                    <a:pt x="361" y="180"/>
                  </a:cubicBezTo>
                  <a:cubicBezTo>
                    <a:pt x="360" y="181"/>
                    <a:pt x="360" y="182"/>
                    <a:pt x="362" y="183"/>
                  </a:cubicBezTo>
                  <a:cubicBezTo>
                    <a:pt x="363" y="184"/>
                    <a:pt x="368" y="186"/>
                    <a:pt x="369" y="187"/>
                  </a:cubicBezTo>
                  <a:cubicBezTo>
                    <a:pt x="370" y="188"/>
                    <a:pt x="372" y="190"/>
                    <a:pt x="374" y="191"/>
                  </a:cubicBezTo>
                  <a:cubicBezTo>
                    <a:pt x="377" y="192"/>
                    <a:pt x="385" y="195"/>
                    <a:pt x="386" y="195"/>
                  </a:cubicBezTo>
                  <a:cubicBezTo>
                    <a:pt x="387" y="196"/>
                    <a:pt x="391" y="198"/>
                    <a:pt x="391" y="200"/>
                  </a:cubicBezTo>
                  <a:cubicBezTo>
                    <a:pt x="391" y="201"/>
                    <a:pt x="394" y="213"/>
                    <a:pt x="391" y="213"/>
                  </a:cubicBezTo>
                  <a:cubicBezTo>
                    <a:pt x="388" y="214"/>
                    <a:pt x="379" y="214"/>
                    <a:pt x="376" y="212"/>
                  </a:cubicBezTo>
                  <a:cubicBezTo>
                    <a:pt x="373" y="209"/>
                    <a:pt x="373" y="204"/>
                    <a:pt x="370" y="202"/>
                  </a:cubicBezTo>
                  <a:cubicBezTo>
                    <a:pt x="367" y="200"/>
                    <a:pt x="364" y="200"/>
                    <a:pt x="362" y="200"/>
                  </a:cubicBezTo>
                  <a:cubicBezTo>
                    <a:pt x="361" y="199"/>
                    <a:pt x="363" y="203"/>
                    <a:pt x="362" y="204"/>
                  </a:cubicBezTo>
                  <a:cubicBezTo>
                    <a:pt x="361" y="205"/>
                    <a:pt x="364" y="209"/>
                    <a:pt x="363" y="210"/>
                  </a:cubicBezTo>
                  <a:cubicBezTo>
                    <a:pt x="362" y="210"/>
                    <a:pt x="352" y="215"/>
                    <a:pt x="353" y="216"/>
                  </a:cubicBezTo>
                  <a:cubicBezTo>
                    <a:pt x="354" y="218"/>
                    <a:pt x="362" y="215"/>
                    <a:pt x="364" y="216"/>
                  </a:cubicBezTo>
                  <a:cubicBezTo>
                    <a:pt x="366" y="217"/>
                    <a:pt x="380" y="220"/>
                    <a:pt x="382" y="220"/>
                  </a:cubicBezTo>
                  <a:cubicBezTo>
                    <a:pt x="384" y="220"/>
                    <a:pt x="387" y="219"/>
                    <a:pt x="387" y="220"/>
                  </a:cubicBezTo>
                  <a:cubicBezTo>
                    <a:pt x="388" y="220"/>
                    <a:pt x="373" y="229"/>
                    <a:pt x="370" y="230"/>
                  </a:cubicBezTo>
                  <a:cubicBezTo>
                    <a:pt x="367" y="232"/>
                    <a:pt x="357" y="239"/>
                    <a:pt x="355" y="239"/>
                  </a:cubicBezTo>
                  <a:cubicBezTo>
                    <a:pt x="353" y="239"/>
                    <a:pt x="339" y="243"/>
                    <a:pt x="336" y="244"/>
                  </a:cubicBezTo>
                  <a:cubicBezTo>
                    <a:pt x="332" y="245"/>
                    <a:pt x="326" y="247"/>
                    <a:pt x="322" y="247"/>
                  </a:cubicBezTo>
                  <a:cubicBezTo>
                    <a:pt x="319" y="247"/>
                    <a:pt x="314" y="242"/>
                    <a:pt x="312" y="242"/>
                  </a:cubicBezTo>
                  <a:cubicBezTo>
                    <a:pt x="310" y="243"/>
                    <a:pt x="313" y="250"/>
                    <a:pt x="311" y="250"/>
                  </a:cubicBezTo>
                  <a:cubicBezTo>
                    <a:pt x="309" y="250"/>
                    <a:pt x="305" y="252"/>
                    <a:pt x="303" y="254"/>
                  </a:cubicBezTo>
                  <a:cubicBezTo>
                    <a:pt x="301" y="257"/>
                    <a:pt x="299" y="262"/>
                    <a:pt x="297" y="264"/>
                  </a:cubicBezTo>
                  <a:cubicBezTo>
                    <a:pt x="294" y="266"/>
                    <a:pt x="283" y="275"/>
                    <a:pt x="280" y="275"/>
                  </a:cubicBezTo>
                  <a:cubicBezTo>
                    <a:pt x="278" y="276"/>
                    <a:pt x="274" y="279"/>
                    <a:pt x="271" y="278"/>
                  </a:cubicBezTo>
                  <a:cubicBezTo>
                    <a:pt x="268" y="278"/>
                    <a:pt x="267" y="277"/>
                    <a:pt x="264" y="277"/>
                  </a:cubicBezTo>
                  <a:cubicBezTo>
                    <a:pt x="261" y="278"/>
                    <a:pt x="254" y="276"/>
                    <a:pt x="253" y="278"/>
                  </a:cubicBezTo>
                  <a:cubicBezTo>
                    <a:pt x="252" y="279"/>
                    <a:pt x="256" y="284"/>
                    <a:pt x="254" y="285"/>
                  </a:cubicBezTo>
                  <a:cubicBezTo>
                    <a:pt x="251" y="286"/>
                    <a:pt x="247" y="284"/>
                    <a:pt x="246" y="286"/>
                  </a:cubicBezTo>
                  <a:cubicBezTo>
                    <a:pt x="245" y="288"/>
                    <a:pt x="250" y="294"/>
                    <a:pt x="249" y="295"/>
                  </a:cubicBezTo>
                  <a:cubicBezTo>
                    <a:pt x="248" y="297"/>
                    <a:pt x="247" y="301"/>
                    <a:pt x="246" y="303"/>
                  </a:cubicBezTo>
                  <a:cubicBezTo>
                    <a:pt x="245" y="305"/>
                    <a:pt x="237" y="311"/>
                    <a:pt x="236" y="314"/>
                  </a:cubicBezTo>
                  <a:cubicBezTo>
                    <a:pt x="235" y="316"/>
                    <a:pt x="237" y="322"/>
                    <a:pt x="235" y="324"/>
                  </a:cubicBezTo>
                  <a:cubicBezTo>
                    <a:pt x="234" y="325"/>
                    <a:pt x="230" y="347"/>
                    <a:pt x="224" y="346"/>
                  </a:cubicBezTo>
                  <a:cubicBezTo>
                    <a:pt x="217" y="346"/>
                    <a:pt x="217" y="346"/>
                    <a:pt x="213" y="344"/>
                  </a:cubicBezTo>
                  <a:cubicBezTo>
                    <a:pt x="210" y="342"/>
                    <a:pt x="208" y="337"/>
                    <a:pt x="204" y="337"/>
                  </a:cubicBezTo>
                  <a:cubicBezTo>
                    <a:pt x="201" y="337"/>
                    <a:pt x="192" y="338"/>
                    <a:pt x="191" y="337"/>
                  </a:cubicBezTo>
                  <a:cubicBezTo>
                    <a:pt x="189" y="336"/>
                    <a:pt x="178" y="322"/>
                    <a:pt x="177" y="321"/>
                  </a:cubicBezTo>
                  <a:cubicBezTo>
                    <a:pt x="177" y="320"/>
                    <a:pt x="174" y="320"/>
                    <a:pt x="173" y="317"/>
                  </a:cubicBezTo>
                  <a:cubicBezTo>
                    <a:pt x="172" y="314"/>
                    <a:pt x="171" y="312"/>
                    <a:pt x="170" y="310"/>
                  </a:cubicBezTo>
                  <a:cubicBezTo>
                    <a:pt x="168" y="308"/>
                    <a:pt x="165" y="305"/>
                    <a:pt x="163" y="302"/>
                  </a:cubicBezTo>
                  <a:cubicBezTo>
                    <a:pt x="162" y="300"/>
                    <a:pt x="162" y="299"/>
                    <a:pt x="160" y="297"/>
                  </a:cubicBezTo>
                  <a:cubicBezTo>
                    <a:pt x="157" y="295"/>
                    <a:pt x="158" y="291"/>
                    <a:pt x="158" y="288"/>
                  </a:cubicBezTo>
                  <a:cubicBezTo>
                    <a:pt x="158" y="286"/>
                    <a:pt x="157" y="284"/>
                    <a:pt x="154" y="281"/>
                  </a:cubicBezTo>
                  <a:cubicBezTo>
                    <a:pt x="152" y="278"/>
                    <a:pt x="151" y="280"/>
                    <a:pt x="150" y="278"/>
                  </a:cubicBezTo>
                  <a:cubicBezTo>
                    <a:pt x="148" y="275"/>
                    <a:pt x="146" y="271"/>
                    <a:pt x="146" y="269"/>
                  </a:cubicBezTo>
                  <a:cubicBezTo>
                    <a:pt x="146" y="267"/>
                    <a:pt x="149" y="266"/>
                    <a:pt x="148" y="264"/>
                  </a:cubicBezTo>
                  <a:cubicBezTo>
                    <a:pt x="148" y="261"/>
                    <a:pt x="145" y="259"/>
                    <a:pt x="145" y="257"/>
                  </a:cubicBezTo>
                  <a:cubicBezTo>
                    <a:pt x="146" y="255"/>
                    <a:pt x="147" y="250"/>
                    <a:pt x="147" y="249"/>
                  </a:cubicBezTo>
                  <a:cubicBezTo>
                    <a:pt x="147" y="248"/>
                    <a:pt x="146" y="242"/>
                    <a:pt x="149" y="240"/>
                  </a:cubicBezTo>
                  <a:cubicBezTo>
                    <a:pt x="151" y="238"/>
                    <a:pt x="153" y="236"/>
                    <a:pt x="155" y="236"/>
                  </a:cubicBezTo>
                  <a:cubicBezTo>
                    <a:pt x="158" y="237"/>
                    <a:pt x="160" y="237"/>
                    <a:pt x="160" y="238"/>
                  </a:cubicBezTo>
                  <a:cubicBezTo>
                    <a:pt x="160" y="239"/>
                    <a:pt x="155" y="243"/>
                    <a:pt x="157" y="244"/>
                  </a:cubicBezTo>
                  <a:cubicBezTo>
                    <a:pt x="159" y="245"/>
                    <a:pt x="166" y="244"/>
                    <a:pt x="167" y="242"/>
                  </a:cubicBezTo>
                  <a:cubicBezTo>
                    <a:pt x="168" y="241"/>
                    <a:pt x="166" y="236"/>
                    <a:pt x="167" y="234"/>
                  </a:cubicBezTo>
                  <a:cubicBezTo>
                    <a:pt x="169" y="232"/>
                    <a:pt x="169" y="228"/>
                    <a:pt x="169" y="226"/>
                  </a:cubicBezTo>
                  <a:cubicBezTo>
                    <a:pt x="169" y="223"/>
                    <a:pt x="172" y="220"/>
                    <a:pt x="169" y="220"/>
                  </a:cubicBezTo>
                  <a:cubicBezTo>
                    <a:pt x="167" y="219"/>
                    <a:pt x="160" y="219"/>
                    <a:pt x="158" y="219"/>
                  </a:cubicBezTo>
                  <a:cubicBezTo>
                    <a:pt x="156" y="218"/>
                    <a:pt x="155" y="217"/>
                    <a:pt x="152" y="216"/>
                  </a:cubicBezTo>
                  <a:cubicBezTo>
                    <a:pt x="149" y="214"/>
                    <a:pt x="147" y="214"/>
                    <a:pt x="146" y="214"/>
                  </a:cubicBezTo>
                  <a:cubicBezTo>
                    <a:pt x="144" y="213"/>
                    <a:pt x="141" y="212"/>
                    <a:pt x="140" y="210"/>
                  </a:cubicBezTo>
                  <a:cubicBezTo>
                    <a:pt x="139" y="208"/>
                    <a:pt x="143" y="208"/>
                    <a:pt x="144" y="208"/>
                  </a:cubicBezTo>
                  <a:cubicBezTo>
                    <a:pt x="145" y="208"/>
                    <a:pt x="151" y="209"/>
                    <a:pt x="152" y="209"/>
                  </a:cubicBezTo>
                  <a:cubicBezTo>
                    <a:pt x="154" y="209"/>
                    <a:pt x="160" y="212"/>
                    <a:pt x="161" y="212"/>
                  </a:cubicBezTo>
                  <a:cubicBezTo>
                    <a:pt x="163" y="213"/>
                    <a:pt x="167" y="214"/>
                    <a:pt x="168" y="214"/>
                  </a:cubicBezTo>
                  <a:cubicBezTo>
                    <a:pt x="168" y="214"/>
                    <a:pt x="167" y="211"/>
                    <a:pt x="165" y="208"/>
                  </a:cubicBezTo>
                  <a:cubicBezTo>
                    <a:pt x="162" y="205"/>
                    <a:pt x="158" y="202"/>
                    <a:pt x="157" y="203"/>
                  </a:cubicBezTo>
                  <a:cubicBezTo>
                    <a:pt x="155" y="203"/>
                    <a:pt x="151" y="202"/>
                    <a:pt x="151" y="201"/>
                  </a:cubicBezTo>
                  <a:cubicBezTo>
                    <a:pt x="152" y="200"/>
                    <a:pt x="154" y="196"/>
                    <a:pt x="151" y="195"/>
                  </a:cubicBezTo>
                  <a:cubicBezTo>
                    <a:pt x="149" y="194"/>
                    <a:pt x="148" y="194"/>
                    <a:pt x="147" y="194"/>
                  </a:cubicBezTo>
                  <a:cubicBezTo>
                    <a:pt x="145" y="194"/>
                    <a:pt x="146" y="198"/>
                    <a:pt x="145" y="198"/>
                  </a:cubicBezTo>
                  <a:cubicBezTo>
                    <a:pt x="144" y="199"/>
                    <a:pt x="141" y="201"/>
                    <a:pt x="138" y="201"/>
                  </a:cubicBezTo>
                  <a:cubicBezTo>
                    <a:pt x="134" y="201"/>
                    <a:pt x="132" y="200"/>
                    <a:pt x="131" y="197"/>
                  </a:cubicBezTo>
                  <a:cubicBezTo>
                    <a:pt x="130" y="194"/>
                    <a:pt x="132" y="192"/>
                    <a:pt x="132" y="189"/>
                  </a:cubicBezTo>
                  <a:cubicBezTo>
                    <a:pt x="132" y="189"/>
                    <a:pt x="132" y="183"/>
                    <a:pt x="132" y="180"/>
                  </a:cubicBezTo>
                  <a:cubicBezTo>
                    <a:pt x="131" y="178"/>
                    <a:pt x="128" y="172"/>
                    <a:pt x="128" y="170"/>
                  </a:cubicBezTo>
                  <a:cubicBezTo>
                    <a:pt x="127" y="169"/>
                    <a:pt x="124" y="166"/>
                    <a:pt x="124" y="163"/>
                  </a:cubicBezTo>
                  <a:cubicBezTo>
                    <a:pt x="124" y="161"/>
                    <a:pt x="124" y="157"/>
                    <a:pt x="123" y="155"/>
                  </a:cubicBezTo>
                  <a:cubicBezTo>
                    <a:pt x="122" y="153"/>
                    <a:pt x="121" y="150"/>
                    <a:pt x="118" y="150"/>
                  </a:cubicBezTo>
                  <a:cubicBezTo>
                    <a:pt x="114" y="149"/>
                    <a:pt x="110" y="147"/>
                    <a:pt x="110" y="146"/>
                  </a:cubicBezTo>
                  <a:cubicBezTo>
                    <a:pt x="110" y="144"/>
                    <a:pt x="111" y="140"/>
                    <a:pt x="109" y="139"/>
                  </a:cubicBezTo>
                  <a:cubicBezTo>
                    <a:pt x="108" y="138"/>
                    <a:pt x="103" y="137"/>
                    <a:pt x="101" y="136"/>
                  </a:cubicBezTo>
                  <a:cubicBezTo>
                    <a:pt x="100" y="136"/>
                    <a:pt x="94" y="133"/>
                    <a:pt x="92" y="132"/>
                  </a:cubicBezTo>
                  <a:cubicBezTo>
                    <a:pt x="90" y="131"/>
                    <a:pt x="84" y="130"/>
                    <a:pt x="83" y="130"/>
                  </a:cubicBezTo>
                  <a:cubicBezTo>
                    <a:pt x="82" y="130"/>
                    <a:pt x="74" y="127"/>
                    <a:pt x="74" y="128"/>
                  </a:cubicBezTo>
                  <a:cubicBezTo>
                    <a:pt x="73" y="129"/>
                    <a:pt x="72" y="133"/>
                    <a:pt x="68" y="132"/>
                  </a:cubicBezTo>
                  <a:cubicBezTo>
                    <a:pt x="64" y="131"/>
                    <a:pt x="63" y="129"/>
                    <a:pt x="61" y="130"/>
                  </a:cubicBezTo>
                  <a:cubicBezTo>
                    <a:pt x="59" y="131"/>
                    <a:pt x="56" y="133"/>
                    <a:pt x="54" y="133"/>
                  </a:cubicBezTo>
                  <a:cubicBezTo>
                    <a:pt x="52" y="132"/>
                    <a:pt x="50" y="137"/>
                    <a:pt x="48" y="136"/>
                  </a:cubicBezTo>
                  <a:cubicBezTo>
                    <a:pt x="45" y="135"/>
                    <a:pt x="33" y="133"/>
                    <a:pt x="30" y="131"/>
                  </a:cubicBezTo>
                  <a:cubicBezTo>
                    <a:pt x="27" y="129"/>
                    <a:pt x="24" y="127"/>
                    <a:pt x="24" y="126"/>
                  </a:cubicBezTo>
                  <a:cubicBezTo>
                    <a:pt x="25" y="126"/>
                    <a:pt x="31" y="124"/>
                    <a:pt x="31" y="123"/>
                  </a:cubicBezTo>
                  <a:cubicBezTo>
                    <a:pt x="31" y="122"/>
                    <a:pt x="26" y="120"/>
                    <a:pt x="24" y="1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1" name="Freeform 42"/>
            <p:cNvSpPr>
              <a:spLocks/>
            </p:cNvSpPr>
            <p:nvPr>
              <p:custDataLst>
                <p:tags r:id="rId40"/>
              </p:custDataLst>
            </p:nvPr>
          </p:nvSpPr>
          <p:spPr bwMode="auto">
            <a:xfrm>
              <a:off x="1761" y="2668"/>
              <a:ext cx="516" cy="574"/>
            </a:xfrm>
            <a:custGeom>
              <a:avLst/>
              <a:gdLst>
                <a:gd name="T0" fmla="*/ 19050 w 301"/>
                <a:gd name="T1" fmla="*/ 332948 h 312"/>
                <a:gd name="T2" fmla="*/ 21771 w 301"/>
                <a:gd name="T3" fmla="*/ 271615 h 312"/>
                <a:gd name="T4" fmla="*/ 35379 w 301"/>
                <a:gd name="T5" fmla="*/ 233647 h 312"/>
                <a:gd name="T6" fmla="*/ 87086 w 301"/>
                <a:gd name="T7" fmla="*/ 213203 h 312"/>
                <a:gd name="T8" fmla="*/ 84364 w 301"/>
                <a:gd name="T9" fmla="*/ 128506 h 312"/>
                <a:gd name="T10" fmla="*/ 125186 w 301"/>
                <a:gd name="T11" fmla="*/ 87618 h 312"/>
                <a:gd name="T12" fmla="*/ 146957 w 301"/>
                <a:gd name="T13" fmla="*/ 87618 h 312"/>
                <a:gd name="T14" fmla="*/ 214993 w 301"/>
                <a:gd name="T15" fmla="*/ 81777 h 312"/>
                <a:gd name="T16" fmla="*/ 193221 w 301"/>
                <a:gd name="T17" fmla="*/ 29206 h 312"/>
                <a:gd name="T18" fmla="*/ 274864 w 301"/>
                <a:gd name="T19" fmla="*/ 20444 h 312"/>
                <a:gd name="T20" fmla="*/ 288471 w 301"/>
                <a:gd name="T21" fmla="*/ 2921 h 312"/>
                <a:gd name="T22" fmla="*/ 302079 w 301"/>
                <a:gd name="T23" fmla="*/ 37968 h 312"/>
                <a:gd name="T24" fmla="*/ 312964 w 301"/>
                <a:gd name="T25" fmla="*/ 96380 h 312"/>
                <a:gd name="T26" fmla="*/ 359229 w 301"/>
                <a:gd name="T27" fmla="*/ 81777 h 312"/>
                <a:gd name="T28" fmla="*/ 378279 w 301"/>
                <a:gd name="T29" fmla="*/ 81777 h 312"/>
                <a:gd name="T30" fmla="*/ 405493 w 301"/>
                <a:gd name="T31" fmla="*/ 73015 h 312"/>
                <a:gd name="T32" fmla="*/ 440871 w 301"/>
                <a:gd name="T33" fmla="*/ 78856 h 312"/>
                <a:gd name="T34" fmla="*/ 470807 w 301"/>
                <a:gd name="T35" fmla="*/ 29206 h 312"/>
                <a:gd name="T36" fmla="*/ 487136 w 301"/>
                <a:gd name="T37" fmla="*/ 67174 h 312"/>
                <a:gd name="T38" fmla="*/ 484414 w 301"/>
                <a:gd name="T39" fmla="*/ 119744 h 312"/>
                <a:gd name="T40" fmla="*/ 525236 w 301"/>
                <a:gd name="T41" fmla="*/ 125585 h 312"/>
                <a:gd name="T42" fmla="*/ 549729 w 301"/>
                <a:gd name="T43" fmla="*/ 134347 h 312"/>
                <a:gd name="T44" fmla="*/ 612321 w 301"/>
                <a:gd name="T45" fmla="*/ 160633 h 312"/>
                <a:gd name="T46" fmla="*/ 625929 w 301"/>
                <a:gd name="T47" fmla="*/ 181077 h 312"/>
                <a:gd name="T48" fmla="*/ 688521 w 301"/>
                <a:gd name="T49" fmla="*/ 186918 h 312"/>
                <a:gd name="T50" fmla="*/ 767443 w 301"/>
                <a:gd name="T51" fmla="*/ 233647 h 312"/>
                <a:gd name="T52" fmla="*/ 819150 w 301"/>
                <a:gd name="T53" fmla="*/ 297900 h 312"/>
                <a:gd name="T54" fmla="*/ 770164 w 301"/>
                <a:gd name="T55" fmla="*/ 370915 h 312"/>
                <a:gd name="T56" fmla="*/ 729343 w 301"/>
                <a:gd name="T57" fmla="*/ 423486 h 312"/>
                <a:gd name="T58" fmla="*/ 726621 w 301"/>
                <a:gd name="T59" fmla="*/ 505263 h 312"/>
                <a:gd name="T60" fmla="*/ 713014 w 301"/>
                <a:gd name="T61" fmla="*/ 537389 h 312"/>
                <a:gd name="T62" fmla="*/ 691243 w 301"/>
                <a:gd name="T63" fmla="*/ 610404 h 312"/>
                <a:gd name="T64" fmla="*/ 653143 w 301"/>
                <a:gd name="T65" fmla="*/ 648372 h 312"/>
                <a:gd name="T66" fmla="*/ 571500 w 301"/>
                <a:gd name="T67" fmla="*/ 674657 h 312"/>
                <a:gd name="T68" fmla="*/ 530679 w 301"/>
                <a:gd name="T69" fmla="*/ 735989 h 312"/>
                <a:gd name="T70" fmla="*/ 514350 w 301"/>
                <a:gd name="T71" fmla="*/ 788560 h 312"/>
                <a:gd name="T72" fmla="*/ 468086 w 301"/>
                <a:gd name="T73" fmla="*/ 855734 h 312"/>
                <a:gd name="T74" fmla="*/ 432707 w 301"/>
                <a:gd name="T75" fmla="*/ 911225 h 312"/>
                <a:gd name="T76" fmla="*/ 432707 w 301"/>
                <a:gd name="T77" fmla="*/ 879098 h 312"/>
                <a:gd name="T78" fmla="*/ 372836 w 301"/>
                <a:gd name="T79" fmla="*/ 841131 h 312"/>
                <a:gd name="T80" fmla="*/ 351064 w 301"/>
                <a:gd name="T81" fmla="*/ 811925 h 312"/>
                <a:gd name="T82" fmla="*/ 419100 w 301"/>
                <a:gd name="T83" fmla="*/ 747672 h 312"/>
                <a:gd name="T84" fmla="*/ 419100 w 301"/>
                <a:gd name="T85" fmla="*/ 709704 h 312"/>
                <a:gd name="T86" fmla="*/ 408214 w 301"/>
                <a:gd name="T87" fmla="*/ 668816 h 312"/>
                <a:gd name="T88" fmla="*/ 381000 w 301"/>
                <a:gd name="T89" fmla="*/ 633769 h 312"/>
                <a:gd name="T90" fmla="*/ 337457 w 301"/>
                <a:gd name="T91" fmla="*/ 622086 h 312"/>
                <a:gd name="T92" fmla="*/ 342900 w 301"/>
                <a:gd name="T93" fmla="*/ 537389 h 312"/>
                <a:gd name="T94" fmla="*/ 326571 w 301"/>
                <a:gd name="T95" fmla="*/ 493580 h 312"/>
                <a:gd name="T96" fmla="*/ 285750 w 301"/>
                <a:gd name="T97" fmla="*/ 443930 h 312"/>
                <a:gd name="T98" fmla="*/ 253093 w 301"/>
                <a:gd name="T99" fmla="*/ 429327 h 312"/>
                <a:gd name="T100" fmla="*/ 195943 w 301"/>
                <a:gd name="T101" fmla="*/ 397201 h 312"/>
                <a:gd name="T102" fmla="*/ 182336 w 301"/>
                <a:gd name="T103" fmla="*/ 341709 h 312"/>
                <a:gd name="T104" fmla="*/ 114300 w 301"/>
                <a:gd name="T105" fmla="*/ 370915 h 312"/>
                <a:gd name="T106" fmla="*/ 95250 w 301"/>
                <a:gd name="T107" fmla="*/ 370915 h 312"/>
                <a:gd name="T108" fmla="*/ 70757 w 301"/>
                <a:gd name="T109" fmla="*/ 332948 h 31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01" h="312">
                  <a:moveTo>
                    <a:pt x="16" y="119"/>
                  </a:moveTo>
                  <a:cubicBezTo>
                    <a:pt x="13" y="118"/>
                    <a:pt x="9" y="116"/>
                    <a:pt x="7" y="114"/>
                  </a:cubicBezTo>
                  <a:cubicBezTo>
                    <a:pt x="6" y="111"/>
                    <a:pt x="0" y="102"/>
                    <a:pt x="2" y="98"/>
                  </a:cubicBezTo>
                  <a:cubicBezTo>
                    <a:pt x="4" y="95"/>
                    <a:pt x="7" y="95"/>
                    <a:pt x="8" y="93"/>
                  </a:cubicBezTo>
                  <a:cubicBezTo>
                    <a:pt x="9" y="91"/>
                    <a:pt x="5" y="88"/>
                    <a:pt x="6" y="87"/>
                  </a:cubicBezTo>
                  <a:cubicBezTo>
                    <a:pt x="7" y="85"/>
                    <a:pt x="10" y="81"/>
                    <a:pt x="13" y="80"/>
                  </a:cubicBezTo>
                  <a:cubicBezTo>
                    <a:pt x="16" y="78"/>
                    <a:pt x="29" y="76"/>
                    <a:pt x="30" y="76"/>
                  </a:cubicBezTo>
                  <a:cubicBezTo>
                    <a:pt x="31" y="76"/>
                    <a:pt x="31" y="74"/>
                    <a:pt x="32" y="73"/>
                  </a:cubicBezTo>
                  <a:cubicBezTo>
                    <a:pt x="34" y="68"/>
                    <a:pt x="36" y="57"/>
                    <a:pt x="37" y="55"/>
                  </a:cubicBezTo>
                  <a:cubicBezTo>
                    <a:pt x="37" y="52"/>
                    <a:pt x="33" y="46"/>
                    <a:pt x="31" y="44"/>
                  </a:cubicBezTo>
                  <a:cubicBezTo>
                    <a:pt x="30" y="42"/>
                    <a:pt x="32" y="32"/>
                    <a:pt x="33" y="31"/>
                  </a:cubicBezTo>
                  <a:cubicBezTo>
                    <a:pt x="34" y="29"/>
                    <a:pt x="44" y="30"/>
                    <a:pt x="46" y="30"/>
                  </a:cubicBezTo>
                  <a:cubicBezTo>
                    <a:pt x="52" y="26"/>
                    <a:pt x="52" y="26"/>
                    <a:pt x="52" y="26"/>
                  </a:cubicBezTo>
                  <a:cubicBezTo>
                    <a:pt x="53" y="27"/>
                    <a:pt x="54" y="29"/>
                    <a:pt x="54" y="30"/>
                  </a:cubicBezTo>
                  <a:cubicBezTo>
                    <a:pt x="54" y="31"/>
                    <a:pt x="59" y="37"/>
                    <a:pt x="61" y="37"/>
                  </a:cubicBezTo>
                  <a:cubicBezTo>
                    <a:pt x="62" y="37"/>
                    <a:pt x="77" y="29"/>
                    <a:pt x="79" y="28"/>
                  </a:cubicBezTo>
                  <a:cubicBezTo>
                    <a:pt x="82" y="26"/>
                    <a:pt x="77" y="23"/>
                    <a:pt x="76" y="21"/>
                  </a:cubicBezTo>
                  <a:cubicBezTo>
                    <a:pt x="75" y="20"/>
                    <a:pt x="70" y="12"/>
                    <a:pt x="71" y="10"/>
                  </a:cubicBezTo>
                  <a:cubicBezTo>
                    <a:pt x="71" y="9"/>
                    <a:pt x="84" y="13"/>
                    <a:pt x="86" y="13"/>
                  </a:cubicBezTo>
                  <a:cubicBezTo>
                    <a:pt x="86" y="13"/>
                    <a:pt x="100" y="8"/>
                    <a:pt x="101" y="7"/>
                  </a:cubicBezTo>
                  <a:cubicBezTo>
                    <a:pt x="102" y="6"/>
                    <a:pt x="102" y="5"/>
                    <a:pt x="101" y="3"/>
                  </a:cubicBezTo>
                  <a:cubicBezTo>
                    <a:pt x="106" y="1"/>
                    <a:pt x="106" y="1"/>
                    <a:pt x="106" y="1"/>
                  </a:cubicBezTo>
                  <a:cubicBezTo>
                    <a:pt x="107" y="0"/>
                    <a:pt x="108" y="2"/>
                    <a:pt x="108" y="4"/>
                  </a:cubicBezTo>
                  <a:cubicBezTo>
                    <a:pt x="109" y="5"/>
                    <a:pt x="112" y="12"/>
                    <a:pt x="111" y="13"/>
                  </a:cubicBezTo>
                  <a:cubicBezTo>
                    <a:pt x="110" y="14"/>
                    <a:pt x="107" y="21"/>
                    <a:pt x="108" y="22"/>
                  </a:cubicBezTo>
                  <a:cubicBezTo>
                    <a:pt x="108" y="24"/>
                    <a:pt x="113" y="33"/>
                    <a:pt x="115" y="33"/>
                  </a:cubicBezTo>
                  <a:cubicBezTo>
                    <a:pt x="117" y="33"/>
                    <a:pt x="122" y="31"/>
                    <a:pt x="123" y="30"/>
                  </a:cubicBezTo>
                  <a:cubicBezTo>
                    <a:pt x="124" y="30"/>
                    <a:pt x="129" y="28"/>
                    <a:pt x="132" y="28"/>
                  </a:cubicBezTo>
                  <a:cubicBezTo>
                    <a:pt x="132" y="28"/>
                    <a:pt x="133" y="28"/>
                    <a:pt x="133" y="28"/>
                  </a:cubicBezTo>
                  <a:cubicBezTo>
                    <a:pt x="135" y="28"/>
                    <a:pt x="138" y="28"/>
                    <a:pt x="139" y="28"/>
                  </a:cubicBezTo>
                  <a:cubicBezTo>
                    <a:pt x="140" y="28"/>
                    <a:pt x="138" y="23"/>
                    <a:pt x="140" y="23"/>
                  </a:cubicBezTo>
                  <a:cubicBezTo>
                    <a:pt x="142" y="23"/>
                    <a:pt x="148" y="24"/>
                    <a:pt x="149" y="25"/>
                  </a:cubicBezTo>
                  <a:cubicBezTo>
                    <a:pt x="149" y="25"/>
                    <a:pt x="150" y="25"/>
                    <a:pt x="150" y="25"/>
                  </a:cubicBezTo>
                  <a:cubicBezTo>
                    <a:pt x="153" y="26"/>
                    <a:pt x="161" y="27"/>
                    <a:pt x="162" y="27"/>
                  </a:cubicBezTo>
                  <a:cubicBezTo>
                    <a:pt x="163" y="26"/>
                    <a:pt x="168" y="19"/>
                    <a:pt x="168" y="18"/>
                  </a:cubicBezTo>
                  <a:cubicBezTo>
                    <a:pt x="173" y="10"/>
                    <a:pt x="173" y="10"/>
                    <a:pt x="173" y="10"/>
                  </a:cubicBezTo>
                  <a:cubicBezTo>
                    <a:pt x="173" y="10"/>
                    <a:pt x="173" y="10"/>
                    <a:pt x="174" y="11"/>
                  </a:cubicBezTo>
                  <a:cubicBezTo>
                    <a:pt x="177" y="15"/>
                    <a:pt x="178" y="17"/>
                    <a:pt x="179" y="23"/>
                  </a:cubicBezTo>
                  <a:cubicBezTo>
                    <a:pt x="180" y="29"/>
                    <a:pt x="183" y="28"/>
                    <a:pt x="185" y="31"/>
                  </a:cubicBezTo>
                  <a:cubicBezTo>
                    <a:pt x="187" y="33"/>
                    <a:pt x="176" y="41"/>
                    <a:pt x="178" y="41"/>
                  </a:cubicBezTo>
                  <a:cubicBezTo>
                    <a:pt x="179" y="41"/>
                    <a:pt x="182" y="42"/>
                    <a:pt x="184" y="42"/>
                  </a:cubicBezTo>
                  <a:cubicBezTo>
                    <a:pt x="186" y="42"/>
                    <a:pt x="191" y="42"/>
                    <a:pt x="193" y="43"/>
                  </a:cubicBezTo>
                  <a:cubicBezTo>
                    <a:pt x="196" y="44"/>
                    <a:pt x="194" y="52"/>
                    <a:pt x="196" y="51"/>
                  </a:cubicBezTo>
                  <a:cubicBezTo>
                    <a:pt x="197" y="50"/>
                    <a:pt x="199" y="47"/>
                    <a:pt x="202" y="46"/>
                  </a:cubicBezTo>
                  <a:cubicBezTo>
                    <a:pt x="205" y="46"/>
                    <a:pt x="211" y="49"/>
                    <a:pt x="215" y="51"/>
                  </a:cubicBezTo>
                  <a:cubicBezTo>
                    <a:pt x="219" y="52"/>
                    <a:pt x="223" y="52"/>
                    <a:pt x="225" y="55"/>
                  </a:cubicBezTo>
                  <a:cubicBezTo>
                    <a:pt x="226" y="59"/>
                    <a:pt x="225" y="63"/>
                    <a:pt x="226" y="64"/>
                  </a:cubicBezTo>
                  <a:cubicBezTo>
                    <a:pt x="227" y="65"/>
                    <a:pt x="228" y="63"/>
                    <a:pt x="230" y="62"/>
                  </a:cubicBezTo>
                  <a:cubicBezTo>
                    <a:pt x="233" y="62"/>
                    <a:pt x="235" y="60"/>
                    <a:pt x="238" y="62"/>
                  </a:cubicBezTo>
                  <a:cubicBezTo>
                    <a:pt x="241" y="65"/>
                    <a:pt x="248" y="64"/>
                    <a:pt x="253" y="64"/>
                  </a:cubicBezTo>
                  <a:cubicBezTo>
                    <a:pt x="259" y="64"/>
                    <a:pt x="260" y="63"/>
                    <a:pt x="266" y="67"/>
                  </a:cubicBezTo>
                  <a:cubicBezTo>
                    <a:pt x="272" y="70"/>
                    <a:pt x="278" y="77"/>
                    <a:pt x="282" y="80"/>
                  </a:cubicBezTo>
                  <a:cubicBezTo>
                    <a:pt x="286" y="83"/>
                    <a:pt x="293" y="79"/>
                    <a:pt x="296" y="82"/>
                  </a:cubicBezTo>
                  <a:cubicBezTo>
                    <a:pt x="298" y="86"/>
                    <a:pt x="300" y="93"/>
                    <a:pt x="301" y="102"/>
                  </a:cubicBezTo>
                  <a:cubicBezTo>
                    <a:pt x="301" y="111"/>
                    <a:pt x="292" y="120"/>
                    <a:pt x="290" y="122"/>
                  </a:cubicBezTo>
                  <a:cubicBezTo>
                    <a:pt x="288" y="124"/>
                    <a:pt x="285" y="124"/>
                    <a:pt x="283" y="127"/>
                  </a:cubicBezTo>
                  <a:cubicBezTo>
                    <a:pt x="282" y="129"/>
                    <a:pt x="275" y="141"/>
                    <a:pt x="274" y="142"/>
                  </a:cubicBezTo>
                  <a:cubicBezTo>
                    <a:pt x="273" y="144"/>
                    <a:pt x="269" y="144"/>
                    <a:pt x="268" y="145"/>
                  </a:cubicBezTo>
                  <a:cubicBezTo>
                    <a:pt x="267" y="147"/>
                    <a:pt x="268" y="159"/>
                    <a:pt x="268" y="163"/>
                  </a:cubicBezTo>
                  <a:cubicBezTo>
                    <a:pt x="269" y="166"/>
                    <a:pt x="267" y="169"/>
                    <a:pt x="267" y="173"/>
                  </a:cubicBezTo>
                  <a:cubicBezTo>
                    <a:pt x="267" y="176"/>
                    <a:pt x="268" y="178"/>
                    <a:pt x="267" y="179"/>
                  </a:cubicBezTo>
                  <a:cubicBezTo>
                    <a:pt x="266" y="180"/>
                    <a:pt x="264" y="181"/>
                    <a:pt x="262" y="184"/>
                  </a:cubicBezTo>
                  <a:cubicBezTo>
                    <a:pt x="260" y="187"/>
                    <a:pt x="263" y="191"/>
                    <a:pt x="263" y="194"/>
                  </a:cubicBezTo>
                  <a:cubicBezTo>
                    <a:pt x="262" y="196"/>
                    <a:pt x="255" y="206"/>
                    <a:pt x="254" y="209"/>
                  </a:cubicBezTo>
                  <a:cubicBezTo>
                    <a:pt x="252" y="211"/>
                    <a:pt x="247" y="222"/>
                    <a:pt x="246" y="222"/>
                  </a:cubicBezTo>
                  <a:cubicBezTo>
                    <a:pt x="245" y="221"/>
                    <a:pt x="242" y="222"/>
                    <a:pt x="240" y="222"/>
                  </a:cubicBezTo>
                  <a:cubicBezTo>
                    <a:pt x="238" y="222"/>
                    <a:pt x="231" y="223"/>
                    <a:pt x="227" y="224"/>
                  </a:cubicBezTo>
                  <a:cubicBezTo>
                    <a:pt x="224" y="224"/>
                    <a:pt x="211" y="230"/>
                    <a:pt x="210" y="231"/>
                  </a:cubicBezTo>
                  <a:cubicBezTo>
                    <a:pt x="208" y="232"/>
                    <a:pt x="199" y="240"/>
                    <a:pt x="197" y="242"/>
                  </a:cubicBezTo>
                  <a:cubicBezTo>
                    <a:pt x="194" y="244"/>
                    <a:pt x="195" y="248"/>
                    <a:pt x="195" y="252"/>
                  </a:cubicBezTo>
                  <a:cubicBezTo>
                    <a:pt x="195" y="256"/>
                    <a:pt x="194" y="264"/>
                    <a:pt x="194" y="266"/>
                  </a:cubicBezTo>
                  <a:cubicBezTo>
                    <a:pt x="194" y="268"/>
                    <a:pt x="191" y="269"/>
                    <a:pt x="189" y="270"/>
                  </a:cubicBezTo>
                  <a:cubicBezTo>
                    <a:pt x="187" y="272"/>
                    <a:pt x="183" y="280"/>
                    <a:pt x="182" y="284"/>
                  </a:cubicBezTo>
                  <a:cubicBezTo>
                    <a:pt x="181" y="287"/>
                    <a:pt x="177" y="291"/>
                    <a:pt x="172" y="293"/>
                  </a:cubicBezTo>
                  <a:cubicBezTo>
                    <a:pt x="167" y="296"/>
                    <a:pt x="167" y="300"/>
                    <a:pt x="164" y="304"/>
                  </a:cubicBezTo>
                  <a:cubicBezTo>
                    <a:pt x="163" y="307"/>
                    <a:pt x="160" y="310"/>
                    <a:pt x="159" y="312"/>
                  </a:cubicBezTo>
                  <a:cubicBezTo>
                    <a:pt x="156" y="309"/>
                    <a:pt x="156" y="309"/>
                    <a:pt x="156" y="309"/>
                  </a:cubicBezTo>
                  <a:cubicBezTo>
                    <a:pt x="155" y="308"/>
                    <a:pt x="158" y="302"/>
                    <a:pt x="159" y="301"/>
                  </a:cubicBezTo>
                  <a:cubicBezTo>
                    <a:pt x="160" y="299"/>
                    <a:pt x="146" y="291"/>
                    <a:pt x="144" y="289"/>
                  </a:cubicBezTo>
                  <a:cubicBezTo>
                    <a:pt x="142" y="287"/>
                    <a:pt x="138" y="289"/>
                    <a:pt x="137" y="288"/>
                  </a:cubicBezTo>
                  <a:cubicBezTo>
                    <a:pt x="136" y="286"/>
                    <a:pt x="137" y="284"/>
                    <a:pt x="133" y="281"/>
                  </a:cubicBezTo>
                  <a:cubicBezTo>
                    <a:pt x="129" y="278"/>
                    <a:pt x="129" y="278"/>
                    <a:pt x="129" y="278"/>
                  </a:cubicBezTo>
                  <a:cubicBezTo>
                    <a:pt x="133" y="274"/>
                    <a:pt x="138" y="269"/>
                    <a:pt x="141" y="266"/>
                  </a:cubicBezTo>
                  <a:cubicBezTo>
                    <a:pt x="145" y="263"/>
                    <a:pt x="151" y="257"/>
                    <a:pt x="154" y="256"/>
                  </a:cubicBezTo>
                  <a:cubicBezTo>
                    <a:pt x="156" y="255"/>
                    <a:pt x="156" y="250"/>
                    <a:pt x="157" y="249"/>
                  </a:cubicBezTo>
                  <a:cubicBezTo>
                    <a:pt x="158" y="247"/>
                    <a:pt x="156" y="243"/>
                    <a:pt x="154" y="243"/>
                  </a:cubicBezTo>
                  <a:cubicBezTo>
                    <a:pt x="154" y="243"/>
                    <a:pt x="151" y="243"/>
                    <a:pt x="149" y="243"/>
                  </a:cubicBezTo>
                  <a:cubicBezTo>
                    <a:pt x="149" y="241"/>
                    <a:pt x="152" y="230"/>
                    <a:pt x="150" y="229"/>
                  </a:cubicBezTo>
                  <a:cubicBezTo>
                    <a:pt x="149" y="227"/>
                    <a:pt x="143" y="231"/>
                    <a:pt x="142" y="229"/>
                  </a:cubicBezTo>
                  <a:cubicBezTo>
                    <a:pt x="141" y="227"/>
                    <a:pt x="141" y="219"/>
                    <a:pt x="140" y="217"/>
                  </a:cubicBezTo>
                  <a:cubicBezTo>
                    <a:pt x="140" y="215"/>
                    <a:pt x="136" y="215"/>
                    <a:pt x="134" y="215"/>
                  </a:cubicBezTo>
                  <a:cubicBezTo>
                    <a:pt x="132" y="215"/>
                    <a:pt x="124" y="215"/>
                    <a:pt x="124" y="213"/>
                  </a:cubicBezTo>
                  <a:cubicBezTo>
                    <a:pt x="124" y="212"/>
                    <a:pt x="123" y="200"/>
                    <a:pt x="123" y="197"/>
                  </a:cubicBezTo>
                  <a:cubicBezTo>
                    <a:pt x="123" y="194"/>
                    <a:pt x="126" y="186"/>
                    <a:pt x="126" y="184"/>
                  </a:cubicBezTo>
                  <a:cubicBezTo>
                    <a:pt x="127" y="181"/>
                    <a:pt x="121" y="177"/>
                    <a:pt x="120" y="176"/>
                  </a:cubicBezTo>
                  <a:cubicBezTo>
                    <a:pt x="120" y="175"/>
                    <a:pt x="122" y="169"/>
                    <a:pt x="120" y="169"/>
                  </a:cubicBezTo>
                  <a:cubicBezTo>
                    <a:pt x="119" y="169"/>
                    <a:pt x="106" y="168"/>
                    <a:pt x="106" y="167"/>
                  </a:cubicBezTo>
                  <a:cubicBezTo>
                    <a:pt x="106" y="166"/>
                    <a:pt x="105" y="154"/>
                    <a:pt x="105" y="152"/>
                  </a:cubicBezTo>
                  <a:cubicBezTo>
                    <a:pt x="106" y="150"/>
                    <a:pt x="103" y="148"/>
                    <a:pt x="101" y="146"/>
                  </a:cubicBezTo>
                  <a:cubicBezTo>
                    <a:pt x="99" y="145"/>
                    <a:pt x="94" y="147"/>
                    <a:pt x="93" y="147"/>
                  </a:cubicBezTo>
                  <a:cubicBezTo>
                    <a:pt x="91" y="146"/>
                    <a:pt x="86" y="141"/>
                    <a:pt x="84" y="140"/>
                  </a:cubicBezTo>
                  <a:cubicBezTo>
                    <a:pt x="82" y="139"/>
                    <a:pt x="74" y="137"/>
                    <a:pt x="72" y="136"/>
                  </a:cubicBezTo>
                  <a:cubicBezTo>
                    <a:pt x="69" y="135"/>
                    <a:pt x="67" y="129"/>
                    <a:pt x="66" y="127"/>
                  </a:cubicBezTo>
                  <a:cubicBezTo>
                    <a:pt x="66" y="125"/>
                    <a:pt x="68" y="119"/>
                    <a:pt x="67" y="117"/>
                  </a:cubicBezTo>
                  <a:cubicBezTo>
                    <a:pt x="66" y="115"/>
                    <a:pt x="64" y="116"/>
                    <a:pt x="61" y="117"/>
                  </a:cubicBezTo>
                  <a:cubicBezTo>
                    <a:pt x="58" y="117"/>
                    <a:pt x="43" y="126"/>
                    <a:pt x="42" y="127"/>
                  </a:cubicBezTo>
                  <a:cubicBezTo>
                    <a:pt x="37" y="129"/>
                    <a:pt x="37" y="129"/>
                    <a:pt x="37" y="129"/>
                  </a:cubicBezTo>
                  <a:cubicBezTo>
                    <a:pt x="36" y="128"/>
                    <a:pt x="35" y="127"/>
                    <a:pt x="35" y="127"/>
                  </a:cubicBezTo>
                  <a:cubicBezTo>
                    <a:pt x="33" y="126"/>
                    <a:pt x="29" y="126"/>
                    <a:pt x="28" y="126"/>
                  </a:cubicBezTo>
                  <a:cubicBezTo>
                    <a:pt x="26" y="126"/>
                    <a:pt x="27" y="115"/>
                    <a:pt x="26" y="114"/>
                  </a:cubicBezTo>
                  <a:cubicBezTo>
                    <a:pt x="25" y="114"/>
                    <a:pt x="18" y="121"/>
                    <a:pt x="16" y="11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2" name="Freeform 43"/>
            <p:cNvSpPr>
              <a:spLocks/>
            </p:cNvSpPr>
            <p:nvPr>
              <p:custDataLst>
                <p:tags r:id="rId41"/>
              </p:custDataLst>
            </p:nvPr>
          </p:nvSpPr>
          <p:spPr bwMode="auto">
            <a:xfrm>
              <a:off x="1910" y="3021"/>
              <a:ext cx="111" cy="122"/>
            </a:xfrm>
            <a:custGeom>
              <a:avLst/>
              <a:gdLst>
                <a:gd name="T0" fmla="*/ 46086 w 65"/>
                <a:gd name="T1" fmla="*/ 111510 h 66"/>
                <a:gd name="T2" fmla="*/ 2711 w 65"/>
                <a:gd name="T3" fmla="*/ 70427 h 66"/>
                <a:gd name="T4" fmla="*/ 0 w 65"/>
                <a:gd name="T5" fmla="*/ 67493 h 66"/>
                <a:gd name="T6" fmla="*/ 0 w 65"/>
                <a:gd name="T7" fmla="*/ 67493 h 66"/>
                <a:gd name="T8" fmla="*/ 8133 w 65"/>
                <a:gd name="T9" fmla="*/ 46952 h 66"/>
                <a:gd name="T10" fmla="*/ 18977 w 65"/>
                <a:gd name="T11" fmla="*/ 8803 h 66"/>
                <a:gd name="T12" fmla="*/ 51508 w 65"/>
                <a:gd name="T13" fmla="*/ 0 h 66"/>
                <a:gd name="T14" fmla="*/ 81329 w 65"/>
                <a:gd name="T15" fmla="*/ 2934 h 66"/>
                <a:gd name="T16" fmla="*/ 97595 w 65"/>
                <a:gd name="T17" fmla="*/ 14672 h 66"/>
                <a:gd name="T18" fmla="*/ 100306 w 65"/>
                <a:gd name="T19" fmla="*/ 61624 h 66"/>
                <a:gd name="T20" fmla="*/ 127416 w 65"/>
                <a:gd name="T21" fmla="*/ 67493 h 66"/>
                <a:gd name="T22" fmla="*/ 143681 w 65"/>
                <a:gd name="T23" fmla="*/ 73362 h 66"/>
                <a:gd name="T24" fmla="*/ 149103 w 65"/>
                <a:gd name="T25" fmla="*/ 108575 h 66"/>
                <a:gd name="T26" fmla="*/ 170791 w 65"/>
                <a:gd name="T27" fmla="*/ 108575 h 66"/>
                <a:gd name="T28" fmla="*/ 168080 w 65"/>
                <a:gd name="T29" fmla="*/ 149658 h 66"/>
                <a:gd name="T30" fmla="*/ 154525 w 65"/>
                <a:gd name="T31" fmla="*/ 176068 h 66"/>
                <a:gd name="T32" fmla="*/ 121994 w 65"/>
                <a:gd name="T33" fmla="*/ 193675 h 66"/>
                <a:gd name="T34" fmla="*/ 84040 w 65"/>
                <a:gd name="T35" fmla="*/ 187806 h 66"/>
                <a:gd name="T36" fmla="*/ 105728 w 65"/>
                <a:gd name="T37" fmla="*/ 146723 h 66"/>
                <a:gd name="T38" fmla="*/ 46086 w 65"/>
                <a:gd name="T39" fmla="*/ 111510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5" h="66">
                  <a:moveTo>
                    <a:pt x="17" y="38"/>
                  </a:moveTo>
                  <a:cubicBezTo>
                    <a:pt x="15" y="37"/>
                    <a:pt x="1" y="27"/>
                    <a:pt x="1" y="24"/>
                  </a:cubicBezTo>
                  <a:cubicBezTo>
                    <a:pt x="1" y="24"/>
                    <a:pt x="1" y="23"/>
                    <a:pt x="0" y="23"/>
                  </a:cubicBezTo>
                  <a:cubicBezTo>
                    <a:pt x="0" y="23"/>
                    <a:pt x="0" y="23"/>
                    <a:pt x="0" y="23"/>
                  </a:cubicBezTo>
                  <a:cubicBezTo>
                    <a:pt x="3" y="16"/>
                    <a:pt x="3" y="16"/>
                    <a:pt x="3" y="16"/>
                  </a:cubicBezTo>
                  <a:cubicBezTo>
                    <a:pt x="3" y="14"/>
                    <a:pt x="5" y="4"/>
                    <a:pt x="7" y="3"/>
                  </a:cubicBezTo>
                  <a:cubicBezTo>
                    <a:pt x="7" y="2"/>
                    <a:pt x="17" y="0"/>
                    <a:pt x="19" y="0"/>
                  </a:cubicBezTo>
                  <a:cubicBezTo>
                    <a:pt x="22" y="0"/>
                    <a:pt x="30" y="1"/>
                    <a:pt x="30" y="1"/>
                  </a:cubicBezTo>
                  <a:cubicBezTo>
                    <a:pt x="36" y="5"/>
                    <a:pt x="36" y="5"/>
                    <a:pt x="36" y="5"/>
                  </a:cubicBezTo>
                  <a:cubicBezTo>
                    <a:pt x="36" y="8"/>
                    <a:pt x="37" y="20"/>
                    <a:pt x="37" y="21"/>
                  </a:cubicBezTo>
                  <a:cubicBezTo>
                    <a:pt x="37" y="23"/>
                    <a:pt x="45" y="23"/>
                    <a:pt x="47" y="23"/>
                  </a:cubicBezTo>
                  <a:cubicBezTo>
                    <a:pt x="49" y="23"/>
                    <a:pt x="53" y="23"/>
                    <a:pt x="53" y="25"/>
                  </a:cubicBezTo>
                  <a:cubicBezTo>
                    <a:pt x="54" y="27"/>
                    <a:pt x="54" y="35"/>
                    <a:pt x="55" y="37"/>
                  </a:cubicBezTo>
                  <a:cubicBezTo>
                    <a:pt x="56" y="39"/>
                    <a:pt x="62" y="35"/>
                    <a:pt x="63" y="37"/>
                  </a:cubicBezTo>
                  <a:cubicBezTo>
                    <a:pt x="65" y="38"/>
                    <a:pt x="62" y="49"/>
                    <a:pt x="62" y="51"/>
                  </a:cubicBezTo>
                  <a:cubicBezTo>
                    <a:pt x="61" y="53"/>
                    <a:pt x="59" y="59"/>
                    <a:pt x="57" y="60"/>
                  </a:cubicBezTo>
                  <a:cubicBezTo>
                    <a:pt x="55" y="61"/>
                    <a:pt x="49" y="66"/>
                    <a:pt x="45" y="66"/>
                  </a:cubicBezTo>
                  <a:cubicBezTo>
                    <a:pt x="41" y="66"/>
                    <a:pt x="33" y="66"/>
                    <a:pt x="31" y="64"/>
                  </a:cubicBezTo>
                  <a:cubicBezTo>
                    <a:pt x="29" y="62"/>
                    <a:pt x="39" y="52"/>
                    <a:pt x="39" y="50"/>
                  </a:cubicBezTo>
                  <a:cubicBezTo>
                    <a:pt x="39" y="49"/>
                    <a:pt x="21" y="40"/>
                    <a:pt x="17" y="3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3" name="Freeform 45"/>
            <p:cNvSpPr>
              <a:spLocks/>
            </p:cNvSpPr>
            <p:nvPr>
              <p:custDataLst>
                <p:tags r:id="rId42"/>
              </p:custDataLst>
            </p:nvPr>
          </p:nvSpPr>
          <p:spPr bwMode="auto">
            <a:xfrm>
              <a:off x="2017" y="2664"/>
              <a:ext cx="40" cy="54"/>
            </a:xfrm>
            <a:custGeom>
              <a:avLst/>
              <a:gdLst>
                <a:gd name="T0" fmla="*/ 8283 w 23"/>
                <a:gd name="T1" fmla="*/ 51435 h 30"/>
                <a:gd name="T2" fmla="*/ 0 w 23"/>
                <a:gd name="T3" fmla="*/ 34290 h 30"/>
                <a:gd name="T4" fmla="*/ 8283 w 23"/>
                <a:gd name="T5" fmla="*/ 17145 h 30"/>
                <a:gd name="T6" fmla="*/ 8283 w 23"/>
                <a:gd name="T7" fmla="*/ 0 h 30"/>
                <a:gd name="T8" fmla="*/ 8283 w 23"/>
                <a:gd name="T9" fmla="*/ 0 h 30"/>
                <a:gd name="T10" fmla="*/ 24848 w 23"/>
                <a:gd name="T11" fmla="*/ 5715 h 30"/>
                <a:gd name="T12" fmla="*/ 63500 w 23"/>
                <a:gd name="T13" fmla="*/ 37148 h 30"/>
                <a:gd name="T14" fmla="*/ 49696 w 23"/>
                <a:gd name="T15" fmla="*/ 60008 h 30"/>
                <a:gd name="T16" fmla="*/ 33130 w 23"/>
                <a:gd name="T17" fmla="*/ 85725 h 30"/>
                <a:gd name="T18" fmla="*/ 0 w 23"/>
                <a:gd name="T19" fmla="*/ 80010 h 30"/>
                <a:gd name="T20" fmla="*/ 8283 w 23"/>
                <a:gd name="T21" fmla="*/ 51435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30">
                  <a:moveTo>
                    <a:pt x="3" y="18"/>
                  </a:moveTo>
                  <a:cubicBezTo>
                    <a:pt x="3" y="16"/>
                    <a:pt x="0" y="14"/>
                    <a:pt x="0" y="12"/>
                  </a:cubicBezTo>
                  <a:cubicBezTo>
                    <a:pt x="0" y="9"/>
                    <a:pt x="3" y="7"/>
                    <a:pt x="3" y="6"/>
                  </a:cubicBezTo>
                  <a:cubicBezTo>
                    <a:pt x="3" y="5"/>
                    <a:pt x="3" y="0"/>
                    <a:pt x="3" y="0"/>
                  </a:cubicBezTo>
                  <a:cubicBezTo>
                    <a:pt x="3" y="0"/>
                    <a:pt x="3" y="0"/>
                    <a:pt x="3" y="0"/>
                  </a:cubicBezTo>
                  <a:cubicBezTo>
                    <a:pt x="5" y="1"/>
                    <a:pt x="7" y="1"/>
                    <a:pt x="9" y="2"/>
                  </a:cubicBezTo>
                  <a:cubicBezTo>
                    <a:pt x="14" y="4"/>
                    <a:pt x="19" y="8"/>
                    <a:pt x="23" y="13"/>
                  </a:cubicBezTo>
                  <a:cubicBezTo>
                    <a:pt x="18" y="21"/>
                    <a:pt x="18" y="21"/>
                    <a:pt x="18" y="21"/>
                  </a:cubicBezTo>
                  <a:cubicBezTo>
                    <a:pt x="18" y="22"/>
                    <a:pt x="13" y="29"/>
                    <a:pt x="12" y="30"/>
                  </a:cubicBezTo>
                  <a:cubicBezTo>
                    <a:pt x="11" y="30"/>
                    <a:pt x="3" y="29"/>
                    <a:pt x="0" y="28"/>
                  </a:cubicBezTo>
                  <a:cubicBezTo>
                    <a:pt x="0" y="28"/>
                    <a:pt x="3" y="20"/>
                    <a:pt x="3"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4" name="Freeform 46"/>
            <p:cNvSpPr>
              <a:spLocks/>
            </p:cNvSpPr>
            <p:nvPr>
              <p:custDataLst>
                <p:tags r:id="rId43"/>
              </p:custDataLst>
            </p:nvPr>
          </p:nvSpPr>
          <p:spPr bwMode="auto">
            <a:xfrm>
              <a:off x="1970" y="2661"/>
              <a:ext cx="52" cy="59"/>
            </a:xfrm>
            <a:custGeom>
              <a:avLst/>
              <a:gdLst>
                <a:gd name="T0" fmla="*/ 15977 w 31"/>
                <a:gd name="T1" fmla="*/ 61466 h 32"/>
                <a:gd name="T2" fmla="*/ 5326 w 31"/>
                <a:gd name="T3" fmla="*/ 52685 h 32"/>
                <a:gd name="T4" fmla="*/ 2663 w 31"/>
                <a:gd name="T5" fmla="*/ 32197 h 32"/>
                <a:gd name="T6" fmla="*/ 15977 w 31"/>
                <a:gd name="T7" fmla="*/ 20489 h 32"/>
                <a:gd name="T8" fmla="*/ 21303 w 31"/>
                <a:gd name="T9" fmla="*/ 0 h 32"/>
                <a:gd name="T10" fmla="*/ 53258 w 31"/>
                <a:gd name="T11" fmla="*/ 2927 h 32"/>
                <a:gd name="T12" fmla="*/ 82550 w 31"/>
                <a:gd name="T13" fmla="*/ 2927 h 32"/>
                <a:gd name="T14" fmla="*/ 82550 w 31"/>
                <a:gd name="T15" fmla="*/ 2927 h 32"/>
                <a:gd name="T16" fmla="*/ 82550 w 31"/>
                <a:gd name="T17" fmla="*/ 20489 h 32"/>
                <a:gd name="T18" fmla="*/ 74561 w 31"/>
                <a:gd name="T19" fmla="*/ 38051 h 32"/>
                <a:gd name="T20" fmla="*/ 82550 w 31"/>
                <a:gd name="T21" fmla="*/ 55612 h 32"/>
                <a:gd name="T22" fmla="*/ 74561 w 31"/>
                <a:gd name="T23" fmla="*/ 84882 h 32"/>
                <a:gd name="T24" fmla="*/ 71898 w 31"/>
                <a:gd name="T25" fmla="*/ 84882 h 32"/>
                <a:gd name="T26" fmla="*/ 47932 w 31"/>
                <a:gd name="T27" fmla="*/ 79028 h 32"/>
                <a:gd name="T28" fmla="*/ 45269 w 31"/>
                <a:gd name="T29" fmla="*/ 93663 h 32"/>
                <a:gd name="T30" fmla="*/ 29292 w 31"/>
                <a:gd name="T31" fmla="*/ 93663 h 32"/>
                <a:gd name="T32" fmla="*/ 26629 w 31"/>
                <a:gd name="T33" fmla="*/ 93663 h 32"/>
                <a:gd name="T34" fmla="*/ 26629 w 31"/>
                <a:gd name="T35" fmla="*/ 93663 h 32"/>
                <a:gd name="T36" fmla="*/ 15977 w 31"/>
                <a:gd name="T37" fmla="*/ 61466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1" h="32">
                  <a:moveTo>
                    <a:pt x="6" y="21"/>
                  </a:moveTo>
                  <a:cubicBezTo>
                    <a:pt x="6" y="21"/>
                    <a:pt x="2" y="19"/>
                    <a:pt x="2" y="18"/>
                  </a:cubicBezTo>
                  <a:cubicBezTo>
                    <a:pt x="1" y="17"/>
                    <a:pt x="0" y="13"/>
                    <a:pt x="1" y="11"/>
                  </a:cubicBezTo>
                  <a:cubicBezTo>
                    <a:pt x="1" y="8"/>
                    <a:pt x="6" y="9"/>
                    <a:pt x="6" y="7"/>
                  </a:cubicBezTo>
                  <a:cubicBezTo>
                    <a:pt x="8" y="0"/>
                    <a:pt x="8" y="0"/>
                    <a:pt x="8" y="0"/>
                  </a:cubicBezTo>
                  <a:cubicBezTo>
                    <a:pt x="10" y="0"/>
                    <a:pt x="12" y="1"/>
                    <a:pt x="20" y="1"/>
                  </a:cubicBezTo>
                  <a:cubicBezTo>
                    <a:pt x="26" y="1"/>
                    <a:pt x="29" y="1"/>
                    <a:pt x="31" y="1"/>
                  </a:cubicBezTo>
                  <a:cubicBezTo>
                    <a:pt x="31" y="1"/>
                    <a:pt x="31" y="1"/>
                    <a:pt x="31" y="1"/>
                  </a:cubicBezTo>
                  <a:cubicBezTo>
                    <a:pt x="31" y="1"/>
                    <a:pt x="31" y="6"/>
                    <a:pt x="31" y="7"/>
                  </a:cubicBezTo>
                  <a:cubicBezTo>
                    <a:pt x="31" y="8"/>
                    <a:pt x="28" y="10"/>
                    <a:pt x="28" y="13"/>
                  </a:cubicBezTo>
                  <a:cubicBezTo>
                    <a:pt x="28" y="15"/>
                    <a:pt x="31" y="17"/>
                    <a:pt x="31" y="19"/>
                  </a:cubicBezTo>
                  <a:cubicBezTo>
                    <a:pt x="31" y="21"/>
                    <a:pt x="28" y="29"/>
                    <a:pt x="28" y="29"/>
                  </a:cubicBezTo>
                  <a:cubicBezTo>
                    <a:pt x="28" y="29"/>
                    <a:pt x="27" y="29"/>
                    <a:pt x="27" y="29"/>
                  </a:cubicBezTo>
                  <a:cubicBezTo>
                    <a:pt x="26" y="28"/>
                    <a:pt x="20" y="27"/>
                    <a:pt x="18" y="27"/>
                  </a:cubicBezTo>
                  <a:cubicBezTo>
                    <a:pt x="16" y="27"/>
                    <a:pt x="18" y="32"/>
                    <a:pt x="17" y="32"/>
                  </a:cubicBezTo>
                  <a:cubicBezTo>
                    <a:pt x="16" y="32"/>
                    <a:pt x="13" y="32"/>
                    <a:pt x="11" y="32"/>
                  </a:cubicBezTo>
                  <a:cubicBezTo>
                    <a:pt x="11" y="32"/>
                    <a:pt x="10" y="32"/>
                    <a:pt x="10" y="32"/>
                  </a:cubicBezTo>
                  <a:cubicBezTo>
                    <a:pt x="10" y="32"/>
                    <a:pt x="10" y="32"/>
                    <a:pt x="10" y="32"/>
                  </a:cubicBezTo>
                  <a:cubicBezTo>
                    <a:pt x="10" y="32"/>
                    <a:pt x="6" y="22"/>
                    <a:pt x="6"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5" name="Freeform 47"/>
            <p:cNvSpPr>
              <a:spLocks/>
            </p:cNvSpPr>
            <p:nvPr>
              <p:custDataLst>
                <p:tags r:id="rId44"/>
              </p:custDataLst>
            </p:nvPr>
          </p:nvSpPr>
          <p:spPr bwMode="auto">
            <a:xfrm>
              <a:off x="1925" y="2629"/>
              <a:ext cx="62" cy="100"/>
            </a:xfrm>
            <a:custGeom>
              <a:avLst/>
              <a:gdLst>
                <a:gd name="T0" fmla="*/ 13670 w 36"/>
                <a:gd name="T1" fmla="*/ 72159 h 55"/>
                <a:gd name="T2" fmla="*/ 2734 w 36"/>
                <a:gd name="T3" fmla="*/ 57727 h 55"/>
                <a:gd name="T4" fmla="*/ 16404 w 36"/>
                <a:gd name="T5" fmla="*/ 31750 h 55"/>
                <a:gd name="T6" fmla="*/ 27340 w 36"/>
                <a:gd name="T7" fmla="*/ 14432 h 55"/>
                <a:gd name="T8" fmla="*/ 38276 w 36"/>
                <a:gd name="T9" fmla="*/ 0 h 55"/>
                <a:gd name="T10" fmla="*/ 65617 w 36"/>
                <a:gd name="T11" fmla="*/ 28864 h 55"/>
                <a:gd name="T12" fmla="*/ 92957 w 36"/>
                <a:gd name="T13" fmla="*/ 51955 h 55"/>
                <a:gd name="T14" fmla="*/ 87489 w 36"/>
                <a:gd name="T15" fmla="*/ 72159 h 55"/>
                <a:gd name="T16" fmla="*/ 73819 w 36"/>
                <a:gd name="T17" fmla="*/ 83705 h 55"/>
                <a:gd name="T18" fmla="*/ 76553 w 36"/>
                <a:gd name="T19" fmla="*/ 103909 h 55"/>
                <a:gd name="T20" fmla="*/ 87489 w 36"/>
                <a:gd name="T21" fmla="*/ 112568 h 55"/>
                <a:gd name="T22" fmla="*/ 98425 w 36"/>
                <a:gd name="T23" fmla="*/ 144318 h 55"/>
                <a:gd name="T24" fmla="*/ 98425 w 36"/>
                <a:gd name="T25" fmla="*/ 144318 h 55"/>
                <a:gd name="T26" fmla="*/ 73819 w 36"/>
                <a:gd name="T27" fmla="*/ 150091 h 55"/>
                <a:gd name="T28" fmla="*/ 51947 w 36"/>
                <a:gd name="T29" fmla="*/ 158750 h 55"/>
                <a:gd name="T30" fmla="*/ 32808 w 36"/>
                <a:gd name="T31" fmla="*/ 127000 h 55"/>
                <a:gd name="T32" fmla="*/ 41010 w 36"/>
                <a:gd name="T33" fmla="*/ 101023 h 55"/>
                <a:gd name="T34" fmla="*/ 32808 w 36"/>
                <a:gd name="T35" fmla="*/ 75045 h 55"/>
                <a:gd name="T36" fmla="*/ 27340 w 36"/>
                <a:gd name="T37" fmla="*/ 66386 h 55"/>
                <a:gd name="T38" fmla="*/ 13670 w 36"/>
                <a:gd name="T39" fmla="*/ 72159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 h="55">
                  <a:moveTo>
                    <a:pt x="5" y="25"/>
                  </a:moveTo>
                  <a:cubicBezTo>
                    <a:pt x="4" y="23"/>
                    <a:pt x="2" y="21"/>
                    <a:pt x="1" y="20"/>
                  </a:cubicBezTo>
                  <a:cubicBezTo>
                    <a:pt x="0" y="18"/>
                    <a:pt x="4" y="12"/>
                    <a:pt x="6" y="11"/>
                  </a:cubicBezTo>
                  <a:cubicBezTo>
                    <a:pt x="7" y="9"/>
                    <a:pt x="9" y="6"/>
                    <a:pt x="10" y="5"/>
                  </a:cubicBezTo>
                  <a:cubicBezTo>
                    <a:pt x="14" y="0"/>
                    <a:pt x="14" y="0"/>
                    <a:pt x="14" y="0"/>
                  </a:cubicBezTo>
                  <a:cubicBezTo>
                    <a:pt x="16" y="2"/>
                    <a:pt x="20" y="5"/>
                    <a:pt x="24" y="10"/>
                  </a:cubicBezTo>
                  <a:cubicBezTo>
                    <a:pt x="28" y="14"/>
                    <a:pt x="32" y="17"/>
                    <a:pt x="34" y="18"/>
                  </a:cubicBezTo>
                  <a:cubicBezTo>
                    <a:pt x="32" y="25"/>
                    <a:pt x="32" y="25"/>
                    <a:pt x="32" y="25"/>
                  </a:cubicBezTo>
                  <a:cubicBezTo>
                    <a:pt x="32" y="27"/>
                    <a:pt x="27" y="26"/>
                    <a:pt x="27" y="29"/>
                  </a:cubicBezTo>
                  <a:cubicBezTo>
                    <a:pt x="26" y="31"/>
                    <a:pt x="27" y="35"/>
                    <a:pt x="28" y="36"/>
                  </a:cubicBezTo>
                  <a:cubicBezTo>
                    <a:pt x="28" y="37"/>
                    <a:pt x="32" y="39"/>
                    <a:pt x="32" y="39"/>
                  </a:cubicBezTo>
                  <a:cubicBezTo>
                    <a:pt x="32" y="40"/>
                    <a:pt x="36" y="50"/>
                    <a:pt x="36" y="50"/>
                  </a:cubicBezTo>
                  <a:cubicBezTo>
                    <a:pt x="36" y="50"/>
                    <a:pt x="36" y="50"/>
                    <a:pt x="36" y="50"/>
                  </a:cubicBezTo>
                  <a:cubicBezTo>
                    <a:pt x="33" y="50"/>
                    <a:pt x="28" y="52"/>
                    <a:pt x="27" y="52"/>
                  </a:cubicBezTo>
                  <a:cubicBezTo>
                    <a:pt x="26" y="53"/>
                    <a:pt x="21" y="55"/>
                    <a:pt x="19" y="55"/>
                  </a:cubicBezTo>
                  <a:cubicBezTo>
                    <a:pt x="17" y="55"/>
                    <a:pt x="12" y="46"/>
                    <a:pt x="12" y="44"/>
                  </a:cubicBezTo>
                  <a:cubicBezTo>
                    <a:pt x="11" y="43"/>
                    <a:pt x="14" y="36"/>
                    <a:pt x="15" y="35"/>
                  </a:cubicBezTo>
                  <a:cubicBezTo>
                    <a:pt x="16" y="34"/>
                    <a:pt x="13" y="27"/>
                    <a:pt x="12" y="26"/>
                  </a:cubicBezTo>
                  <a:cubicBezTo>
                    <a:pt x="12" y="24"/>
                    <a:pt x="11" y="22"/>
                    <a:pt x="10" y="23"/>
                  </a:cubicBezTo>
                  <a:lnTo>
                    <a:pt x="5" y="25"/>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6" name="Freeform 49"/>
            <p:cNvSpPr>
              <a:spLocks/>
            </p:cNvSpPr>
            <p:nvPr>
              <p:custDataLst>
                <p:tags r:id="rId45"/>
              </p:custDataLst>
            </p:nvPr>
          </p:nvSpPr>
          <p:spPr bwMode="auto">
            <a:xfrm>
              <a:off x="1967" y="3179"/>
              <a:ext cx="68" cy="79"/>
            </a:xfrm>
            <a:custGeom>
              <a:avLst/>
              <a:gdLst>
                <a:gd name="T0" fmla="*/ 0 w 40"/>
                <a:gd name="T1" fmla="*/ 102080 h 43"/>
                <a:gd name="T2" fmla="*/ 8096 w 40"/>
                <a:gd name="T3" fmla="*/ 32082 h 43"/>
                <a:gd name="T4" fmla="*/ 16193 w 40"/>
                <a:gd name="T5" fmla="*/ 8750 h 43"/>
                <a:gd name="T6" fmla="*/ 24289 w 40"/>
                <a:gd name="T7" fmla="*/ 0 h 43"/>
                <a:gd name="T8" fmla="*/ 35084 w 40"/>
                <a:gd name="T9" fmla="*/ 8750 h 43"/>
                <a:gd name="T10" fmla="*/ 45879 w 40"/>
                <a:gd name="T11" fmla="*/ 29166 h 43"/>
                <a:gd name="T12" fmla="*/ 64770 w 40"/>
                <a:gd name="T13" fmla="*/ 32082 h 43"/>
                <a:gd name="T14" fmla="*/ 105251 w 40"/>
                <a:gd name="T15" fmla="*/ 67081 h 43"/>
                <a:gd name="T16" fmla="*/ 97155 w 40"/>
                <a:gd name="T17" fmla="*/ 90414 h 43"/>
                <a:gd name="T18" fmla="*/ 105251 w 40"/>
                <a:gd name="T19" fmla="*/ 99164 h 43"/>
                <a:gd name="T20" fmla="*/ 99854 w 40"/>
                <a:gd name="T21" fmla="*/ 107914 h 43"/>
                <a:gd name="T22" fmla="*/ 72866 w 40"/>
                <a:gd name="T23" fmla="*/ 122496 h 43"/>
                <a:gd name="T24" fmla="*/ 59373 w 40"/>
                <a:gd name="T25" fmla="*/ 116663 h 43"/>
                <a:gd name="T26" fmla="*/ 43180 w 40"/>
                <a:gd name="T27" fmla="*/ 122496 h 43"/>
                <a:gd name="T28" fmla="*/ 18891 w 40"/>
                <a:gd name="T29" fmla="*/ 107914 h 43"/>
                <a:gd name="T30" fmla="*/ 0 w 40"/>
                <a:gd name="T31" fmla="*/ 10208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0" h="43">
                  <a:moveTo>
                    <a:pt x="0" y="35"/>
                  </a:moveTo>
                  <a:cubicBezTo>
                    <a:pt x="0" y="35"/>
                    <a:pt x="3" y="14"/>
                    <a:pt x="3" y="11"/>
                  </a:cubicBezTo>
                  <a:cubicBezTo>
                    <a:pt x="3" y="9"/>
                    <a:pt x="4" y="5"/>
                    <a:pt x="6" y="3"/>
                  </a:cubicBezTo>
                  <a:cubicBezTo>
                    <a:pt x="7" y="3"/>
                    <a:pt x="8" y="2"/>
                    <a:pt x="9" y="0"/>
                  </a:cubicBezTo>
                  <a:cubicBezTo>
                    <a:pt x="13" y="3"/>
                    <a:pt x="13" y="3"/>
                    <a:pt x="13" y="3"/>
                  </a:cubicBezTo>
                  <a:cubicBezTo>
                    <a:pt x="17" y="6"/>
                    <a:pt x="16" y="8"/>
                    <a:pt x="17" y="10"/>
                  </a:cubicBezTo>
                  <a:cubicBezTo>
                    <a:pt x="18" y="11"/>
                    <a:pt x="22" y="9"/>
                    <a:pt x="24" y="11"/>
                  </a:cubicBezTo>
                  <a:cubicBezTo>
                    <a:pt x="26" y="13"/>
                    <a:pt x="40" y="21"/>
                    <a:pt x="39" y="23"/>
                  </a:cubicBezTo>
                  <a:cubicBezTo>
                    <a:pt x="38" y="24"/>
                    <a:pt x="35" y="30"/>
                    <a:pt x="36" y="31"/>
                  </a:cubicBezTo>
                  <a:cubicBezTo>
                    <a:pt x="39" y="34"/>
                    <a:pt x="39" y="34"/>
                    <a:pt x="39" y="34"/>
                  </a:cubicBezTo>
                  <a:cubicBezTo>
                    <a:pt x="38" y="35"/>
                    <a:pt x="37" y="36"/>
                    <a:pt x="37" y="37"/>
                  </a:cubicBezTo>
                  <a:cubicBezTo>
                    <a:pt x="36" y="39"/>
                    <a:pt x="30" y="42"/>
                    <a:pt x="27" y="42"/>
                  </a:cubicBezTo>
                  <a:cubicBezTo>
                    <a:pt x="25" y="43"/>
                    <a:pt x="24" y="40"/>
                    <a:pt x="22" y="40"/>
                  </a:cubicBezTo>
                  <a:cubicBezTo>
                    <a:pt x="20" y="40"/>
                    <a:pt x="18" y="43"/>
                    <a:pt x="16" y="42"/>
                  </a:cubicBezTo>
                  <a:cubicBezTo>
                    <a:pt x="15" y="40"/>
                    <a:pt x="9" y="38"/>
                    <a:pt x="7" y="37"/>
                  </a:cubicBezTo>
                  <a:cubicBezTo>
                    <a:pt x="5" y="37"/>
                    <a:pt x="0" y="34"/>
                    <a:pt x="0" y="3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7" name="Freeform 51"/>
            <p:cNvSpPr>
              <a:spLocks/>
            </p:cNvSpPr>
            <p:nvPr>
              <p:custDataLst>
                <p:tags r:id="rId46"/>
              </p:custDataLst>
            </p:nvPr>
          </p:nvSpPr>
          <p:spPr bwMode="auto">
            <a:xfrm>
              <a:off x="1954" y="3537"/>
              <a:ext cx="25" cy="23"/>
            </a:xfrm>
            <a:custGeom>
              <a:avLst/>
              <a:gdLst>
                <a:gd name="T0" fmla="*/ 2835 w 14"/>
                <a:gd name="T1" fmla="*/ 25278 h 13"/>
                <a:gd name="T2" fmla="*/ 25514 w 14"/>
                <a:gd name="T3" fmla="*/ 2809 h 13"/>
                <a:gd name="T4" fmla="*/ 36853 w 14"/>
                <a:gd name="T5" fmla="*/ 5617 h 13"/>
                <a:gd name="T6" fmla="*/ 34018 w 14"/>
                <a:gd name="T7" fmla="*/ 19661 h 13"/>
                <a:gd name="T8" fmla="*/ 8505 w 14"/>
                <a:gd name="T9" fmla="*/ 36513 h 13"/>
                <a:gd name="T10" fmla="*/ 2835 w 14"/>
                <a:gd name="T11" fmla="*/ 25278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1" y="9"/>
                  </a:moveTo>
                  <a:cubicBezTo>
                    <a:pt x="3" y="8"/>
                    <a:pt x="7" y="0"/>
                    <a:pt x="9" y="1"/>
                  </a:cubicBezTo>
                  <a:cubicBezTo>
                    <a:pt x="9" y="1"/>
                    <a:pt x="12" y="1"/>
                    <a:pt x="13" y="2"/>
                  </a:cubicBezTo>
                  <a:cubicBezTo>
                    <a:pt x="14" y="4"/>
                    <a:pt x="13" y="6"/>
                    <a:pt x="12" y="7"/>
                  </a:cubicBezTo>
                  <a:cubicBezTo>
                    <a:pt x="11" y="8"/>
                    <a:pt x="5" y="13"/>
                    <a:pt x="3" y="13"/>
                  </a:cubicBezTo>
                  <a:cubicBezTo>
                    <a:pt x="2" y="13"/>
                    <a:pt x="0" y="10"/>
                    <a:pt x="1"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8" name="Freeform 52"/>
            <p:cNvSpPr>
              <a:spLocks/>
            </p:cNvSpPr>
            <p:nvPr>
              <p:custDataLst>
                <p:tags r:id="rId47"/>
              </p:custDataLst>
            </p:nvPr>
          </p:nvSpPr>
          <p:spPr bwMode="auto">
            <a:xfrm>
              <a:off x="1932" y="3535"/>
              <a:ext cx="26" cy="21"/>
            </a:xfrm>
            <a:custGeom>
              <a:avLst/>
              <a:gdLst>
                <a:gd name="T0" fmla="*/ 16510 w 15"/>
                <a:gd name="T1" fmla="*/ 25004 h 12"/>
                <a:gd name="T2" fmla="*/ 5503 w 15"/>
                <a:gd name="T3" fmla="*/ 30560 h 12"/>
                <a:gd name="T4" fmla="*/ 0 w 15"/>
                <a:gd name="T5" fmla="*/ 19447 h 12"/>
                <a:gd name="T6" fmla="*/ 11007 w 15"/>
                <a:gd name="T7" fmla="*/ 11113 h 12"/>
                <a:gd name="T8" fmla="*/ 13758 w 15"/>
                <a:gd name="T9" fmla="*/ 2778 h 12"/>
                <a:gd name="T10" fmla="*/ 38523 w 15"/>
                <a:gd name="T11" fmla="*/ 5556 h 12"/>
                <a:gd name="T12" fmla="*/ 16510 w 15"/>
                <a:gd name="T13" fmla="*/ 25004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2">
                  <a:moveTo>
                    <a:pt x="6" y="9"/>
                  </a:moveTo>
                  <a:cubicBezTo>
                    <a:pt x="6" y="10"/>
                    <a:pt x="3" y="12"/>
                    <a:pt x="2" y="11"/>
                  </a:cubicBezTo>
                  <a:cubicBezTo>
                    <a:pt x="0" y="10"/>
                    <a:pt x="0" y="8"/>
                    <a:pt x="0" y="7"/>
                  </a:cubicBezTo>
                  <a:cubicBezTo>
                    <a:pt x="0" y="7"/>
                    <a:pt x="3" y="4"/>
                    <a:pt x="4" y="4"/>
                  </a:cubicBezTo>
                  <a:cubicBezTo>
                    <a:pt x="5" y="4"/>
                    <a:pt x="3" y="1"/>
                    <a:pt x="5" y="1"/>
                  </a:cubicBezTo>
                  <a:cubicBezTo>
                    <a:pt x="6" y="0"/>
                    <a:pt x="12" y="1"/>
                    <a:pt x="14" y="2"/>
                  </a:cubicBezTo>
                  <a:cubicBezTo>
                    <a:pt x="15" y="4"/>
                    <a:pt x="7" y="9"/>
                    <a:pt x="6"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79" name="Freeform 53"/>
            <p:cNvSpPr>
              <a:spLocks/>
            </p:cNvSpPr>
            <p:nvPr>
              <p:custDataLst>
                <p:tags r:id="rId48"/>
              </p:custDataLst>
            </p:nvPr>
          </p:nvSpPr>
          <p:spPr bwMode="auto">
            <a:xfrm>
              <a:off x="1821" y="2880"/>
              <a:ext cx="158" cy="195"/>
            </a:xfrm>
            <a:custGeom>
              <a:avLst/>
              <a:gdLst>
                <a:gd name="T0" fmla="*/ 5453 w 92"/>
                <a:gd name="T1" fmla="*/ 40886 h 106"/>
                <a:gd name="T2" fmla="*/ 19085 w 92"/>
                <a:gd name="T3" fmla="*/ 35045 h 106"/>
                <a:gd name="T4" fmla="*/ 70885 w 92"/>
                <a:gd name="T5" fmla="*/ 5841 h 106"/>
                <a:gd name="T6" fmla="*/ 87243 w 92"/>
                <a:gd name="T7" fmla="*/ 5841 h 106"/>
                <a:gd name="T8" fmla="*/ 84517 w 92"/>
                <a:gd name="T9" fmla="*/ 35045 h 106"/>
                <a:gd name="T10" fmla="*/ 100875 w 92"/>
                <a:gd name="T11" fmla="*/ 61329 h 106"/>
                <a:gd name="T12" fmla="*/ 133592 w 92"/>
                <a:gd name="T13" fmla="*/ 73010 h 106"/>
                <a:gd name="T14" fmla="*/ 158129 w 92"/>
                <a:gd name="T15" fmla="*/ 93453 h 106"/>
                <a:gd name="T16" fmla="*/ 179940 w 92"/>
                <a:gd name="T17" fmla="*/ 90533 h 106"/>
                <a:gd name="T18" fmla="*/ 190845 w 92"/>
                <a:gd name="T19" fmla="*/ 108055 h 106"/>
                <a:gd name="T20" fmla="*/ 193571 w 92"/>
                <a:gd name="T21" fmla="*/ 151861 h 106"/>
                <a:gd name="T22" fmla="*/ 231740 w 92"/>
                <a:gd name="T23" fmla="*/ 157702 h 106"/>
                <a:gd name="T24" fmla="*/ 231740 w 92"/>
                <a:gd name="T25" fmla="*/ 178145 h 106"/>
                <a:gd name="T26" fmla="*/ 248099 w 92"/>
                <a:gd name="T27" fmla="*/ 201508 h 106"/>
                <a:gd name="T28" fmla="*/ 239920 w 92"/>
                <a:gd name="T29" fmla="*/ 239473 h 106"/>
                <a:gd name="T30" fmla="*/ 223561 w 92"/>
                <a:gd name="T31" fmla="*/ 227792 h 106"/>
                <a:gd name="T32" fmla="*/ 193571 w 92"/>
                <a:gd name="T33" fmla="*/ 224871 h 106"/>
                <a:gd name="T34" fmla="*/ 160855 w 92"/>
                <a:gd name="T35" fmla="*/ 233632 h 106"/>
                <a:gd name="T36" fmla="*/ 149950 w 92"/>
                <a:gd name="T37" fmla="*/ 271598 h 106"/>
                <a:gd name="T38" fmla="*/ 141771 w 92"/>
                <a:gd name="T39" fmla="*/ 292041 h 106"/>
                <a:gd name="T40" fmla="*/ 141771 w 92"/>
                <a:gd name="T41" fmla="*/ 292041 h 106"/>
                <a:gd name="T42" fmla="*/ 128139 w 92"/>
                <a:gd name="T43" fmla="*/ 289120 h 106"/>
                <a:gd name="T44" fmla="*/ 106328 w 92"/>
                <a:gd name="T45" fmla="*/ 306643 h 106"/>
                <a:gd name="T46" fmla="*/ 92696 w 92"/>
                <a:gd name="T47" fmla="*/ 289120 h 106"/>
                <a:gd name="T48" fmla="*/ 68159 w 92"/>
                <a:gd name="T49" fmla="*/ 286200 h 106"/>
                <a:gd name="T50" fmla="*/ 51801 w 92"/>
                <a:gd name="T51" fmla="*/ 303722 h 106"/>
                <a:gd name="T52" fmla="*/ 49074 w 92"/>
                <a:gd name="T53" fmla="*/ 306643 h 106"/>
                <a:gd name="T54" fmla="*/ 29990 w 92"/>
                <a:gd name="T55" fmla="*/ 303722 h 106"/>
                <a:gd name="T56" fmla="*/ 21811 w 92"/>
                <a:gd name="T57" fmla="*/ 254075 h 106"/>
                <a:gd name="T58" fmla="*/ 24537 w 92"/>
                <a:gd name="T59" fmla="*/ 227792 h 106"/>
                <a:gd name="T60" fmla="*/ 13632 w 92"/>
                <a:gd name="T61" fmla="*/ 210269 h 106"/>
                <a:gd name="T62" fmla="*/ 0 w 92"/>
                <a:gd name="T63" fmla="*/ 186906 h 106"/>
                <a:gd name="T64" fmla="*/ 13632 w 92"/>
                <a:gd name="T65" fmla="*/ 160622 h 106"/>
                <a:gd name="T66" fmla="*/ 2726 w 92"/>
                <a:gd name="T67" fmla="*/ 140179 h 106"/>
                <a:gd name="T68" fmla="*/ 13632 w 92"/>
                <a:gd name="T69" fmla="*/ 110975 h 106"/>
                <a:gd name="T70" fmla="*/ 10905 w 92"/>
                <a:gd name="T71" fmla="*/ 81771 h 106"/>
                <a:gd name="T72" fmla="*/ 19085 w 92"/>
                <a:gd name="T73" fmla="*/ 70090 h 106"/>
                <a:gd name="T74" fmla="*/ 5453 w 92"/>
                <a:gd name="T75" fmla="*/ 40886 h 1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2" h="106">
                  <a:moveTo>
                    <a:pt x="2" y="14"/>
                  </a:moveTo>
                  <a:cubicBezTo>
                    <a:pt x="7" y="12"/>
                    <a:pt x="7" y="12"/>
                    <a:pt x="7" y="12"/>
                  </a:cubicBezTo>
                  <a:cubicBezTo>
                    <a:pt x="8" y="11"/>
                    <a:pt x="23" y="2"/>
                    <a:pt x="26" y="2"/>
                  </a:cubicBezTo>
                  <a:cubicBezTo>
                    <a:pt x="29" y="1"/>
                    <a:pt x="31" y="0"/>
                    <a:pt x="32" y="2"/>
                  </a:cubicBezTo>
                  <a:cubicBezTo>
                    <a:pt x="33" y="4"/>
                    <a:pt x="31" y="10"/>
                    <a:pt x="31" y="12"/>
                  </a:cubicBezTo>
                  <a:cubicBezTo>
                    <a:pt x="32" y="14"/>
                    <a:pt x="34" y="20"/>
                    <a:pt x="37" y="21"/>
                  </a:cubicBezTo>
                  <a:cubicBezTo>
                    <a:pt x="39" y="22"/>
                    <a:pt x="47" y="24"/>
                    <a:pt x="49" y="25"/>
                  </a:cubicBezTo>
                  <a:cubicBezTo>
                    <a:pt x="51" y="26"/>
                    <a:pt x="56" y="31"/>
                    <a:pt x="58" y="32"/>
                  </a:cubicBezTo>
                  <a:cubicBezTo>
                    <a:pt x="59" y="32"/>
                    <a:pt x="64" y="30"/>
                    <a:pt x="66" y="31"/>
                  </a:cubicBezTo>
                  <a:cubicBezTo>
                    <a:pt x="68" y="33"/>
                    <a:pt x="71" y="35"/>
                    <a:pt x="70" y="37"/>
                  </a:cubicBezTo>
                  <a:cubicBezTo>
                    <a:pt x="70" y="39"/>
                    <a:pt x="71" y="51"/>
                    <a:pt x="71" y="52"/>
                  </a:cubicBezTo>
                  <a:cubicBezTo>
                    <a:pt x="71" y="53"/>
                    <a:pt x="84" y="54"/>
                    <a:pt x="85" y="54"/>
                  </a:cubicBezTo>
                  <a:cubicBezTo>
                    <a:pt x="87" y="54"/>
                    <a:pt x="85" y="60"/>
                    <a:pt x="85" y="61"/>
                  </a:cubicBezTo>
                  <a:cubicBezTo>
                    <a:pt x="86" y="62"/>
                    <a:pt x="92" y="66"/>
                    <a:pt x="91" y="69"/>
                  </a:cubicBezTo>
                  <a:cubicBezTo>
                    <a:pt x="91" y="71"/>
                    <a:pt x="88" y="79"/>
                    <a:pt x="88" y="82"/>
                  </a:cubicBezTo>
                  <a:cubicBezTo>
                    <a:pt x="82" y="78"/>
                    <a:pt x="82" y="78"/>
                    <a:pt x="82" y="78"/>
                  </a:cubicBezTo>
                  <a:cubicBezTo>
                    <a:pt x="82" y="78"/>
                    <a:pt x="74" y="77"/>
                    <a:pt x="71" y="77"/>
                  </a:cubicBezTo>
                  <a:cubicBezTo>
                    <a:pt x="69" y="77"/>
                    <a:pt x="59" y="79"/>
                    <a:pt x="59" y="80"/>
                  </a:cubicBezTo>
                  <a:cubicBezTo>
                    <a:pt x="57" y="81"/>
                    <a:pt x="55" y="91"/>
                    <a:pt x="55" y="93"/>
                  </a:cubicBezTo>
                  <a:cubicBezTo>
                    <a:pt x="52" y="100"/>
                    <a:pt x="52" y="100"/>
                    <a:pt x="52" y="100"/>
                  </a:cubicBezTo>
                  <a:cubicBezTo>
                    <a:pt x="52" y="100"/>
                    <a:pt x="52" y="100"/>
                    <a:pt x="52" y="100"/>
                  </a:cubicBezTo>
                  <a:cubicBezTo>
                    <a:pt x="51" y="99"/>
                    <a:pt x="49" y="99"/>
                    <a:pt x="47" y="99"/>
                  </a:cubicBezTo>
                  <a:cubicBezTo>
                    <a:pt x="45" y="99"/>
                    <a:pt x="41" y="105"/>
                    <a:pt x="39" y="105"/>
                  </a:cubicBezTo>
                  <a:cubicBezTo>
                    <a:pt x="38" y="105"/>
                    <a:pt x="37" y="99"/>
                    <a:pt x="34" y="99"/>
                  </a:cubicBezTo>
                  <a:cubicBezTo>
                    <a:pt x="31" y="98"/>
                    <a:pt x="26" y="97"/>
                    <a:pt x="25" y="98"/>
                  </a:cubicBezTo>
                  <a:cubicBezTo>
                    <a:pt x="23" y="100"/>
                    <a:pt x="21" y="103"/>
                    <a:pt x="19" y="104"/>
                  </a:cubicBezTo>
                  <a:cubicBezTo>
                    <a:pt x="19" y="105"/>
                    <a:pt x="18" y="105"/>
                    <a:pt x="18" y="105"/>
                  </a:cubicBezTo>
                  <a:cubicBezTo>
                    <a:pt x="17" y="105"/>
                    <a:pt x="11" y="106"/>
                    <a:pt x="11" y="104"/>
                  </a:cubicBezTo>
                  <a:cubicBezTo>
                    <a:pt x="11" y="103"/>
                    <a:pt x="9" y="90"/>
                    <a:pt x="8" y="87"/>
                  </a:cubicBezTo>
                  <a:cubicBezTo>
                    <a:pt x="7" y="84"/>
                    <a:pt x="9" y="80"/>
                    <a:pt x="9" y="78"/>
                  </a:cubicBezTo>
                  <a:cubicBezTo>
                    <a:pt x="8" y="76"/>
                    <a:pt x="6" y="74"/>
                    <a:pt x="5" y="72"/>
                  </a:cubicBezTo>
                  <a:cubicBezTo>
                    <a:pt x="0" y="64"/>
                    <a:pt x="0" y="64"/>
                    <a:pt x="0" y="64"/>
                  </a:cubicBezTo>
                  <a:cubicBezTo>
                    <a:pt x="2" y="60"/>
                    <a:pt x="4" y="56"/>
                    <a:pt x="5" y="55"/>
                  </a:cubicBezTo>
                  <a:cubicBezTo>
                    <a:pt x="6" y="53"/>
                    <a:pt x="0" y="51"/>
                    <a:pt x="1" y="48"/>
                  </a:cubicBezTo>
                  <a:cubicBezTo>
                    <a:pt x="2" y="45"/>
                    <a:pt x="4" y="40"/>
                    <a:pt x="5" y="38"/>
                  </a:cubicBezTo>
                  <a:cubicBezTo>
                    <a:pt x="6" y="36"/>
                    <a:pt x="3" y="30"/>
                    <a:pt x="4" y="28"/>
                  </a:cubicBezTo>
                  <a:cubicBezTo>
                    <a:pt x="6" y="26"/>
                    <a:pt x="7" y="25"/>
                    <a:pt x="7" y="24"/>
                  </a:cubicBezTo>
                  <a:cubicBezTo>
                    <a:pt x="6" y="22"/>
                    <a:pt x="4" y="17"/>
                    <a:pt x="2"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0" name="Freeform 54"/>
            <p:cNvSpPr>
              <a:spLocks/>
            </p:cNvSpPr>
            <p:nvPr>
              <p:custDataLst>
                <p:tags r:id="rId49"/>
              </p:custDataLst>
            </p:nvPr>
          </p:nvSpPr>
          <p:spPr bwMode="auto">
            <a:xfrm>
              <a:off x="1771" y="2570"/>
              <a:ext cx="177" cy="167"/>
            </a:xfrm>
            <a:custGeom>
              <a:avLst/>
              <a:gdLst>
                <a:gd name="T0" fmla="*/ 0 w 104"/>
                <a:gd name="T1" fmla="*/ 75747 h 91"/>
                <a:gd name="T2" fmla="*/ 8105 w 104"/>
                <a:gd name="T3" fmla="*/ 49527 h 91"/>
                <a:gd name="T4" fmla="*/ 16211 w 104"/>
                <a:gd name="T5" fmla="*/ 37873 h 91"/>
                <a:gd name="T6" fmla="*/ 29720 w 104"/>
                <a:gd name="T7" fmla="*/ 26220 h 91"/>
                <a:gd name="T8" fmla="*/ 32422 w 104"/>
                <a:gd name="T9" fmla="*/ 43700 h 91"/>
                <a:gd name="T10" fmla="*/ 24316 w 104"/>
                <a:gd name="T11" fmla="*/ 61180 h 91"/>
                <a:gd name="T12" fmla="*/ 27018 w 104"/>
                <a:gd name="T13" fmla="*/ 72833 h 91"/>
                <a:gd name="T14" fmla="*/ 40527 w 104"/>
                <a:gd name="T15" fmla="*/ 78660 h 91"/>
                <a:gd name="T16" fmla="*/ 48633 w 104"/>
                <a:gd name="T17" fmla="*/ 69920 h 91"/>
                <a:gd name="T18" fmla="*/ 51334 w 104"/>
                <a:gd name="T19" fmla="*/ 52440 h 91"/>
                <a:gd name="T20" fmla="*/ 45931 w 104"/>
                <a:gd name="T21" fmla="*/ 40787 h 91"/>
                <a:gd name="T22" fmla="*/ 56738 w 104"/>
                <a:gd name="T23" fmla="*/ 26220 h 91"/>
                <a:gd name="T24" fmla="*/ 67545 w 104"/>
                <a:gd name="T25" fmla="*/ 0 h 91"/>
                <a:gd name="T26" fmla="*/ 78352 w 104"/>
                <a:gd name="T27" fmla="*/ 20393 h 91"/>
                <a:gd name="T28" fmla="*/ 94563 w 104"/>
                <a:gd name="T29" fmla="*/ 26220 h 91"/>
                <a:gd name="T30" fmla="*/ 108072 w 104"/>
                <a:gd name="T31" fmla="*/ 43700 h 91"/>
                <a:gd name="T32" fmla="*/ 143196 w 104"/>
                <a:gd name="T33" fmla="*/ 40787 h 91"/>
                <a:gd name="T34" fmla="*/ 159407 w 104"/>
                <a:gd name="T35" fmla="*/ 52440 h 91"/>
                <a:gd name="T36" fmla="*/ 183723 w 104"/>
                <a:gd name="T37" fmla="*/ 49527 h 91"/>
                <a:gd name="T38" fmla="*/ 199934 w 104"/>
                <a:gd name="T39" fmla="*/ 37873 h 91"/>
                <a:gd name="T40" fmla="*/ 235057 w 104"/>
                <a:gd name="T41" fmla="*/ 40787 h 91"/>
                <a:gd name="T42" fmla="*/ 237759 w 104"/>
                <a:gd name="T43" fmla="*/ 55353 h 91"/>
                <a:gd name="T44" fmla="*/ 256672 w 104"/>
                <a:gd name="T45" fmla="*/ 69920 h 91"/>
                <a:gd name="T46" fmla="*/ 262075 w 104"/>
                <a:gd name="T47" fmla="*/ 84487 h 91"/>
                <a:gd name="T48" fmla="*/ 280988 w 104"/>
                <a:gd name="T49" fmla="*/ 93227 h 91"/>
                <a:gd name="T50" fmla="*/ 270181 w 104"/>
                <a:gd name="T51" fmla="*/ 107793 h 91"/>
                <a:gd name="T52" fmla="*/ 259374 w 104"/>
                <a:gd name="T53" fmla="*/ 125273 h 91"/>
                <a:gd name="T54" fmla="*/ 245865 w 104"/>
                <a:gd name="T55" fmla="*/ 151493 h 91"/>
                <a:gd name="T56" fmla="*/ 256672 w 104"/>
                <a:gd name="T57" fmla="*/ 166060 h 91"/>
                <a:gd name="T58" fmla="*/ 256672 w 104"/>
                <a:gd name="T59" fmla="*/ 177713 h 91"/>
                <a:gd name="T60" fmla="*/ 216145 w 104"/>
                <a:gd name="T61" fmla="*/ 195193 h 91"/>
                <a:gd name="T62" fmla="*/ 175618 w 104"/>
                <a:gd name="T63" fmla="*/ 186453 h 91"/>
                <a:gd name="T64" fmla="*/ 189127 w 104"/>
                <a:gd name="T65" fmla="*/ 218500 h 91"/>
                <a:gd name="T66" fmla="*/ 197232 w 104"/>
                <a:gd name="T67" fmla="*/ 238893 h 91"/>
                <a:gd name="T68" fmla="*/ 148599 w 104"/>
                <a:gd name="T69" fmla="*/ 265113 h 91"/>
                <a:gd name="T70" fmla="*/ 129687 w 104"/>
                <a:gd name="T71" fmla="*/ 244720 h 91"/>
                <a:gd name="T72" fmla="*/ 124283 w 104"/>
                <a:gd name="T73" fmla="*/ 233066 h 91"/>
                <a:gd name="T74" fmla="*/ 116178 w 104"/>
                <a:gd name="T75" fmla="*/ 221413 h 91"/>
                <a:gd name="T76" fmla="*/ 124283 w 104"/>
                <a:gd name="T77" fmla="*/ 203933 h 91"/>
                <a:gd name="T78" fmla="*/ 116178 w 104"/>
                <a:gd name="T79" fmla="*/ 192280 h 91"/>
                <a:gd name="T80" fmla="*/ 116178 w 104"/>
                <a:gd name="T81" fmla="*/ 166060 h 91"/>
                <a:gd name="T82" fmla="*/ 118880 w 104"/>
                <a:gd name="T83" fmla="*/ 142753 h 91"/>
                <a:gd name="T84" fmla="*/ 83756 w 104"/>
                <a:gd name="T85" fmla="*/ 145666 h 91"/>
                <a:gd name="T86" fmla="*/ 64843 w 104"/>
                <a:gd name="T87" fmla="*/ 128187 h 91"/>
                <a:gd name="T88" fmla="*/ 27018 w 104"/>
                <a:gd name="T89" fmla="*/ 125273 h 91"/>
                <a:gd name="T90" fmla="*/ 16211 w 104"/>
                <a:gd name="T91" fmla="*/ 101967 h 91"/>
                <a:gd name="T92" fmla="*/ 0 w 104"/>
                <a:gd name="T93" fmla="*/ 75747 h 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4" h="91">
                  <a:moveTo>
                    <a:pt x="0" y="26"/>
                  </a:moveTo>
                  <a:cubicBezTo>
                    <a:pt x="0" y="25"/>
                    <a:pt x="2" y="20"/>
                    <a:pt x="3" y="17"/>
                  </a:cubicBezTo>
                  <a:cubicBezTo>
                    <a:pt x="4" y="13"/>
                    <a:pt x="6" y="13"/>
                    <a:pt x="6" y="13"/>
                  </a:cubicBezTo>
                  <a:cubicBezTo>
                    <a:pt x="11" y="9"/>
                    <a:pt x="11" y="9"/>
                    <a:pt x="11" y="9"/>
                  </a:cubicBezTo>
                  <a:cubicBezTo>
                    <a:pt x="11" y="11"/>
                    <a:pt x="12" y="14"/>
                    <a:pt x="12" y="15"/>
                  </a:cubicBezTo>
                  <a:cubicBezTo>
                    <a:pt x="11" y="16"/>
                    <a:pt x="9" y="20"/>
                    <a:pt x="9" y="21"/>
                  </a:cubicBezTo>
                  <a:cubicBezTo>
                    <a:pt x="9" y="22"/>
                    <a:pt x="10" y="24"/>
                    <a:pt x="10" y="25"/>
                  </a:cubicBezTo>
                  <a:cubicBezTo>
                    <a:pt x="11" y="27"/>
                    <a:pt x="13" y="28"/>
                    <a:pt x="15" y="27"/>
                  </a:cubicBezTo>
                  <a:cubicBezTo>
                    <a:pt x="17" y="26"/>
                    <a:pt x="18" y="25"/>
                    <a:pt x="18" y="24"/>
                  </a:cubicBezTo>
                  <a:cubicBezTo>
                    <a:pt x="20" y="22"/>
                    <a:pt x="19" y="19"/>
                    <a:pt x="19" y="18"/>
                  </a:cubicBezTo>
                  <a:cubicBezTo>
                    <a:pt x="18" y="17"/>
                    <a:pt x="17" y="15"/>
                    <a:pt x="17" y="14"/>
                  </a:cubicBezTo>
                  <a:cubicBezTo>
                    <a:pt x="17" y="13"/>
                    <a:pt x="20" y="10"/>
                    <a:pt x="21" y="9"/>
                  </a:cubicBezTo>
                  <a:cubicBezTo>
                    <a:pt x="23" y="9"/>
                    <a:pt x="24" y="0"/>
                    <a:pt x="25" y="0"/>
                  </a:cubicBezTo>
                  <a:cubicBezTo>
                    <a:pt x="26" y="0"/>
                    <a:pt x="28" y="6"/>
                    <a:pt x="29" y="7"/>
                  </a:cubicBezTo>
                  <a:cubicBezTo>
                    <a:pt x="30" y="9"/>
                    <a:pt x="32" y="8"/>
                    <a:pt x="35" y="9"/>
                  </a:cubicBezTo>
                  <a:cubicBezTo>
                    <a:pt x="37" y="10"/>
                    <a:pt x="39" y="13"/>
                    <a:pt x="40" y="15"/>
                  </a:cubicBezTo>
                  <a:cubicBezTo>
                    <a:pt x="41" y="17"/>
                    <a:pt x="51" y="14"/>
                    <a:pt x="53" y="14"/>
                  </a:cubicBezTo>
                  <a:cubicBezTo>
                    <a:pt x="54" y="14"/>
                    <a:pt x="57" y="16"/>
                    <a:pt x="59" y="18"/>
                  </a:cubicBezTo>
                  <a:cubicBezTo>
                    <a:pt x="61" y="20"/>
                    <a:pt x="65" y="17"/>
                    <a:pt x="68" y="17"/>
                  </a:cubicBezTo>
                  <a:cubicBezTo>
                    <a:pt x="72" y="16"/>
                    <a:pt x="70" y="13"/>
                    <a:pt x="74" y="13"/>
                  </a:cubicBezTo>
                  <a:cubicBezTo>
                    <a:pt x="78" y="13"/>
                    <a:pt x="87" y="13"/>
                    <a:pt x="87" y="14"/>
                  </a:cubicBezTo>
                  <a:cubicBezTo>
                    <a:pt x="87" y="15"/>
                    <a:pt x="86" y="18"/>
                    <a:pt x="88" y="19"/>
                  </a:cubicBezTo>
                  <a:cubicBezTo>
                    <a:pt x="90" y="21"/>
                    <a:pt x="93" y="23"/>
                    <a:pt x="95" y="24"/>
                  </a:cubicBezTo>
                  <a:cubicBezTo>
                    <a:pt x="97" y="25"/>
                    <a:pt x="95" y="29"/>
                    <a:pt x="97" y="29"/>
                  </a:cubicBezTo>
                  <a:cubicBezTo>
                    <a:pt x="98" y="30"/>
                    <a:pt x="101" y="30"/>
                    <a:pt x="104" y="32"/>
                  </a:cubicBezTo>
                  <a:cubicBezTo>
                    <a:pt x="100" y="37"/>
                    <a:pt x="100" y="37"/>
                    <a:pt x="100" y="37"/>
                  </a:cubicBezTo>
                  <a:cubicBezTo>
                    <a:pt x="99" y="38"/>
                    <a:pt x="97" y="41"/>
                    <a:pt x="96" y="43"/>
                  </a:cubicBezTo>
                  <a:cubicBezTo>
                    <a:pt x="94" y="44"/>
                    <a:pt x="90" y="50"/>
                    <a:pt x="91" y="52"/>
                  </a:cubicBezTo>
                  <a:cubicBezTo>
                    <a:pt x="92" y="53"/>
                    <a:pt x="94" y="55"/>
                    <a:pt x="95" y="57"/>
                  </a:cubicBezTo>
                  <a:cubicBezTo>
                    <a:pt x="96" y="59"/>
                    <a:pt x="96" y="60"/>
                    <a:pt x="95" y="61"/>
                  </a:cubicBezTo>
                  <a:cubicBezTo>
                    <a:pt x="94" y="62"/>
                    <a:pt x="80" y="67"/>
                    <a:pt x="80" y="67"/>
                  </a:cubicBezTo>
                  <a:cubicBezTo>
                    <a:pt x="78" y="67"/>
                    <a:pt x="65" y="63"/>
                    <a:pt x="65" y="64"/>
                  </a:cubicBezTo>
                  <a:cubicBezTo>
                    <a:pt x="64" y="66"/>
                    <a:pt x="69" y="74"/>
                    <a:pt x="70" y="75"/>
                  </a:cubicBezTo>
                  <a:cubicBezTo>
                    <a:pt x="71" y="77"/>
                    <a:pt x="76" y="80"/>
                    <a:pt x="73" y="82"/>
                  </a:cubicBezTo>
                  <a:cubicBezTo>
                    <a:pt x="71" y="83"/>
                    <a:pt x="56" y="91"/>
                    <a:pt x="55" y="91"/>
                  </a:cubicBezTo>
                  <a:cubicBezTo>
                    <a:pt x="53" y="91"/>
                    <a:pt x="48" y="85"/>
                    <a:pt x="48" y="84"/>
                  </a:cubicBezTo>
                  <a:cubicBezTo>
                    <a:pt x="48" y="83"/>
                    <a:pt x="47" y="81"/>
                    <a:pt x="46" y="80"/>
                  </a:cubicBezTo>
                  <a:cubicBezTo>
                    <a:pt x="44" y="78"/>
                    <a:pt x="43" y="76"/>
                    <a:pt x="43" y="76"/>
                  </a:cubicBezTo>
                  <a:cubicBezTo>
                    <a:pt x="43" y="75"/>
                    <a:pt x="46" y="71"/>
                    <a:pt x="46" y="70"/>
                  </a:cubicBezTo>
                  <a:cubicBezTo>
                    <a:pt x="46" y="69"/>
                    <a:pt x="44" y="68"/>
                    <a:pt x="43" y="66"/>
                  </a:cubicBezTo>
                  <a:cubicBezTo>
                    <a:pt x="42" y="65"/>
                    <a:pt x="42" y="60"/>
                    <a:pt x="43" y="57"/>
                  </a:cubicBezTo>
                  <a:cubicBezTo>
                    <a:pt x="43" y="54"/>
                    <a:pt x="45" y="50"/>
                    <a:pt x="44" y="49"/>
                  </a:cubicBezTo>
                  <a:cubicBezTo>
                    <a:pt x="42" y="48"/>
                    <a:pt x="34" y="50"/>
                    <a:pt x="31" y="50"/>
                  </a:cubicBezTo>
                  <a:cubicBezTo>
                    <a:pt x="28" y="50"/>
                    <a:pt x="27" y="46"/>
                    <a:pt x="24" y="44"/>
                  </a:cubicBezTo>
                  <a:cubicBezTo>
                    <a:pt x="21" y="42"/>
                    <a:pt x="12" y="43"/>
                    <a:pt x="10" y="43"/>
                  </a:cubicBezTo>
                  <a:cubicBezTo>
                    <a:pt x="9" y="42"/>
                    <a:pt x="6" y="38"/>
                    <a:pt x="6" y="35"/>
                  </a:cubicBezTo>
                  <a:cubicBezTo>
                    <a:pt x="6" y="33"/>
                    <a:pt x="0" y="27"/>
                    <a:pt x="0"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1" name="Freeform 56"/>
            <p:cNvSpPr>
              <a:spLocks/>
            </p:cNvSpPr>
            <p:nvPr>
              <p:custDataLst>
                <p:tags r:id="rId50"/>
              </p:custDataLst>
            </p:nvPr>
          </p:nvSpPr>
          <p:spPr bwMode="auto">
            <a:xfrm>
              <a:off x="1832" y="3564"/>
              <a:ext cx="48" cy="50"/>
            </a:xfrm>
            <a:custGeom>
              <a:avLst/>
              <a:gdLst>
                <a:gd name="T0" fmla="*/ 8164 w 28"/>
                <a:gd name="T1" fmla="*/ 5880 h 27"/>
                <a:gd name="T2" fmla="*/ 16329 w 28"/>
                <a:gd name="T3" fmla="*/ 26458 h 27"/>
                <a:gd name="T4" fmla="*/ 43543 w 28"/>
                <a:gd name="T5" fmla="*/ 47037 h 27"/>
                <a:gd name="T6" fmla="*/ 73479 w 28"/>
                <a:gd name="T7" fmla="*/ 55856 h 27"/>
                <a:gd name="T8" fmla="*/ 76200 w 28"/>
                <a:gd name="T9" fmla="*/ 55856 h 27"/>
                <a:gd name="T10" fmla="*/ 68036 w 28"/>
                <a:gd name="T11" fmla="*/ 67616 h 27"/>
                <a:gd name="T12" fmla="*/ 51707 w 28"/>
                <a:gd name="T13" fmla="*/ 70556 h 27"/>
                <a:gd name="T14" fmla="*/ 46264 w 28"/>
                <a:gd name="T15" fmla="*/ 79375 h 27"/>
                <a:gd name="T16" fmla="*/ 27214 w 28"/>
                <a:gd name="T17" fmla="*/ 70556 h 27"/>
                <a:gd name="T18" fmla="*/ 0 w 28"/>
                <a:gd name="T19" fmla="*/ 67616 h 27"/>
                <a:gd name="T20" fmla="*/ 0 w 28"/>
                <a:gd name="T21" fmla="*/ 67616 h 27"/>
                <a:gd name="T22" fmla="*/ 0 w 28"/>
                <a:gd name="T23" fmla="*/ 0 h 27"/>
                <a:gd name="T24" fmla="*/ 8164 w 28"/>
                <a:gd name="T25" fmla="*/ 588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3" y="2"/>
                  </a:moveTo>
                  <a:cubicBezTo>
                    <a:pt x="4" y="3"/>
                    <a:pt x="5" y="6"/>
                    <a:pt x="6" y="9"/>
                  </a:cubicBezTo>
                  <a:cubicBezTo>
                    <a:pt x="8" y="11"/>
                    <a:pt x="12" y="13"/>
                    <a:pt x="16" y="16"/>
                  </a:cubicBezTo>
                  <a:cubicBezTo>
                    <a:pt x="18" y="19"/>
                    <a:pt x="23" y="19"/>
                    <a:pt x="27" y="19"/>
                  </a:cubicBezTo>
                  <a:cubicBezTo>
                    <a:pt x="27" y="19"/>
                    <a:pt x="28" y="18"/>
                    <a:pt x="28" y="19"/>
                  </a:cubicBezTo>
                  <a:cubicBezTo>
                    <a:pt x="28" y="20"/>
                    <a:pt x="27" y="23"/>
                    <a:pt x="25" y="23"/>
                  </a:cubicBezTo>
                  <a:cubicBezTo>
                    <a:pt x="24" y="24"/>
                    <a:pt x="20" y="24"/>
                    <a:pt x="19" y="24"/>
                  </a:cubicBezTo>
                  <a:cubicBezTo>
                    <a:pt x="18" y="25"/>
                    <a:pt x="18" y="27"/>
                    <a:pt x="17" y="27"/>
                  </a:cubicBezTo>
                  <a:cubicBezTo>
                    <a:pt x="16" y="27"/>
                    <a:pt x="12" y="25"/>
                    <a:pt x="10" y="24"/>
                  </a:cubicBezTo>
                  <a:cubicBezTo>
                    <a:pt x="7" y="24"/>
                    <a:pt x="3" y="23"/>
                    <a:pt x="0" y="23"/>
                  </a:cubicBezTo>
                  <a:cubicBezTo>
                    <a:pt x="0" y="23"/>
                    <a:pt x="0" y="23"/>
                    <a:pt x="0" y="23"/>
                  </a:cubicBezTo>
                  <a:cubicBezTo>
                    <a:pt x="0" y="0"/>
                    <a:pt x="0" y="0"/>
                    <a:pt x="0" y="0"/>
                  </a:cubicBezTo>
                  <a:cubicBezTo>
                    <a:pt x="1" y="0"/>
                    <a:pt x="2" y="1"/>
                    <a:pt x="3"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2" name="Freeform 57"/>
            <p:cNvSpPr>
              <a:spLocks/>
            </p:cNvSpPr>
            <p:nvPr>
              <p:custDataLst>
                <p:tags r:id="rId51"/>
              </p:custDataLst>
            </p:nvPr>
          </p:nvSpPr>
          <p:spPr bwMode="auto">
            <a:xfrm>
              <a:off x="1769" y="3059"/>
              <a:ext cx="262" cy="494"/>
            </a:xfrm>
            <a:custGeom>
              <a:avLst/>
              <a:gdLst>
                <a:gd name="T0" fmla="*/ 0 w 153"/>
                <a:gd name="T1" fmla="*/ 711612 h 270"/>
                <a:gd name="T2" fmla="*/ 19029 w 153"/>
                <a:gd name="T3" fmla="*/ 685471 h 270"/>
                <a:gd name="T4" fmla="*/ 38058 w 153"/>
                <a:gd name="T5" fmla="*/ 630285 h 270"/>
                <a:gd name="T6" fmla="*/ 48932 w 153"/>
                <a:gd name="T7" fmla="*/ 569289 h 270"/>
                <a:gd name="T8" fmla="*/ 38058 w 153"/>
                <a:gd name="T9" fmla="*/ 528626 h 270"/>
                <a:gd name="T10" fmla="*/ 38058 w 153"/>
                <a:gd name="T11" fmla="*/ 456012 h 270"/>
                <a:gd name="T12" fmla="*/ 51651 w 153"/>
                <a:gd name="T13" fmla="*/ 403731 h 270"/>
                <a:gd name="T14" fmla="*/ 62525 w 153"/>
                <a:gd name="T15" fmla="*/ 342735 h 270"/>
                <a:gd name="T16" fmla="*/ 73399 w 153"/>
                <a:gd name="T17" fmla="*/ 275931 h 270"/>
                <a:gd name="T18" fmla="*/ 73399 w 153"/>
                <a:gd name="T19" fmla="*/ 197509 h 270"/>
                <a:gd name="T20" fmla="*/ 103302 w 153"/>
                <a:gd name="T21" fmla="*/ 121991 h 270"/>
                <a:gd name="T22" fmla="*/ 106020 w 153"/>
                <a:gd name="T23" fmla="*/ 66804 h 270"/>
                <a:gd name="T24" fmla="*/ 133205 w 153"/>
                <a:gd name="T25" fmla="*/ 20332 h 270"/>
                <a:gd name="T26" fmla="*/ 173982 w 153"/>
                <a:gd name="T27" fmla="*/ 5809 h 270"/>
                <a:gd name="T28" fmla="*/ 209322 w 153"/>
                <a:gd name="T29" fmla="*/ 5809 h 270"/>
                <a:gd name="T30" fmla="*/ 225633 w 153"/>
                <a:gd name="T31" fmla="*/ 11618 h 270"/>
                <a:gd name="T32" fmla="*/ 328934 w 153"/>
                <a:gd name="T33" fmla="*/ 87136 h 270"/>
                <a:gd name="T34" fmla="*/ 345245 w 153"/>
                <a:gd name="T35" fmla="*/ 133609 h 270"/>
                <a:gd name="T36" fmla="*/ 391459 w 153"/>
                <a:gd name="T37" fmla="*/ 90041 h 270"/>
                <a:gd name="T38" fmla="*/ 413207 w 153"/>
                <a:gd name="T39" fmla="*/ 107468 h 270"/>
                <a:gd name="T40" fmla="*/ 369711 w 153"/>
                <a:gd name="T41" fmla="*/ 156845 h 270"/>
                <a:gd name="T42" fmla="*/ 328934 w 153"/>
                <a:gd name="T43" fmla="*/ 200413 h 270"/>
                <a:gd name="T44" fmla="*/ 312623 w 153"/>
                <a:gd name="T45" fmla="*/ 293358 h 270"/>
                <a:gd name="T46" fmla="*/ 334371 w 153"/>
                <a:gd name="T47" fmla="*/ 319499 h 270"/>
                <a:gd name="T48" fmla="*/ 347963 w 153"/>
                <a:gd name="T49" fmla="*/ 354354 h 270"/>
                <a:gd name="T50" fmla="*/ 328934 w 153"/>
                <a:gd name="T51" fmla="*/ 397922 h 270"/>
                <a:gd name="T52" fmla="*/ 236506 w 153"/>
                <a:gd name="T53" fmla="*/ 421158 h 270"/>
                <a:gd name="T54" fmla="*/ 225633 w 153"/>
                <a:gd name="T55" fmla="*/ 473440 h 270"/>
                <a:gd name="T56" fmla="*/ 173982 w 153"/>
                <a:gd name="T57" fmla="*/ 467630 h 270"/>
                <a:gd name="T58" fmla="*/ 179419 w 153"/>
                <a:gd name="T59" fmla="*/ 502485 h 270"/>
                <a:gd name="T60" fmla="*/ 203885 w 153"/>
                <a:gd name="T61" fmla="*/ 517008 h 270"/>
                <a:gd name="T62" fmla="*/ 173982 w 153"/>
                <a:gd name="T63" fmla="*/ 537339 h 270"/>
                <a:gd name="T64" fmla="*/ 165826 w 153"/>
                <a:gd name="T65" fmla="*/ 580907 h 270"/>
                <a:gd name="T66" fmla="*/ 127768 w 153"/>
                <a:gd name="T67" fmla="*/ 595430 h 270"/>
                <a:gd name="T68" fmla="*/ 157671 w 153"/>
                <a:gd name="T69" fmla="*/ 638998 h 270"/>
                <a:gd name="T70" fmla="*/ 127768 w 153"/>
                <a:gd name="T71" fmla="*/ 691280 h 270"/>
                <a:gd name="T72" fmla="*/ 89709 w 153"/>
                <a:gd name="T73" fmla="*/ 740657 h 270"/>
                <a:gd name="T74" fmla="*/ 95146 w 153"/>
                <a:gd name="T75" fmla="*/ 784225 h 270"/>
                <a:gd name="T76" fmla="*/ 29903 w 153"/>
                <a:gd name="T77" fmla="*/ 778416 h 270"/>
                <a:gd name="T78" fmla="*/ 24466 w 153"/>
                <a:gd name="T79" fmla="*/ 740657 h 27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53" h="270">
                  <a:moveTo>
                    <a:pt x="2" y="254"/>
                  </a:moveTo>
                  <a:cubicBezTo>
                    <a:pt x="1" y="253"/>
                    <a:pt x="0" y="247"/>
                    <a:pt x="0" y="245"/>
                  </a:cubicBezTo>
                  <a:cubicBezTo>
                    <a:pt x="0" y="243"/>
                    <a:pt x="1" y="240"/>
                    <a:pt x="2" y="239"/>
                  </a:cubicBezTo>
                  <a:cubicBezTo>
                    <a:pt x="4" y="238"/>
                    <a:pt x="7" y="237"/>
                    <a:pt x="7" y="236"/>
                  </a:cubicBezTo>
                  <a:cubicBezTo>
                    <a:pt x="8" y="234"/>
                    <a:pt x="8" y="227"/>
                    <a:pt x="9" y="225"/>
                  </a:cubicBezTo>
                  <a:cubicBezTo>
                    <a:pt x="11" y="223"/>
                    <a:pt x="13" y="220"/>
                    <a:pt x="14" y="217"/>
                  </a:cubicBezTo>
                  <a:cubicBezTo>
                    <a:pt x="14" y="215"/>
                    <a:pt x="13" y="207"/>
                    <a:pt x="14" y="206"/>
                  </a:cubicBezTo>
                  <a:cubicBezTo>
                    <a:pt x="16" y="205"/>
                    <a:pt x="18" y="198"/>
                    <a:pt x="18" y="196"/>
                  </a:cubicBezTo>
                  <a:cubicBezTo>
                    <a:pt x="18" y="195"/>
                    <a:pt x="13" y="194"/>
                    <a:pt x="13" y="193"/>
                  </a:cubicBezTo>
                  <a:cubicBezTo>
                    <a:pt x="13" y="191"/>
                    <a:pt x="15" y="183"/>
                    <a:pt x="14" y="182"/>
                  </a:cubicBezTo>
                  <a:cubicBezTo>
                    <a:pt x="10" y="177"/>
                    <a:pt x="16" y="175"/>
                    <a:pt x="16" y="173"/>
                  </a:cubicBezTo>
                  <a:cubicBezTo>
                    <a:pt x="16" y="171"/>
                    <a:pt x="14" y="160"/>
                    <a:pt x="14" y="157"/>
                  </a:cubicBezTo>
                  <a:cubicBezTo>
                    <a:pt x="15" y="155"/>
                    <a:pt x="15" y="148"/>
                    <a:pt x="17" y="146"/>
                  </a:cubicBezTo>
                  <a:cubicBezTo>
                    <a:pt x="18" y="144"/>
                    <a:pt x="20" y="141"/>
                    <a:pt x="19" y="139"/>
                  </a:cubicBezTo>
                  <a:cubicBezTo>
                    <a:pt x="18" y="136"/>
                    <a:pt x="16" y="125"/>
                    <a:pt x="18" y="123"/>
                  </a:cubicBezTo>
                  <a:cubicBezTo>
                    <a:pt x="20" y="122"/>
                    <a:pt x="23" y="120"/>
                    <a:pt x="23" y="118"/>
                  </a:cubicBezTo>
                  <a:cubicBezTo>
                    <a:pt x="23" y="116"/>
                    <a:pt x="27" y="104"/>
                    <a:pt x="27" y="102"/>
                  </a:cubicBezTo>
                  <a:cubicBezTo>
                    <a:pt x="27" y="100"/>
                    <a:pt x="28" y="97"/>
                    <a:pt x="27" y="95"/>
                  </a:cubicBezTo>
                  <a:cubicBezTo>
                    <a:pt x="26" y="92"/>
                    <a:pt x="21" y="79"/>
                    <a:pt x="23" y="77"/>
                  </a:cubicBezTo>
                  <a:cubicBezTo>
                    <a:pt x="25" y="75"/>
                    <a:pt x="27" y="69"/>
                    <a:pt x="27" y="68"/>
                  </a:cubicBezTo>
                  <a:cubicBezTo>
                    <a:pt x="28" y="66"/>
                    <a:pt x="27" y="59"/>
                    <a:pt x="29" y="56"/>
                  </a:cubicBezTo>
                  <a:cubicBezTo>
                    <a:pt x="30" y="53"/>
                    <a:pt x="37" y="44"/>
                    <a:pt x="38" y="42"/>
                  </a:cubicBezTo>
                  <a:cubicBezTo>
                    <a:pt x="39" y="41"/>
                    <a:pt x="38" y="33"/>
                    <a:pt x="38" y="31"/>
                  </a:cubicBezTo>
                  <a:cubicBezTo>
                    <a:pt x="38" y="29"/>
                    <a:pt x="36" y="24"/>
                    <a:pt x="39" y="23"/>
                  </a:cubicBezTo>
                  <a:cubicBezTo>
                    <a:pt x="41" y="21"/>
                    <a:pt x="46" y="18"/>
                    <a:pt x="47" y="18"/>
                  </a:cubicBezTo>
                  <a:cubicBezTo>
                    <a:pt x="49" y="7"/>
                    <a:pt x="49" y="7"/>
                    <a:pt x="49" y="7"/>
                  </a:cubicBezTo>
                  <a:cubicBezTo>
                    <a:pt x="51" y="6"/>
                    <a:pt x="53" y="3"/>
                    <a:pt x="55" y="1"/>
                  </a:cubicBezTo>
                  <a:cubicBezTo>
                    <a:pt x="56" y="0"/>
                    <a:pt x="61" y="1"/>
                    <a:pt x="64" y="2"/>
                  </a:cubicBezTo>
                  <a:cubicBezTo>
                    <a:pt x="67" y="2"/>
                    <a:pt x="68" y="8"/>
                    <a:pt x="69" y="8"/>
                  </a:cubicBezTo>
                  <a:cubicBezTo>
                    <a:pt x="71" y="8"/>
                    <a:pt x="75" y="2"/>
                    <a:pt x="77" y="2"/>
                  </a:cubicBezTo>
                  <a:cubicBezTo>
                    <a:pt x="79" y="2"/>
                    <a:pt x="81" y="2"/>
                    <a:pt x="82" y="3"/>
                  </a:cubicBezTo>
                  <a:cubicBezTo>
                    <a:pt x="83" y="3"/>
                    <a:pt x="83" y="4"/>
                    <a:pt x="83" y="4"/>
                  </a:cubicBezTo>
                  <a:cubicBezTo>
                    <a:pt x="83" y="7"/>
                    <a:pt x="97" y="17"/>
                    <a:pt x="99" y="18"/>
                  </a:cubicBezTo>
                  <a:cubicBezTo>
                    <a:pt x="103" y="20"/>
                    <a:pt x="121" y="29"/>
                    <a:pt x="121" y="30"/>
                  </a:cubicBezTo>
                  <a:cubicBezTo>
                    <a:pt x="121" y="32"/>
                    <a:pt x="111" y="42"/>
                    <a:pt x="113" y="44"/>
                  </a:cubicBezTo>
                  <a:cubicBezTo>
                    <a:pt x="115" y="46"/>
                    <a:pt x="123" y="46"/>
                    <a:pt x="127" y="46"/>
                  </a:cubicBezTo>
                  <a:cubicBezTo>
                    <a:pt x="131" y="46"/>
                    <a:pt x="137" y="41"/>
                    <a:pt x="139" y="40"/>
                  </a:cubicBezTo>
                  <a:cubicBezTo>
                    <a:pt x="141" y="39"/>
                    <a:pt x="143" y="33"/>
                    <a:pt x="144" y="31"/>
                  </a:cubicBezTo>
                  <a:cubicBezTo>
                    <a:pt x="146" y="31"/>
                    <a:pt x="149" y="31"/>
                    <a:pt x="149" y="31"/>
                  </a:cubicBezTo>
                  <a:cubicBezTo>
                    <a:pt x="151" y="31"/>
                    <a:pt x="153" y="35"/>
                    <a:pt x="152" y="37"/>
                  </a:cubicBezTo>
                  <a:cubicBezTo>
                    <a:pt x="151" y="38"/>
                    <a:pt x="151" y="43"/>
                    <a:pt x="149" y="44"/>
                  </a:cubicBezTo>
                  <a:cubicBezTo>
                    <a:pt x="146" y="45"/>
                    <a:pt x="140" y="51"/>
                    <a:pt x="136" y="54"/>
                  </a:cubicBezTo>
                  <a:cubicBezTo>
                    <a:pt x="133" y="57"/>
                    <a:pt x="128" y="62"/>
                    <a:pt x="124" y="66"/>
                  </a:cubicBezTo>
                  <a:cubicBezTo>
                    <a:pt x="123" y="68"/>
                    <a:pt x="122" y="69"/>
                    <a:pt x="121" y="69"/>
                  </a:cubicBezTo>
                  <a:cubicBezTo>
                    <a:pt x="119" y="71"/>
                    <a:pt x="118" y="75"/>
                    <a:pt x="118" y="77"/>
                  </a:cubicBezTo>
                  <a:cubicBezTo>
                    <a:pt x="118" y="80"/>
                    <a:pt x="115" y="101"/>
                    <a:pt x="115" y="101"/>
                  </a:cubicBezTo>
                  <a:cubicBezTo>
                    <a:pt x="114" y="101"/>
                    <a:pt x="115" y="101"/>
                    <a:pt x="115" y="104"/>
                  </a:cubicBezTo>
                  <a:cubicBezTo>
                    <a:pt x="115" y="108"/>
                    <a:pt x="120" y="108"/>
                    <a:pt x="123" y="110"/>
                  </a:cubicBezTo>
                  <a:cubicBezTo>
                    <a:pt x="126" y="112"/>
                    <a:pt x="123" y="114"/>
                    <a:pt x="123" y="117"/>
                  </a:cubicBezTo>
                  <a:cubicBezTo>
                    <a:pt x="123" y="121"/>
                    <a:pt x="128" y="120"/>
                    <a:pt x="128" y="122"/>
                  </a:cubicBezTo>
                  <a:cubicBezTo>
                    <a:pt x="129" y="124"/>
                    <a:pt x="127" y="127"/>
                    <a:pt x="125" y="129"/>
                  </a:cubicBezTo>
                  <a:cubicBezTo>
                    <a:pt x="123" y="130"/>
                    <a:pt x="122" y="135"/>
                    <a:pt x="121" y="137"/>
                  </a:cubicBezTo>
                  <a:cubicBezTo>
                    <a:pt x="119" y="139"/>
                    <a:pt x="107" y="142"/>
                    <a:pt x="104" y="143"/>
                  </a:cubicBezTo>
                  <a:cubicBezTo>
                    <a:pt x="101" y="145"/>
                    <a:pt x="87" y="144"/>
                    <a:pt x="87" y="145"/>
                  </a:cubicBezTo>
                  <a:cubicBezTo>
                    <a:pt x="87" y="146"/>
                    <a:pt x="87" y="157"/>
                    <a:pt x="87" y="159"/>
                  </a:cubicBezTo>
                  <a:cubicBezTo>
                    <a:pt x="87" y="162"/>
                    <a:pt x="85" y="161"/>
                    <a:pt x="83" y="163"/>
                  </a:cubicBezTo>
                  <a:cubicBezTo>
                    <a:pt x="81" y="164"/>
                    <a:pt x="75" y="164"/>
                    <a:pt x="73" y="164"/>
                  </a:cubicBezTo>
                  <a:cubicBezTo>
                    <a:pt x="71" y="164"/>
                    <a:pt x="66" y="161"/>
                    <a:pt x="64" y="161"/>
                  </a:cubicBezTo>
                  <a:cubicBezTo>
                    <a:pt x="62" y="162"/>
                    <a:pt x="64" y="167"/>
                    <a:pt x="64" y="168"/>
                  </a:cubicBezTo>
                  <a:cubicBezTo>
                    <a:pt x="64" y="170"/>
                    <a:pt x="65" y="172"/>
                    <a:pt x="66" y="173"/>
                  </a:cubicBezTo>
                  <a:cubicBezTo>
                    <a:pt x="67" y="174"/>
                    <a:pt x="72" y="172"/>
                    <a:pt x="74" y="172"/>
                  </a:cubicBezTo>
                  <a:cubicBezTo>
                    <a:pt x="75" y="173"/>
                    <a:pt x="75" y="176"/>
                    <a:pt x="75" y="178"/>
                  </a:cubicBezTo>
                  <a:cubicBezTo>
                    <a:pt x="75" y="179"/>
                    <a:pt x="72" y="181"/>
                    <a:pt x="71" y="181"/>
                  </a:cubicBezTo>
                  <a:cubicBezTo>
                    <a:pt x="69" y="181"/>
                    <a:pt x="66" y="184"/>
                    <a:pt x="64" y="185"/>
                  </a:cubicBezTo>
                  <a:cubicBezTo>
                    <a:pt x="62" y="187"/>
                    <a:pt x="62" y="191"/>
                    <a:pt x="62" y="195"/>
                  </a:cubicBezTo>
                  <a:cubicBezTo>
                    <a:pt x="62" y="198"/>
                    <a:pt x="62" y="200"/>
                    <a:pt x="61" y="200"/>
                  </a:cubicBezTo>
                  <a:cubicBezTo>
                    <a:pt x="60" y="201"/>
                    <a:pt x="58" y="200"/>
                    <a:pt x="55" y="200"/>
                  </a:cubicBezTo>
                  <a:cubicBezTo>
                    <a:pt x="53" y="200"/>
                    <a:pt x="50" y="202"/>
                    <a:pt x="47" y="205"/>
                  </a:cubicBezTo>
                  <a:cubicBezTo>
                    <a:pt x="45" y="209"/>
                    <a:pt x="45" y="213"/>
                    <a:pt x="48" y="216"/>
                  </a:cubicBezTo>
                  <a:cubicBezTo>
                    <a:pt x="51" y="219"/>
                    <a:pt x="56" y="219"/>
                    <a:pt x="58" y="220"/>
                  </a:cubicBezTo>
                  <a:cubicBezTo>
                    <a:pt x="60" y="221"/>
                    <a:pt x="59" y="224"/>
                    <a:pt x="59" y="227"/>
                  </a:cubicBezTo>
                  <a:cubicBezTo>
                    <a:pt x="59" y="230"/>
                    <a:pt x="49" y="236"/>
                    <a:pt x="47" y="238"/>
                  </a:cubicBezTo>
                  <a:cubicBezTo>
                    <a:pt x="45" y="241"/>
                    <a:pt x="43" y="246"/>
                    <a:pt x="43" y="249"/>
                  </a:cubicBezTo>
                  <a:cubicBezTo>
                    <a:pt x="42" y="251"/>
                    <a:pt x="35" y="252"/>
                    <a:pt x="33" y="255"/>
                  </a:cubicBezTo>
                  <a:cubicBezTo>
                    <a:pt x="32" y="257"/>
                    <a:pt x="33" y="263"/>
                    <a:pt x="35" y="266"/>
                  </a:cubicBezTo>
                  <a:cubicBezTo>
                    <a:pt x="37" y="268"/>
                    <a:pt x="37" y="270"/>
                    <a:pt x="35" y="270"/>
                  </a:cubicBezTo>
                  <a:cubicBezTo>
                    <a:pt x="34" y="270"/>
                    <a:pt x="29" y="268"/>
                    <a:pt x="29" y="269"/>
                  </a:cubicBezTo>
                  <a:cubicBezTo>
                    <a:pt x="11" y="268"/>
                    <a:pt x="11" y="268"/>
                    <a:pt x="11" y="268"/>
                  </a:cubicBezTo>
                  <a:cubicBezTo>
                    <a:pt x="9" y="267"/>
                    <a:pt x="8" y="265"/>
                    <a:pt x="8" y="263"/>
                  </a:cubicBezTo>
                  <a:cubicBezTo>
                    <a:pt x="8" y="262"/>
                    <a:pt x="11" y="257"/>
                    <a:pt x="9" y="255"/>
                  </a:cubicBezTo>
                  <a:cubicBezTo>
                    <a:pt x="7" y="254"/>
                    <a:pt x="4" y="255"/>
                    <a:pt x="2" y="25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3" name="Freeform 59"/>
            <p:cNvSpPr>
              <a:spLocks/>
            </p:cNvSpPr>
            <p:nvPr>
              <p:custDataLst>
                <p:tags r:id="rId52"/>
              </p:custDataLst>
            </p:nvPr>
          </p:nvSpPr>
          <p:spPr bwMode="auto">
            <a:xfrm>
              <a:off x="1793" y="3562"/>
              <a:ext cx="40" cy="48"/>
            </a:xfrm>
            <a:custGeom>
              <a:avLst/>
              <a:gdLst>
                <a:gd name="T0" fmla="*/ 8283 w 23"/>
                <a:gd name="T1" fmla="*/ 73269 h 26"/>
                <a:gd name="T2" fmla="*/ 0 w 23"/>
                <a:gd name="T3" fmla="*/ 58615 h 26"/>
                <a:gd name="T4" fmla="*/ 35891 w 23"/>
                <a:gd name="T5" fmla="*/ 52754 h 26"/>
                <a:gd name="T6" fmla="*/ 33130 w 23"/>
                <a:gd name="T7" fmla="*/ 41031 h 26"/>
                <a:gd name="T8" fmla="*/ 46935 w 23"/>
                <a:gd name="T9" fmla="*/ 26377 h 26"/>
                <a:gd name="T10" fmla="*/ 30370 w 23"/>
                <a:gd name="T11" fmla="*/ 23446 h 26"/>
                <a:gd name="T12" fmla="*/ 27609 w 23"/>
                <a:gd name="T13" fmla="*/ 17585 h 26"/>
                <a:gd name="T14" fmla="*/ 41413 w 23"/>
                <a:gd name="T15" fmla="*/ 5862 h 26"/>
                <a:gd name="T16" fmla="*/ 60739 w 23"/>
                <a:gd name="T17" fmla="*/ 0 h 26"/>
                <a:gd name="T18" fmla="*/ 63500 w 23"/>
                <a:gd name="T19" fmla="*/ 2931 h 26"/>
                <a:gd name="T20" fmla="*/ 63500 w 23"/>
                <a:gd name="T21" fmla="*/ 70338 h 26"/>
                <a:gd name="T22" fmla="*/ 63500 w 23"/>
                <a:gd name="T23" fmla="*/ 70338 h 26"/>
                <a:gd name="T24" fmla="*/ 60739 w 23"/>
                <a:gd name="T25" fmla="*/ 70338 h 26"/>
                <a:gd name="T26" fmla="*/ 8283 w 23"/>
                <a:gd name="T27" fmla="*/ 73269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3" h="26">
                  <a:moveTo>
                    <a:pt x="3" y="25"/>
                  </a:moveTo>
                  <a:cubicBezTo>
                    <a:pt x="1" y="24"/>
                    <a:pt x="0" y="22"/>
                    <a:pt x="0" y="20"/>
                  </a:cubicBezTo>
                  <a:cubicBezTo>
                    <a:pt x="0" y="18"/>
                    <a:pt x="12" y="18"/>
                    <a:pt x="13" y="18"/>
                  </a:cubicBezTo>
                  <a:cubicBezTo>
                    <a:pt x="13" y="18"/>
                    <a:pt x="12" y="15"/>
                    <a:pt x="12" y="14"/>
                  </a:cubicBezTo>
                  <a:cubicBezTo>
                    <a:pt x="12" y="13"/>
                    <a:pt x="18" y="13"/>
                    <a:pt x="17" y="9"/>
                  </a:cubicBezTo>
                  <a:cubicBezTo>
                    <a:pt x="17" y="7"/>
                    <a:pt x="13" y="8"/>
                    <a:pt x="11" y="8"/>
                  </a:cubicBezTo>
                  <a:cubicBezTo>
                    <a:pt x="9" y="8"/>
                    <a:pt x="10" y="8"/>
                    <a:pt x="10" y="6"/>
                  </a:cubicBezTo>
                  <a:cubicBezTo>
                    <a:pt x="10" y="5"/>
                    <a:pt x="12" y="3"/>
                    <a:pt x="15" y="2"/>
                  </a:cubicBezTo>
                  <a:cubicBezTo>
                    <a:pt x="19" y="1"/>
                    <a:pt x="21" y="0"/>
                    <a:pt x="22" y="0"/>
                  </a:cubicBezTo>
                  <a:cubicBezTo>
                    <a:pt x="22" y="0"/>
                    <a:pt x="22" y="0"/>
                    <a:pt x="23" y="1"/>
                  </a:cubicBezTo>
                  <a:cubicBezTo>
                    <a:pt x="23" y="24"/>
                    <a:pt x="23" y="24"/>
                    <a:pt x="23" y="24"/>
                  </a:cubicBezTo>
                  <a:cubicBezTo>
                    <a:pt x="23" y="24"/>
                    <a:pt x="23" y="24"/>
                    <a:pt x="23" y="24"/>
                  </a:cubicBezTo>
                  <a:cubicBezTo>
                    <a:pt x="23" y="24"/>
                    <a:pt x="22" y="24"/>
                    <a:pt x="22" y="24"/>
                  </a:cubicBezTo>
                  <a:cubicBezTo>
                    <a:pt x="20" y="24"/>
                    <a:pt x="5" y="26"/>
                    <a:pt x="3" y="2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4" name="Freeform 60"/>
            <p:cNvSpPr>
              <a:spLocks/>
            </p:cNvSpPr>
            <p:nvPr>
              <p:custDataLst>
                <p:tags r:id="rId53"/>
              </p:custDataLst>
            </p:nvPr>
          </p:nvSpPr>
          <p:spPr bwMode="auto">
            <a:xfrm>
              <a:off x="1743" y="3404"/>
              <a:ext cx="20" cy="27"/>
            </a:xfrm>
            <a:custGeom>
              <a:avLst/>
              <a:gdLst>
                <a:gd name="T0" fmla="*/ 11545 w 11"/>
                <a:gd name="T1" fmla="*/ 27555 h 14"/>
                <a:gd name="T2" fmla="*/ 0 w 11"/>
                <a:gd name="T3" fmla="*/ 18370 h 14"/>
                <a:gd name="T4" fmla="*/ 11545 w 11"/>
                <a:gd name="T5" fmla="*/ 12247 h 14"/>
                <a:gd name="T6" fmla="*/ 17318 w 11"/>
                <a:gd name="T7" fmla="*/ 0 h 14"/>
                <a:gd name="T8" fmla="*/ 31750 w 11"/>
                <a:gd name="T9" fmla="*/ 0 h 14"/>
                <a:gd name="T10" fmla="*/ 28864 w 11"/>
                <a:gd name="T11" fmla="*/ 21432 h 14"/>
                <a:gd name="T12" fmla="*/ 25977 w 11"/>
                <a:gd name="T13" fmla="*/ 33678 h 14"/>
                <a:gd name="T14" fmla="*/ 20205 w 11"/>
                <a:gd name="T15" fmla="*/ 42863 h 14"/>
                <a:gd name="T16" fmla="*/ 5773 w 11"/>
                <a:gd name="T17" fmla="*/ 39801 h 14"/>
                <a:gd name="T18" fmla="*/ 11545 w 11"/>
                <a:gd name="T19" fmla="*/ 27555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 h="14">
                  <a:moveTo>
                    <a:pt x="4" y="9"/>
                  </a:moveTo>
                  <a:cubicBezTo>
                    <a:pt x="4" y="8"/>
                    <a:pt x="0" y="8"/>
                    <a:pt x="0" y="6"/>
                  </a:cubicBezTo>
                  <a:cubicBezTo>
                    <a:pt x="0" y="5"/>
                    <a:pt x="4" y="5"/>
                    <a:pt x="4" y="4"/>
                  </a:cubicBezTo>
                  <a:cubicBezTo>
                    <a:pt x="5" y="3"/>
                    <a:pt x="6" y="0"/>
                    <a:pt x="6" y="0"/>
                  </a:cubicBezTo>
                  <a:cubicBezTo>
                    <a:pt x="7" y="0"/>
                    <a:pt x="11" y="0"/>
                    <a:pt x="11" y="0"/>
                  </a:cubicBezTo>
                  <a:cubicBezTo>
                    <a:pt x="11" y="1"/>
                    <a:pt x="11" y="6"/>
                    <a:pt x="10" y="7"/>
                  </a:cubicBezTo>
                  <a:cubicBezTo>
                    <a:pt x="10" y="8"/>
                    <a:pt x="9" y="10"/>
                    <a:pt x="9" y="11"/>
                  </a:cubicBezTo>
                  <a:cubicBezTo>
                    <a:pt x="8" y="12"/>
                    <a:pt x="8" y="14"/>
                    <a:pt x="7" y="14"/>
                  </a:cubicBezTo>
                  <a:cubicBezTo>
                    <a:pt x="5" y="13"/>
                    <a:pt x="2" y="14"/>
                    <a:pt x="2" y="13"/>
                  </a:cubicBezTo>
                  <a:cubicBezTo>
                    <a:pt x="2" y="12"/>
                    <a:pt x="5" y="9"/>
                    <a:pt x="4"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5" name="Freeform 61"/>
            <p:cNvSpPr>
              <a:spLocks/>
            </p:cNvSpPr>
            <p:nvPr>
              <p:custDataLst>
                <p:tags r:id="rId54"/>
              </p:custDataLst>
            </p:nvPr>
          </p:nvSpPr>
          <p:spPr bwMode="auto">
            <a:xfrm>
              <a:off x="1740" y="2998"/>
              <a:ext cx="113" cy="596"/>
            </a:xfrm>
            <a:custGeom>
              <a:avLst/>
              <a:gdLst>
                <a:gd name="T0" fmla="*/ 5436 w 66"/>
                <a:gd name="T1" fmla="*/ 829701 h 325"/>
                <a:gd name="T2" fmla="*/ 5436 w 66"/>
                <a:gd name="T3" fmla="*/ 812233 h 325"/>
                <a:gd name="T4" fmla="*/ 0 w 66"/>
                <a:gd name="T5" fmla="*/ 768565 h 325"/>
                <a:gd name="T6" fmla="*/ 29898 w 66"/>
                <a:gd name="T7" fmla="*/ 736541 h 325"/>
                <a:gd name="T8" fmla="*/ 5436 w 66"/>
                <a:gd name="T9" fmla="*/ 730719 h 325"/>
                <a:gd name="T10" fmla="*/ 10872 w 66"/>
                <a:gd name="T11" fmla="*/ 710340 h 325"/>
                <a:gd name="T12" fmla="*/ 40770 w 66"/>
                <a:gd name="T13" fmla="*/ 707429 h 325"/>
                <a:gd name="T14" fmla="*/ 48924 w 66"/>
                <a:gd name="T15" fmla="*/ 675406 h 325"/>
                <a:gd name="T16" fmla="*/ 51642 w 66"/>
                <a:gd name="T17" fmla="*/ 646293 h 325"/>
                <a:gd name="T18" fmla="*/ 67950 w 66"/>
                <a:gd name="T19" fmla="*/ 602625 h 325"/>
                <a:gd name="T20" fmla="*/ 48924 w 66"/>
                <a:gd name="T21" fmla="*/ 605536 h 325"/>
                <a:gd name="T22" fmla="*/ 27180 w 66"/>
                <a:gd name="T23" fmla="*/ 631737 h 325"/>
                <a:gd name="T24" fmla="*/ 32616 w 66"/>
                <a:gd name="T25" fmla="*/ 596802 h 325"/>
                <a:gd name="T26" fmla="*/ 38052 w 66"/>
                <a:gd name="T27" fmla="*/ 579335 h 325"/>
                <a:gd name="T28" fmla="*/ 48924 w 66"/>
                <a:gd name="T29" fmla="*/ 529844 h 325"/>
                <a:gd name="T30" fmla="*/ 38052 w 66"/>
                <a:gd name="T31" fmla="*/ 471619 h 325"/>
                <a:gd name="T32" fmla="*/ 54360 w 66"/>
                <a:gd name="T33" fmla="*/ 451241 h 325"/>
                <a:gd name="T34" fmla="*/ 81540 w 66"/>
                <a:gd name="T35" fmla="*/ 352259 h 325"/>
                <a:gd name="T36" fmla="*/ 86976 w 66"/>
                <a:gd name="T37" fmla="*/ 299857 h 325"/>
                <a:gd name="T38" fmla="*/ 84258 w 66"/>
                <a:gd name="T39" fmla="*/ 264922 h 325"/>
                <a:gd name="T40" fmla="*/ 103284 w 66"/>
                <a:gd name="T41" fmla="*/ 189230 h 325"/>
                <a:gd name="T42" fmla="*/ 114156 w 66"/>
                <a:gd name="T43" fmla="*/ 81514 h 325"/>
                <a:gd name="T44" fmla="*/ 122310 w 66"/>
                <a:gd name="T45" fmla="*/ 11645 h 325"/>
                <a:gd name="T46" fmla="*/ 141336 w 66"/>
                <a:gd name="T47" fmla="*/ 23290 h 325"/>
                <a:gd name="T48" fmla="*/ 149490 w 66"/>
                <a:gd name="T49" fmla="*/ 66958 h 325"/>
                <a:gd name="T50" fmla="*/ 176670 w 66"/>
                <a:gd name="T51" fmla="*/ 119360 h 325"/>
                <a:gd name="T52" fmla="*/ 173952 w 66"/>
                <a:gd name="T53" fmla="*/ 148473 h 325"/>
                <a:gd name="T54" fmla="*/ 149490 w 66"/>
                <a:gd name="T55" fmla="*/ 186319 h 325"/>
                <a:gd name="T56" fmla="*/ 125028 w 66"/>
                <a:gd name="T57" fmla="*/ 259100 h 325"/>
                <a:gd name="T58" fmla="*/ 108720 w 66"/>
                <a:gd name="T59" fmla="*/ 320235 h 325"/>
                <a:gd name="T60" fmla="*/ 119592 w 66"/>
                <a:gd name="T61" fmla="*/ 393016 h 325"/>
                <a:gd name="T62" fmla="*/ 95130 w 66"/>
                <a:gd name="T63" fmla="*/ 454152 h 325"/>
                <a:gd name="T64" fmla="*/ 92412 w 66"/>
                <a:gd name="T65" fmla="*/ 521110 h 325"/>
                <a:gd name="T66" fmla="*/ 89694 w 66"/>
                <a:gd name="T67" fmla="*/ 599714 h 325"/>
                <a:gd name="T68" fmla="*/ 81540 w 66"/>
                <a:gd name="T69" fmla="*/ 657938 h 325"/>
                <a:gd name="T70" fmla="*/ 84258 w 66"/>
                <a:gd name="T71" fmla="*/ 695784 h 325"/>
                <a:gd name="T72" fmla="*/ 70668 w 66"/>
                <a:gd name="T73" fmla="*/ 751098 h 325"/>
                <a:gd name="T74" fmla="*/ 51642 w 66"/>
                <a:gd name="T75" fmla="*/ 791855 h 325"/>
                <a:gd name="T76" fmla="*/ 51642 w 66"/>
                <a:gd name="T77" fmla="*/ 835523 h 325"/>
                <a:gd name="T78" fmla="*/ 67950 w 66"/>
                <a:gd name="T79" fmla="*/ 861724 h 325"/>
                <a:gd name="T80" fmla="*/ 125028 w 66"/>
                <a:gd name="T81" fmla="*/ 879192 h 325"/>
                <a:gd name="T82" fmla="*/ 97848 w 66"/>
                <a:gd name="T83" fmla="*/ 896659 h 325"/>
                <a:gd name="T84" fmla="*/ 92412 w 66"/>
                <a:gd name="T85" fmla="*/ 934505 h 325"/>
                <a:gd name="T86" fmla="*/ 48924 w 66"/>
                <a:gd name="T87" fmla="*/ 928683 h 325"/>
                <a:gd name="T88" fmla="*/ 19026 w 66"/>
                <a:gd name="T89" fmla="*/ 905393 h 325"/>
                <a:gd name="T90" fmla="*/ 43488 w 66"/>
                <a:gd name="T91" fmla="*/ 902482 h 325"/>
                <a:gd name="T92" fmla="*/ 13590 w 66"/>
                <a:gd name="T93" fmla="*/ 879192 h 325"/>
                <a:gd name="T94" fmla="*/ 8154 w 66"/>
                <a:gd name="T95" fmla="*/ 861724 h 325"/>
                <a:gd name="T96" fmla="*/ 10872 w 66"/>
                <a:gd name="T97" fmla="*/ 841346 h 3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6" h="325">
                  <a:moveTo>
                    <a:pt x="4" y="289"/>
                  </a:moveTo>
                  <a:cubicBezTo>
                    <a:pt x="2" y="289"/>
                    <a:pt x="2" y="287"/>
                    <a:pt x="2" y="285"/>
                  </a:cubicBezTo>
                  <a:cubicBezTo>
                    <a:pt x="2" y="283"/>
                    <a:pt x="6" y="281"/>
                    <a:pt x="6" y="280"/>
                  </a:cubicBezTo>
                  <a:cubicBezTo>
                    <a:pt x="6" y="280"/>
                    <a:pt x="4" y="279"/>
                    <a:pt x="2" y="279"/>
                  </a:cubicBezTo>
                  <a:cubicBezTo>
                    <a:pt x="0" y="278"/>
                    <a:pt x="1" y="276"/>
                    <a:pt x="0" y="274"/>
                  </a:cubicBezTo>
                  <a:cubicBezTo>
                    <a:pt x="0" y="272"/>
                    <a:pt x="0" y="265"/>
                    <a:pt x="0" y="264"/>
                  </a:cubicBezTo>
                  <a:cubicBezTo>
                    <a:pt x="1" y="263"/>
                    <a:pt x="4" y="260"/>
                    <a:pt x="6" y="259"/>
                  </a:cubicBezTo>
                  <a:cubicBezTo>
                    <a:pt x="7" y="259"/>
                    <a:pt x="10" y="255"/>
                    <a:pt x="11" y="253"/>
                  </a:cubicBezTo>
                  <a:cubicBezTo>
                    <a:pt x="11" y="252"/>
                    <a:pt x="10" y="250"/>
                    <a:pt x="9" y="250"/>
                  </a:cubicBezTo>
                  <a:cubicBezTo>
                    <a:pt x="7" y="250"/>
                    <a:pt x="4" y="250"/>
                    <a:pt x="2" y="251"/>
                  </a:cubicBezTo>
                  <a:cubicBezTo>
                    <a:pt x="1" y="251"/>
                    <a:pt x="0" y="250"/>
                    <a:pt x="0" y="248"/>
                  </a:cubicBezTo>
                  <a:cubicBezTo>
                    <a:pt x="0" y="247"/>
                    <a:pt x="3" y="245"/>
                    <a:pt x="4" y="244"/>
                  </a:cubicBezTo>
                  <a:cubicBezTo>
                    <a:pt x="6" y="242"/>
                    <a:pt x="7" y="240"/>
                    <a:pt x="8" y="241"/>
                  </a:cubicBezTo>
                  <a:cubicBezTo>
                    <a:pt x="10" y="242"/>
                    <a:pt x="14" y="244"/>
                    <a:pt x="15" y="243"/>
                  </a:cubicBezTo>
                  <a:cubicBezTo>
                    <a:pt x="16" y="241"/>
                    <a:pt x="15" y="238"/>
                    <a:pt x="16" y="236"/>
                  </a:cubicBezTo>
                  <a:cubicBezTo>
                    <a:pt x="17" y="235"/>
                    <a:pt x="16" y="232"/>
                    <a:pt x="18" y="232"/>
                  </a:cubicBezTo>
                  <a:cubicBezTo>
                    <a:pt x="20" y="232"/>
                    <a:pt x="21" y="229"/>
                    <a:pt x="21" y="227"/>
                  </a:cubicBezTo>
                  <a:cubicBezTo>
                    <a:pt x="21" y="226"/>
                    <a:pt x="19" y="224"/>
                    <a:pt x="19" y="222"/>
                  </a:cubicBezTo>
                  <a:cubicBezTo>
                    <a:pt x="20" y="221"/>
                    <a:pt x="21" y="215"/>
                    <a:pt x="22" y="213"/>
                  </a:cubicBezTo>
                  <a:cubicBezTo>
                    <a:pt x="23" y="212"/>
                    <a:pt x="24" y="208"/>
                    <a:pt x="25" y="207"/>
                  </a:cubicBezTo>
                  <a:cubicBezTo>
                    <a:pt x="25" y="207"/>
                    <a:pt x="22" y="205"/>
                    <a:pt x="20" y="205"/>
                  </a:cubicBezTo>
                  <a:cubicBezTo>
                    <a:pt x="18" y="205"/>
                    <a:pt x="18" y="207"/>
                    <a:pt x="18" y="208"/>
                  </a:cubicBezTo>
                  <a:cubicBezTo>
                    <a:pt x="18" y="209"/>
                    <a:pt x="16" y="214"/>
                    <a:pt x="15" y="216"/>
                  </a:cubicBezTo>
                  <a:cubicBezTo>
                    <a:pt x="14" y="217"/>
                    <a:pt x="12" y="217"/>
                    <a:pt x="10" y="217"/>
                  </a:cubicBezTo>
                  <a:cubicBezTo>
                    <a:pt x="8" y="217"/>
                    <a:pt x="8" y="215"/>
                    <a:pt x="8" y="214"/>
                  </a:cubicBezTo>
                  <a:cubicBezTo>
                    <a:pt x="9" y="213"/>
                    <a:pt x="12" y="207"/>
                    <a:pt x="12" y="205"/>
                  </a:cubicBezTo>
                  <a:cubicBezTo>
                    <a:pt x="12" y="204"/>
                    <a:pt x="15" y="204"/>
                    <a:pt x="15" y="203"/>
                  </a:cubicBezTo>
                  <a:cubicBezTo>
                    <a:pt x="16" y="202"/>
                    <a:pt x="14" y="200"/>
                    <a:pt x="14" y="199"/>
                  </a:cubicBezTo>
                  <a:cubicBezTo>
                    <a:pt x="14" y="198"/>
                    <a:pt x="13" y="191"/>
                    <a:pt x="14" y="190"/>
                  </a:cubicBezTo>
                  <a:cubicBezTo>
                    <a:pt x="14" y="188"/>
                    <a:pt x="17" y="184"/>
                    <a:pt x="18" y="182"/>
                  </a:cubicBezTo>
                  <a:cubicBezTo>
                    <a:pt x="19" y="180"/>
                    <a:pt x="16" y="175"/>
                    <a:pt x="16" y="172"/>
                  </a:cubicBezTo>
                  <a:cubicBezTo>
                    <a:pt x="14" y="170"/>
                    <a:pt x="13" y="163"/>
                    <a:pt x="14" y="162"/>
                  </a:cubicBezTo>
                  <a:cubicBezTo>
                    <a:pt x="14" y="160"/>
                    <a:pt x="18" y="162"/>
                    <a:pt x="18" y="161"/>
                  </a:cubicBezTo>
                  <a:cubicBezTo>
                    <a:pt x="19" y="160"/>
                    <a:pt x="20" y="158"/>
                    <a:pt x="20" y="155"/>
                  </a:cubicBezTo>
                  <a:cubicBezTo>
                    <a:pt x="22" y="152"/>
                    <a:pt x="25" y="142"/>
                    <a:pt x="27" y="137"/>
                  </a:cubicBezTo>
                  <a:cubicBezTo>
                    <a:pt x="29" y="133"/>
                    <a:pt x="30" y="127"/>
                    <a:pt x="30" y="121"/>
                  </a:cubicBezTo>
                  <a:cubicBezTo>
                    <a:pt x="32" y="115"/>
                    <a:pt x="29" y="106"/>
                    <a:pt x="29" y="105"/>
                  </a:cubicBezTo>
                  <a:cubicBezTo>
                    <a:pt x="29" y="103"/>
                    <a:pt x="32" y="103"/>
                    <a:pt x="32" y="103"/>
                  </a:cubicBezTo>
                  <a:cubicBezTo>
                    <a:pt x="32" y="102"/>
                    <a:pt x="33" y="98"/>
                    <a:pt x="33" y="97"/>
                  </a:cubicBezTo>
                  <a:cubicBezTo>
                    <a:pt x="33" y="95"/>
                    <a:pt x="30" y="93"/>
                    <a:pt x="31" y="91"/>
                  </a:cubicBezTo>
                  <a:cubicBezTo>
                    <a:pt x="32" y="90"/>
                    <a:pt x="34" y="85"/>
                    <a:pt x="35" y="83"/>
                  </a:cubicBezTo>
                  <a:cubicBezTo>
                    <a:pt x="36" y="80"/>
                    <a:pt x="37" y="68"/>
                    <a:pt x="38" y="65"/>
                  </a:cubicBezTo>
                  <a:cubicBezTo>
                    <a:pt x="39" y="61"/>
                    <a:pt x="39" y="48"/>
                    <a:pt x="40" y="44"/>
                  </a:cubicBezTo>
                  <a:cubicBezTo>
                    <a:pt x="41" y="41"/>
                    <a:pt x="42" y="33"/>
                    <a:pt x="42" y="28"/>
                  </a:cubicBezTo>
                  <a:cubicBezTo>
                    <a:pt x="43" y="24"/>
                    <a:pt x="41" y="6"/>
                    <a:pt x="40" y="6"/>
                  </a:cubicBezTo>
                  <a:cubicBezTo>
                    <a:pt x="45" y="4"/>
                    <a:pt x="45" y="4"/>
                    <a:pt x="45" y="4"/>
                  </a:cubicBezTo>
                  <a:cubicBezTo>
                    <a:pt x="45" y="3"/>
                    <a:pt x="46" y="2"/>
                    <a:pt x="47" y="0"/>
                  </a:cubicBezTo>
                  <a:cubicBezTo>
                    <a:pt x="52" y="8"/>
                    <a:pt x="52" y="8"/>
                    <a:pt x="52" y="8"/>
                  </a:cubicBezTo>
                  <a:cubicBezTo>
                    <a:pt x="53" y="10"/>
                    <a:pt x="55" y="12"/>
                    <a:pt x="56" y="14"/>
                  </a:cubicBezTo>
                  <a:cubicBezTo>
                    <a:pt x="56" y="16"/>
                    <a:pt x="54" y="20"/>
                    <a:pt x="55" y="23"/>
                  </a:cubicBezTo>
                  <a:cubicBezTo>
                    <a:pt x="56" y="26"/>
                    <a:pt x="58" y="39"/>
                    <a:pt x="58" y="40"/>
                  </a:cubicBezTo>
                  <a:cubicBezTo>
                    <a:pt x="58" y="42"/>
                    <a:pt x="64" y="41"/>
                    <a:pt x="65" y="41"/>
                  </a:cubicBezTo>
                  <a:cubicBezTo>
                    <a:pt x="65" y="41"/>
                    <a:pt x="66" y="41"/>
                    <a:pt x="66" y="40"/>
                  </a:cubicBezTo>
                  <a:cubicBezTo>
                    <a:pt x="64" y="51"/>
                    <a:pt x="64" y="51"/>
                    <a:pt x="64" y="51"/>
                  </a:cubicBezTo>
                  <a:cubicBezTo>
                    <a:pt x="63" y="51"/>
                    <a:pt x="58" y="54"/>
                    <a:pt x="56" y="56"/>
                  </a:cubicBezTo>
                  <a:cubicBezTo>
                    <a:pt x="53" y="57"/>
                    <a:pt x="55" y="62"/>
                    <a:pt x="55" y="64"/>
                  </a:cubicBezTo>
                  <a:cubicBezTo>
                    <a:pt x="55" y="66"/>
                    <a:pt x="56" y="74"/>
                    <a:pt x="55" y="75"/>
                  </a:cubicBezTo>
                  <a:cubicBezTo>
                    <a:pt x="54" y="77"/>
                    <a:pt x="47" y="86"/>
                    <a:pt x="46" y="89"/>
                  </a:cubicBezTo>
                  <a:cubicBezTo>
                    <a:pt x="44" y="92"/>
                    <a:pt x="45" y="99"/>
                    <a:pt x="44" y="101"/>
                  </a:cubicBezTo>
                  <a:cubicBezTo>
                    <a:pt x="44" y="102"/>
                    <a:pt x="42" y="108"/>
                    <a:pt x="40" y="110"/>
                  </a:cubicBezTo>
                  <a:cubicBezTo>
                    <a:pt x="38" y="112"/>
                    <a:pt x="43" y="125"/>
                    <a:pt x="44" y="128"/>
                  </a:cubicBezTo>
                  <a:cubicBezTo>
                    <a:pt x="45" y="130"/>
                    <a:pt x="44" y="133"/>
                    <a:pt x="44" y="135"/>
                  </a:cubicBezTo>
                  <a:cubicBezTo>
                    <a:pt x="44" y="137"/>
                    <a:pt x="40" y="149"/>
                    <a:pt x="40" y="151"/>
                  </a:cubicBezTo>
                  <a:cubicBezTo>
                    <a:pt x="40" y="153"/>
                    <a:pt x="37" y="155"/>
                    <a:pt x="35" y="156"/>
                  </a:cubicBezTo>
                  <a:cubicBezTo>
                    <a:pt x="33" y="158"/>
                    <a:pt x="35" y="169"/>
                    <a:pt x="36" y="172"/>
                  </a:cubicBezTo>
                  <a:cubicBezTo>
                    <a:pt x="37" y="174"/>
                    <a:pt x="35" y="177"/>
                    <a:pt x="34" y="179"/>
                  </a:cubicBezTo>
                  <a:cubicBezTo>
                    <a:pt x="32" y="181"/>
                    <a:pt x="32" y="188"/>
                    <a:pt x="31" y="190"/>
                  </a:cubicBezTo>
                  <a:cubicBezTo>
                    <a:pt x="31" y="193"/>
                    <a:pt x="33" y="204"/>
                    <a:pt x="33" y="206"/>
                  </a:cubicBezTo>
                  <a:cubicBezTo>
                    <a:pt x="33" y="208"/>
                    <a:pt x="27" y="210"/>
                    <a:pt x="31" y="215"/>
                  </a:cubicBezTo>
                  <a:cubicBezTo>
                    <a:pt x="32" y="216"/>
                    <a:pt x="30" y="224"/>
                    <a:pt x="30" y="226"/>
                  </a:cubicBezTo>
                  <a:cubicBezTo>
                    <a:pt x="30" y="227"/>
                    <a:pt x="35" y="228"/>
                    <a:pt x="35" y="229"/>
                  </a:cubicBezTo>
                  <a:cubicBezTo>
                    <a:pt x="35" y="231"/>
                    <a:pt x="33" y="238"/>
                    <a:pt x="31" y="239"/>
                  </a:cubicBezTo>
                  <a:cubicBezTo>
                    <a:pt x="30" y="240"/>
                    <a:pt x="31" y="248"/>
                    <a:pt x="31" y="250"/>
                  </a:cubicBezTo>
                  <a:cubicBezTo>
                    <a:pt x="30" y="253"/>
                    <a:pt x="28" y="256"/>
                    <a:pt x="26" y="258"/>
                  </a:cubicBezTo>
                  <a:cubicBezTo>
                    <a:pt x="25" y="260"/>
                    <a:pt x="25" y="267"/>
                    <a:pt x="24" y="269"/>
                  </a:cubicBezTo>
                  <a:cubicBezTo>
                    <a:pt x="24" y="270"/>
                    <a:pt x="21" y="271"/>
                    <a:pt x="19" y="272"/>
                  </a:cubicBezTo>
                  <a:cubicBezTo>
                    <a:pt x="18" y="273"/>
                    <a:pt x="17" y="276"/>
                    <a:pt x="17" y="278"/>
                  </a:cubicBezTo>
                  <a:cubicBezTo>
                    <a:pt x="17" y="280"/>
                    <a:pt x="18" y="286"/>
                    <a:pt x="19" y="287"/>
                  </a:cubicBezTo>
                  <a:cubicBezTo>
                    <a:pt x="21" y="288"/>
                    <a:pt x="24" y="287"/>
                    <a:pt x="26" y="288"/>
                  </a:cubicBezTo>
                  <a:cubicBezTo>
                    <a:pt x="28" y="290"/>
                    <a:pt x="25" y="295"/>
                    <a:pt x="25" y="296"/>
                  </a:cubicBezTo>
                  <a:cubicBezTo>
                    <a:pt x="25" y="298"/>
                    <a:pt x="26" y="300"/>
                    <a:pt x="28" y="301"/>
                  </a:cubicBezTo>
                  <a:cubicBezTo>
                    <a:pt x="46" y="302"/>
                    <a:pt x="46" y="302"/>
                    <a:pt x="46" y="302"/>
                  </a:cubicBezTo>
                  <a:cubicBezTo>
                    <a:pt x="46" y="303"/>
                    <a:pt x="46" y="306"/>
                    <a:pt x="44" y="306"/>
                  </a:cubicBezTo>
                  <a:cubicBezTo>
                    <a:pt x="41" y="307"/>
                    <a:pt x="37" y="308"/>
                    <a:pt x="36" y="308"/>
                  </a:cubicBezTo>
                  <a:cubicBezTo>
                    <a:pt x="36" y="308"/>
                    <a:pt x="36" y="312"/>
                    <a:pt x="36" y="314"/>
                  </a:cubicBezTo>
                  <a:cubicBezTo>
                    <a:pt x="36" y="316"/>
                    <a:pt x="36" y="319"/>
                    <a:pt x="34" y="321"/>
                  </a:cubicBezTo>
                  <a:cubicBezTo>
                    <a:pt x="32" y="323"/>
                    <a:pt x="24" y="325"/>
                    <a:pt x="22" y="325"/>
                  </a:cubicBezTo>
                  <a:cubicBezTo>
                    <a:pt x="21" y="324"/>
                    <a:pt x="20" y="319"/>
                    <a:pt x="18" y="319"/>
                  </a:cubicBezTo>
                  <a:cubicBezTo>
                    <a:pt x="16" y="319"/>
                    <a:pt x="14" y="317"/>
                    <a:pt x="13" y="316"/>
                  </a:cubicBezTo>
                  <a:cubicBezTo>
                    <a:pt x="12" y="315"/>
                    <a:pt x="6" y="311"/>
                    <a:pt x="7" y="311"/>
                  </a:cubicBezTo>
                  <a:cubicBezTo>
                    <a:pt x="8" y="310"/>
                    <a:pt x="15" y="313"/>
                    <a:pt x="16" y="313"/>
                  </a:cubicBezTo>
                  <a:cubicBezTo>
                    <a:pt x="17" y="313"/>
                    <a:pt x="16" y="311"/>
                    <a:pt x="16" y="310"/>
                  </a:cubicBezTo>
                  <a:cubicBezTo>
                    <a:pt x="15" y="309"/>
                    <a:pt x="10" y="305"/>
                    <a:pt x="9" y="304"/>
                  </a:cubicBezTo>
                  <a:cubicBezTo>
                    <a:pt x="8" y="304"/>
                    <a:pt x="6" y="304"/>
                    <a:pt x="5" y="302"/>
                  </a:cubicBezTo>
                  <a:cubicBezTo>
                    <a:pt x="5" y="301"/>
                    <a:pt x="8" y="300"/>
                    <a:pt x="7" y="296"/>
                  </a:cubicBezTo>
                  <a:cubicBezTo>
                    <a:pt x="7" y="295"/>
                    <a:pt x="3" y="297"/>
                    <a:pt x="3" y="296"/>
                  </a:cubicBezTo>
                  <a:cubicBezTo>
                    <a:pt x="3" y="294"/>
                    <a:pt x="6" y="293"/>
                    <a:pt x="6" y="291"/>
                  </a:cubicBezTo>
                  <a:cubicBezTo>
                    <a:pt x="6" y="290"/>
                    <a:pt x="5" y="290"/>
                    <a:pt x="4" y="28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6" name="Freeform 62"/>
            <p:cNvSpPr>
              <a:spLocks/>
            </p:cNvSpPr>
            <p:nvPr>
              <p:custDataLst>
                <p:tags r:id="rId55"/>
              </p:custDataLst>
            </p:nvPr>
          </p:nvSpPr>
          <p:spPr bwMode="auto">
            <a:xfrm>
              <a:off x="1697" y="2568"/>
              <a:ext cx="153" cy="235"/>
            </a:xfrm>
            <a:custGeom>
              <a:avLst/>
              <a:gdLst>
                <a:gd name="T0" fmla="*/ 19104 w 89"/>
                <a:gd name="T1" fmla="*/ 262310 h 128"/>
                <a:gd name="T2" fmla="*/ 0 w 89"/>
                <a:gd name="T3" fmla="*/ 253566 h 128"/>
                <a:gd name="T4" fmla="*/ 8187 w 89"/>
                <a:gd name="T5" fmla="*/ 227335 h 128"/>
                <a:gd name="T6" fmla="*/ 24562 w 89"/>
                <a:gd name="T7" fmla="*/ 224421 h 128"/>
                <a:gd name="T8" fmla="*/ 38207 w 89"/>
                <a:gd name="T9" fmla="*/ 201104 h 128"/>
                <a:gd name="T10" fmla="*/ 27291 w 89"/>
                <a:gd name="T11" fmla="*/ 189446 h 128"/>
                <a:gd name="T12" fmla="*/ 30020 w 89"/>
                <a:gd name="T13" fmla="*/ 166130 h 128"/>
                <a:gd name="T14" fmla="*/ 30020 w 89"/>
                <a:gd name="T15" fmla="*/ 136984 h 128"/>
                <a:gd name="T16" fmla="*/ 19104 w 89"/>
                <a:gd name="T17" fmla="*/ 122411 h 128"/>
                <a:gd name="T18" fmla="*/ 32749 w 89"/>
                <a:gd name="T19" fmla="*/ 110753 h 128"/>
                <a:gd name="T20" fmla="*/ 35478 w 89"/>
                <a:gd name="T21" fmla="*/ 90351 h 128"/>
                <a:gd name="T22" fmla="*/ 40936 w 89"/>
                <a:gd name="T23" fmla="*/ 93266 h 128"/>
                <a:gd name="T24" fmla="*/ 65498 w 89"/>
                <a:gd name="T25" fmla="*/ 72864 h 128"/>
                <a:gd name="T26" fmla="*/ 68227 w 89"/>
                <a:gd name="T27" fmla="*/ 55377 h 128"/>
                <a:gd name="T28" fmla="*/ 79143 w 89"/>
                <a:gd name="T29" fmla="*/ 34975 h 128"/>
                <a:gd name="T30" fmla="*/ 106434 w 89"/>
                <a:gd name="T31" fmla="*/ 29146 h 128"/>
                <a:gd name="T32" fmla="*/ 144641 w 89"/>
                <a:gd name="T33" fmla="*/ 2915 h 128"/>
                <a:gd name="T34" fmla="*/ 161016 w 89"/>
                <a:gd name="T35" fmla="*/ 8744 h 128"/>
                <a:gd name="T36" fmla="*/ 150099 w 89"/>
                <a:gd name="T37" fmla="*/ 23316 h 128"/>
                <a:gd name="T38" fmla="*/ 147370 w 89"/>
                <a:gd name="T39" fmla="*/ 29146 h 128"/>
                <a:gd name="T40" fmla="*/ 133725 w 89"/>
                <a:gd name="T41" fmla="*/ 40804 h 128"/>
                <a:gd name="T42" fmla="*/ 125538 w 89"/>
                <a:gd name="T43" fmla="*/ 52462 h 128"/>
                <a:gd name="T44" fmla="*/ 117350 w 89"/>
                <a:gd name="T45" fmla="*/ 78693 h 128"/>
                <a:gd name="T46" fmla="*/ 133725 w 89"/>
                <a:gd name="T47" fmla="*/ 104924 h 128"/>
                <a:gd name="T48" fmla="*/ 144641 w 89"/>
                <a:gd name="T49" fmla="*/ 128240 h 128"/>
                <a:gd name="T50" fmla="*/ 182848 w 89"/>
                <a:gd name="T51" fmla="*/ 131155 h 128"/>
                <a:gd name="T52" fmla="*/ 201952 w 89"/>
                <a:gd name="T53" fmla="*/ 148642 h 128"/>
                <a:gd name="T54" fmla="*/ 237430 w 89"/>
                <a:gd name="T55" fmla="*/ 145728 h 128"/>
                <a:gd name="T56" fmla="*/ 234701 w 89"/>
                <a:gd name="T57" fmla="*/ 169044 h 128"/>
                <a:gd name="T58" fmla="*/ 234701 w 89"/>
                <a:gd name="T59" fmla="*/ 195275 h 128"/>
                <a:gd name="T60" fmla="*/ 242888 w 89"/>
                <a:gd name="T61" fmla="*/ 206933 h 128"/>
                <a:gd name="T62" fmla="*/ 234701 w 89"/>
                <a:gd name="T63" fmla="*/ 224421 h 128"/>
                <a:gd name="T64" fmla="*/ 242888 w 89"/>
                <a:gd name="T65" fmla="*/ 236079 h 128"/>
                <a:gd name="T66" fmla="*/ 226514 w 89"/>
                <a:gd name="T67" fmla="*/ 247737 h 128"/>
                <a:gd name="T68" fmla="*/ 191036 w 89"/>
                <a:gd name="T69" fmla="*/ 250652 h 128"/>
                <a:gd name="T70" fmla="*/ 185577 w 89"/>
                <a:gd name="T71" fmla="*/ 288541 h 128"/>
                <a:gd name="T72" fmla="*/ 201952 w 89"/>
                <a:gd name="T73" fmla="*/ 320601 h 128"/>
                <a:gd name="T74" fmla="*/ 188306 w 89"/>
                <a:gd name="T75" fmla="*/ 373063 h 128"/>
                <a:gd name="T76" fmla="*/ 169203 w 89"/>
                <a:gd name="T77" fmla="*/ 364319 h 128"/>
                <a:gd name="T78" fmla="*/ 174661 w 89"/>
                <a:gd name="T79" fmla="*/ 341003 h 128"/>
                <a:gd name="T80" fmla="*/ 128267 w 89"/>
                <a:gd name="T81" fmla="*/ 341003 h 128"/>
                <a:gd name="T82" fmla="*/ 87331 w 89"/>
                <a:gd name="T83" fmla="*/ 291455 h 128"/>
                <a:gd name="T84" fmla="*/ 68227 w 89"/>
                <a:gd name="T85" fmla="*/ 282712 h 128"/>
                <a:gd name="T86" fmla="*/ 57311 w 89"/>
                <a:gd name="T87" fmla="*/ 282712 h 128"/>
                <a:gd name="T88" fmla="*/ 32749 w 89"/>
                <a:gd name="T89" fmla="*/ 273968 h 128"/>
                <a:gd name="T90" fmla="*/ 19104 w 89"/>
                <a:gd name="T91" fmla="*/ 262310 h 1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9" h="128">
                  <a:moveTo>
                    <a:pt x="7" y="90"/>
                  </a:moveTo>
                  <a:cubicBezTo>
                    <a:pt x="0" y="87"/>
                    <a:pt x="0" y="87"/>
                    <a:pt x="0" y="87"/>
                  </a:cubicBezTo>
                  <a:cubicBezTo>
                    <a:pt x="1" y="84"/>
                    <a:pt x="2" y="79"/>
                    <a:pt x="3" y="78"/>
                  </a:cubicBezTo>
                  <a:cubicBezTo>
                    <a:pt x="4" y="76"/>
                    <a:pt x="8" y="78"/>
                    <a:pt x="9" y="77"/>
                  </a:cubicBezTo>
                  <a:cubicBezTo>
                    <a:pt x="11" y="76"/>
                    <a:pt x="13" y="70"/>
                    <a:pt x="14" y="69"/>
                  </a:cubicBezTo>
                  <a:cubicBezTo>
                    <a:pt x="15" y="68"/>
                    <a:pt x="9" y="66"/>
                    <a:pt x="10" y="65"/>
                  </a:cubicBezTo>
                  <a:cubicBezTo>
                    <a:pt x="11" y="64"/>
                    <a:pt x="11" y="59"/>
                    <a:pt x="11" y="57"/>
                  </a:cubicBezTo>
                  <a:cubicBezTo>
                    <a:pt x="11" y="56"/>
                    <a:pt x="11" y="49"/>
                    <a:pt x="11" y="47"/>
                  </a:cubicBezTo>
                  <a:cubicBezTo>
                    <a:pt x="11" y="46"/>
                    <a:pt x="9" y="44"/>
                    <a:pt x="7" y="42"/>
                  </a:cubicBezTo>
                  <a:cubicBezTo>
                    <a:pt x="12" y="38"/>
                    <a:pt x="12" y="38"/>
                    <a:pt x="12" y="38"/>
                  </a:cubicBezTo>
                  <a:cubicBezTo>
                    <a:pt x="13" y="31"/>
                    <a:pt x="13" y="31"/>
                    <a:pt x="13" y="31"/>
                  </a:cubicBezTo>
                  <a:cubicBezTo>
                    <a:pt x="14" y="32"/>
                    <a:pt x="14" y="32"/>
                    <a:pt x="15" y="32"/>
                  </a:cubicBezTo>
                  <a:cubicBezTo>
                    <a:pt x="17" y="32"/>
                    <a:pt x="24" y="27"/>
                    <a:pt x="24" y="25"/>
                  </a:cubicBezTo>
                  <a:cubicBezTo>
                    <a:pt x="24" y="24"/>
                    <a:pt x="25" y="21"/>
                    <a:pt x="25" y="19"/>
                  </a:cubicBezTo>
                  <a:cubicBezTo>
                    <a:pt x="25" y="16"/>
                    <a:pt x="27" y="14"/>
                    <a:pt x="29" y="12"/>
                  </a:cubicBezTo>
                  <a:cubicBezTo>
                    <a:pt x="32" y="11"/>
                    <a:pt x="35" y="10"/>
                    <a:pt x="39" y="10"/>
                  </a:cubicBezTo>
                  <a:cubicBezTo>
                    <a:pt x="47" y="11"/>
                    <a:pt x="51" y="2"/>
                    <a:pt x="53" y="1"/>
                  </a:cubicBezTo>
                  <a:cubicBezTo>
                    <a:pt x="55" y="1"/>
                    <a:pt x="58" y="0"/>
                    <a:pt x="59" y="3"/>
                  </a:cubicBezTo>
                  <a:cubicBezTo>
                    <a:pt x="61" y="6"/>
                    <a:pt x="58" y="7"/>
                    <a:pt x="55" y="8"/>
                  </a:cubicBezTo>
                  <a:cubicBezTo>
                    <a:pt x="55" y="8"/>
                    <a:pt x="54" y="9"/>
                    <a:pt x="54" y="10"/>
                  </a:cubicBezTo>
                  <a:cubicBezTo>
                    <a:pt x="49" y="14"/>
                    <a:pt x="49" y="14"/>
                    <a:pt x="49" y="14"/>
                  </a:cubicBezTo>
                  <a:cubicBezTo>
                    <a:pt x="49" y="14"/>
                    <a:pt x="47" y="14"/>
                    <a:pt x="46" y="18"/>
                  </a:cubicBezTo>
                  <a:cubicBezTo>
                    <a:pt x="45" y="21"/>
                    <a:pt x="43" y="26"/>
                    <a:pt x="43" y="27"/>
                  </a:cubicBezTo>
                  <a:cubicBezTo>
                    <a:pt x="43" y="28"/>
                    <a:pt x="49" y="34"/>
                    <a:pt x="49" y="36"/>
                  </a:cubicBezTo>
                  <a:cubicBezTo>
                    <a:pt x="49" y="39"/>
                    <a:pt x="52" y="43"/>
                    <a:pt x="53" y="44"/>
                  </a:cubicBezTo>
                  <a:cubicBezTo>
                    <a:pt x="55" y="44"/>
                    <a:pt x="64" y="43"/>
                    <a:pt x="67" y="45"/>
                  </a:cubicBezTo>
                  <a:cubicBezTo>
                    <a:pt x="70" y="47"/>
                    <a:pt x="71" y="51"/>
                    <a:pt x="74" y="51"/>
                  </a:cubicBezTo>
                  <a:cubicBezTo>
                    <a:pt x="77" y="51"/>
                    <a:pt x="85" y="49"/>
                    <a:pt x="87" y="50"/>
                  </a:cubicBezTo>
                  <a:cubicBezTo>
                    <a:pt x="88" y="51"/>
                    <a:pt x="86" y="55"/>
                    <a:pt x="86" y="58"/>
                  </a:cubicBezTo>
                  <a:cubicBezTo>
                    <a:pt x="85" y="61"/>
                    <a:pt x="85" y="66"/>
                    <a:pt x="86" y="67"/>
                  </a:cubicBezTo>
                  <a:cubicBezTo>
                    <a:pt x="87" y="69"/>
                    <a:pt x="89" y="70"/>
                    <a:pt x="89" y="71"/>
                  </a:cubicBezTo>
                  <a:cubicBezTo>
                    <a:pt x="89" y="72"/>
                    <a:pt x="86" y="76"/>
                    <a:pt x="86" y="77"/>
                  </a:cubicBezTo>
                  <a:cubicBezTo>
                    <a:pt x="86" y="77"/>
                    <a:pt x="87" y="79"/>
                    <a:pt x="89" y="81"/>
                  </a:cubicBezTo>
                  <a:cubicBezTo>
                    <a:pt x="83" y="85"/>
                    <a:pt x="83" y="85"/>
                    <a:pt x="83" y="85"/>
                  </a:cubicBezTo>
                  <a:cubicBezTo>
                    <a:pt x="81" y="85"/>
                    <a:pt x="71" y="84"/>
                    <a:pt x="70" y="86"/>
                  </a:cubicBezTo>
                  <a:cubicBezTo>
                    <a:pt x="69" y="87"/>
                    <a:pt x="67" y="97"/>
                    <a:pt x="68" y="99"/>
                  </a:cubicBezTo>
                  <a:cubicBezTo>
                    <a:pt x="70" y="101"/>
                    <a:pt x="74" y="107"/>
                    <a:pt x="74" y="110"/>
                  </a:cubicBezTo>
                  <a:cubicBezTo>
                    <a:pt x="73" y="112"/>
                    <a:pt x="71" y="123"/>
                    <a:pt x="69" y="128"/>
                  </a:cubicBezTo>
                  <a:cubicBezTo>
                    <a:pt x="62" y="125"/>
                    <a:pt x="62" y="125"/>
                    <a:pt x="62" y="125"/>
                  </a:cubicBezTo>
                  <a:cubicBezTo>
                    <a:pt x="62" y="125"/>
                    <a:pt x="66" y="118"/>
                    <a:pt x="64" y="117"/>
                  </a:cubicBezTo>
                  <a:cubicBezTo>
                    <a:pt x="62" y="115"/>
                    <a:pt x="51" y="119"/>
                    <a:pt x="47" y="117"/>
                  </a:cubicBezTo>
                  <a:cubicBezTo>
                    <a:pt x="44" y="115"/>
                    <a:pt x="35" y="102"/>
                    <a:pt x="32" y="100"/>
                  </a:cubicBezTo>
                  <a:cubicBezTo>
                    <a:pt x="31" y="98"/>
                    <a:pt x="28" y="97"/>
                    <a:pt x="25" y="97"/>
                  </a:cubicBezTo>
                  <a:cubicBezTo>
                    <a:pt x="24" y="97"/>
                    <a:pt x="22" y="97"/>
                    <a:pt x="21" y="97"/>
                  </a:cubicBezTo>
                  <a:cubicBezTo>
                    <a:pt x="19" y="96"/>
                    <a:pt x="13" y="97"/>
                    <a:pt x="12" y="94"/>
                  </a:cubicBezTo>
                  <a:cubicBezTo>
                    <a:pt x="10" y="92"/>
                    <a:pt x="9" y="91"/>
                    <a:pt x="7" y="9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7" name="Freeform 63"/>
            <p:cNvSpPr>
              <a:spLocks/>
            </p:cNvSpPr>
            <p:nvPr>
              <p:custDataLst>
                <p:tags r:id="rId56"/>
              </p:custDataLst>
            </p:nvPr>
          </p:nvSpPr>
          <p:spPr bwMode="auto">
            <a:xfrm>
              <a:off x="1670" y="2728"/>
              <a:ext cx="72" cy="91"/>
            </a:xfrm>
            <a:custGeom>
              <a:avLst/>
              <a:gdLst>
                <a:gd name="T0" fmla="*/ 0 w 41"/>
                <a:gd name="T1" fmla="*/ 78010 h 50"/>
                <a:gd name="T2" fmla="*/ 0 w 41"/>
                <a:gd name="T3" fmla="*/ 57785 h 50"/>
                <a:gd name="T4" fmla="*/ 11151 w 41"/>
                <a:gd name="T5" fmla="*/ 40450 h 50"/>
                <a:gd name="T6" fmla="*/ 13939 w 41"/>
                <a:gd name="T7" fmla="*/ 14446 h 50"/>
                <a:gd name="T8" fmla="*/ 39029 w 41"/>
                <a:gd name="T9" fmla="*/ 2889 h 50"/>
                <a:gd name="T10" fmla="*/ 41817 w 41"/>
                <a:gd name="T11" fmla="*/ 0 h 50"/>
                <a:gd name="T12" fmla="*/ 61332 w 41"/>
                <a:gd name="T13" fmla="*/ 8668 h 50"/>
                <a:gd name="T14" fmla="*/ 75271 w 41"/>
                <a:gd name="T15" fmla="*/ 20225 h 50"/>
                <a:gd name="T16" fmla="*/ 100361 w 41"/>
                <a:gd name="T17" fmla="*/ 28893 h 50"/>
                <a:gd name="T18" fmla="*/ 111512 w 41"/>
                <a:gd name="T19" fmla="*/ 28893 h 50"/>
                <a:gd name="T20" fmla="*/ 111512 w 41"/>
                <a:gd name="T21" fmla="*/ 43339 h 50"/>
                <a:gd name="T22" fmla="*/ 114300 w 41"/>
                <a:gd name="T23" fmla="*/ 60674 h 50"/>
                <a:gd name="T24" fmla="*/ 94785 w 41"/>
                <a:gd name="T25" fmla="*/ 86678 h 50"/>
                <a:gd name="T26" fmla="*/ 58544 w 41"/>
                <a:gd name="T27" fmla="*/ 106903 h 50"/>
                <a:gd name="T28" fmla="*/ 39029 w 41"/>
                <a:gd name="T29" fmla="*/ 141574 h 50"/>
                <a:gd name="T30" fmla="*/ 27878 w 41"/>
                <a:gd name="T31" fmla="*/ 132906 h 50"/>
                <a:gd name="T32" fmla="*/ 13939 w 41"/>
                <a:gd name="T33" fmla="*/ 121349 h 50"/>
                <a:gd name="T34" fmla="*/ 11151 w 41"/>
                <a:gd name="T35" fmla="*/ 109792 h 50"/>
                <a:gd name="T36" fmla="*/ 16727 w 41"/>
                <a:gd name="T37" fmla="*/ 106903 h 50"/>
                <a:gd name="T38" fmla="*/ 22302 w 41"/>
                <a:gd name="T39" fmla="*/ 86678 h 50"/>
                <a:gd name="T40" fmla="*/ 13939 w 41"/>
                <a:gd name="T41" fmla="*/ 86678 h 50"/>
                <a:gd name="T42" fmla="*/ 0 w 41"/>
                <a:gd name="T43" fmla="*/ 7801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50">
                  <a:moveTo>
                    <a:pt x="0" y="27"/>
                  </a:moveTo>
                  <a:cubicBezTo>
                    <a:pt x="0" y="26"/>
                    <a:pt x="0" y="22"/>
                    <a:pt x="0" y="20"/>
                  </a:cubicBezTo>
                  <a:cubicBezTo>
                    <a:pt x="0" y="18"/>
                    <a:pt x="3" y="16"/>
                    <a:pt x="4" y="14"/>
                  </a:cubicBezTo>
                  <a:cubicBezTo>
                    <a:pt x="6" y="11"/>
                    <a:pt x="4" y="6"/>
                    <a:pt x="5" y="5"/>
                  </a:cubicBezTo>
                  <a:cubicBezTo>
                    <a:pt x="5" y="4"/>
                    <a:pt x="12" y="1"/>
                    <a:pt x="14" y="1"/>
                  </a:cubicBezTo>
                  <a:cubicBezTo>
                    <a:pt x="14" y="0"/>
                    <a:pt x="14" y="0"/>
                    <a:pt x="15" y="0"/>
                  </a:cubicBezTo>
                  <a:cubicBezTo>
                    <a:pt x="22" y="3"/>
                    <a:pt x="22" y="3"/>
                    <a:pt x="22" y="3"/>
                  </a:cubicBezTo>
                  <a:cubicBezTo>
                    <a:pt x="24" y="4"/>
                    <a:pt x="25" y="5"/>
                    <a:pt x="27" y="7"/>
                  </a:cubicBezTo>
                  <a:cubicBezTo>
                    <a:pt x="28" y="10"/>
                    <a:pt x="34" y="9"/>
                    <a:pt x="36" y="10"/>
                  </a:cubicBezTo>
                  <a:cubicBezTo>
                    <a:pt x="37" y="10"/>
                    <a:pt x="39" y="10"/>
                    <a:pt x="40" y="10"/>
                  </a:cubicBezTo>
                  <a:cubicBezTo>
                    <a:pt x="40" y="10"/>
                    <a:pt x="40" y="13"/>
                    <a:pt x="40" y="15"/>
                  </a:cubicBezTo>
                  <a:cubicBezTo>
                    <a:pt x="40" y="15"/>
                    <a:pt x="41" y="19"/>
                    <a:pt x="41" y="21"/>
                  </a:cubicBezTo>
                  <a:cubicBezTo>
                    <a:pt x="41" y="24"/>
                    <a:pt x="36" y="28"/>
                    <a:pt x="34" y="30"/>
                  </a:cubicBezTo>
                  <a:cubicBezTo>
                    <a:pt x="31" y="33"/>
                    <a:pt x="23" y="35"/>
                    <a:pt x="21" y="37"/>
                  </a:cubicBezTo>
                  <a:cubicBezTo>
                    <a:pt x="20" y="39"/>
                    <a:pt x="15" y="48"/>
                    <a:pt x="14" y="49"/>
                  </a:cubicBezTo>
                  <a:cubicBezTo>
                    <a:pt x="13" y="50"/>
                    <a:pt x="11" y="47"/>
                    <a:pt x="10" y="46"/>
                  </a:cubicBezTo>
                  <a:cubicBezTo>
                    <a:pt x="9" y="45"/>
                    <a:pt x="6" y="45"/>
                    <a:pt x="5" y="42"/>
                  </a:cubicBezTo>
                  <a:cubicBezTo>
                    <a:pt x="4" y="38"/>
                    <a:pt x="4" y="38"/>
                    <a:pt x="4" y="38"/>
                  </a:cubicBezTo>
                  <a:cubicBezTo>
                    <a:pt x="5" y="37"/>
                    <a:pt x="5" y="37"/>
                    <a:pt x="6" y="37"/>
                  </a:cubicBezTo>
                  <a:cubicBezTo>
                    <a:pt x="10" y="37"/>
                    <a:pt x="9" y="34"/>
                    <a:pt x="8" y="30"/>
                  </a:cubicBezTo>
                  <a:cubicBezTo>
                    <a:pt x="8" y="27"/>
                    <a:pt x="6" y="31"/>
                    <a:pt x="5" y="30"/>
                  </a:cubicBezTo>
                  <a:cubicBezTo>
                    <a:pt x="4" y="30"/>
                    <a:pt x="0" y="29"/>
                    <a:pt x="0" y="2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8" name="Freeform 64"/>
            <p:cNvSpPr>
              <a:spLocks/>
            </p:cNvSpPr>
            <p:nvPr>
              <p:custDataLst>
                <p:tags r:id="rId57"/>
              </p:custDataLst>
            </p:nvPr>
          </p:nvSpPr>
          <p:spPr bwMode="auto">
            <a:xfrm>
              <a:off x="1664" y="2746"/>
              <a:ext cx="169" cy="262"/>
            </a:xfrm>
            <a:custGeom>
              <a:avLst/>
              <a:gdLst>
                <a:gd name="T0" fmla="*/ 0 w 98"/>
                <a:gd name="T1" fmla="*/ 104708 h 143"/>
                <a:gd name="T2" fmla="*/ 5475 w 98"/>
                <a:gd name="T3" fmla="*/ 93074 h 143"/>
                <a:gd name="T4" fmla="*/ 21901 w 98"/>
                <a:gd name="T5" fmla="*/ 81440 h 143"/>
                <a:gd name="T6" fmla="*/ 24639 w 98"/>
                <a:gd name="T7" fmla="*/ 93074 h 143"/>
                <a:gd name="T8" fmla="*/ 38327 w 98"/>
                <a:gd name="T9" fmla="*/ 104708 h 143"/>
                <a:gd name="T10" fmla="*/ 49277 w 98"/>
                <a:gd name="T11" fmla="*/ 113434 h 143"/>
                <a:gd name="T12" fmla="*/ 68441 w 98"/>
                <a:gd name="T13" fmla="*/ 78531 h 143"/>
                <a:gd name="T14" fmla="*/ 104030 w 98"/>
                <a:gd name="T15" fmla="*/ 58171 h 143"/>
                <a:gd name="T16" fmla="*/ 123193 w 98"/>
                <a:gd name="T17" fmla="*/ 31994 h 143"/>
                <a:gd name="T18" fmla="*/ 120456 w 98"/>
                <a:gd name="T19" fmla="*/ 14543 h 143"/>
                <a:gd name="T20" fmla="*/ 120456 w 98"/>
                <a:gd name="T21" fmla="*/ 0 h 143"/>
                <a:gd name="T22" fmla="*/ 139619 w 98"/>
                <a:gd name="T23" fmla="*/ 8726 h 143"/>
                <a:gd name="T24" fmla="*/ 180684 w 98"/>
                <a:gd name="T25" fmla="*/ 58171 h 143"/>
                <a:gd name="T26" fmla="*/ 227224 w 98"/>
                <a:gd name="T27" fmla="*/ 58171 h 143"/>
                <a:gd name="T28" fmla="*/ 221748 w 98"/>
                <a:gd name="T29" fmla="*/ 81440 h 143"/>
                <a:gd name="T30" fmla="*/ 240912 w 98"/>
                <a:gd name="T31" fmla="*/ 90166 h 143"/>
                <a:gd name="T32" fmla="*/ 235436 w 98"/>
                <a:gd name="T33" fmla="*/ 98891 h 143"/>
                <a:gd name="T34" fmla="*/ 188897 w 98"/>
                <a:gd name="T35" fmla="*/ 110526 h 143"/>
                <a:gd name="T36" fmla="*/ 169733 w 98"/>
                <a:gd name="T37" fmla="*/ 130885 h 143"/>
                <a:gd name="T38" fmla="*/ 175208 w 98"/>
                <a:gd name="T39" fmla="*/ 148337 h 143"/>
                <a:gd name="T40" fmla="*/ 158783 w 98"/>
                <a:gd name="T41" fmla="*/ 162880 h 143"/>
                <a:gd name="T42" fmla="*/ 172471 w 98"/>
                <a:gd name="T43" fmla="*/ 209417 h 143"/>
                <a:gd name="T44" fmla="*/ 197110 w 98"/>
                <a:gd name="T45" fmla="*/ 223960 h 143"/>
                <a:gd name="T46" fmla="*/ 224486 w 98"/>
                <a:gd name="T47" fmla="*/ 209417 h 143"/>
                <a:gd name="T48" fmla="*/ 229961 w 98"/>
                <a:gd name="T49" fmla="*/ 244320 h 143"/>
                <a:gd name="T50" fmla="*/ 249125 w 98"/>
                <a:gd name="T51" fmla="*/ 247228 h 143"/>
                <a:gd name="T52" fmla="*/ 254600 w 98"/>
                <a:gd name="T53" fmla="*/ 253045 h 143"/>
                <a:gd name="T54" fmla="*/ 268288 w 98"/>
                <a:gd name="T55" fmla="*/ 282131 h 143"/>
                <a:gd name="T56" fmla="*/ 260075 w 98"/>
                <a:gd name="T57" fmla="*/ 293765 h 143"/>
                <a:gd name="T58" fmla="*/ 262813 w 98"/>
                <a:gd name="T59" fmla="*/ 322851 h 143"/>
                <a:gd name="T60" fmla="*/ 251862 w 98"/>
                <a:gd name="T61" fmla="*/ 351937 h 143"/>
                <a:gd name="T62" fmla="*/ 262813 w 98"/>
                <a:gd name="T63" fmla="*/ 372297 h 143"/>
                <a:gd name="T64" fmla="*/ 249125 w 98"/>
                <a:gd name="T65" fmla="*/ 398474 h 143"/>
                <a:gd name="T66" fmla="*/ 243649 w 98"/>
                <a:gd name="T67" fmla="*/ 410108 h 143"/>
                <a:gd name="T68" fmla="*/ 229961 w 98"/>
                <a:gd name="T69" fmla="*/ 415925 h 143"/>
                <a:gd name="T70" fmla="*/ 199847 w 98"/>
                <a:gd name="T71" fmla="*/ 386839 h 143"/>
                <a:gd name="T72" fmla="*/ 136882 w 98"/>
                <a:gd name="T73" fmla="*/ 351937 h 143"/>
                <a:gd name="T74" fmla="*/ 104030 w 98"/>
                <a:gd name="T75" fmla="*/ 319942 h 143"/>
                <a:gd name="T76" fmla="*/ 106768 w 98"/>
                <a:gd name="T77" fmla="*/ 296674 h 143"/>
                <a:gd name="T78" fmla="*/ 79391 w 98"/>
                <a:gd name="T79" fmla="*/ 253045 h 143"/>
                <a:gd name="T80" fmla="*/ 30114 w 98"/>
                <a:gd name="T81" fmla="*/ 154154 h 143"/>
                <a:gd name="T82" fmla="*/ 5475 w 98"/>
                <a:gd name="T83" fmla="*/ 139611 h 143"/>
                <a:gd name="T84" fmla="*/ 0 w 98"/>
                <a:gd name="T85" fmla="*/ 125068 h 143"/>
                <a:gd name="T86" fmla="*/ 8213 w 98"/>
                <a:gd name="T87" fmla="*/ 119251 h 143"/>
                <a:gd name="T88" fmla="*/ 0 w 98"/>
                <a:gd name="T89" fmla="*/ 104708 h 14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8" h="143">
                  <a:moveTo>
                    <a:pt x="0" y="36"/>
                  </a:moveTo>
                  <a:cubicBezTo>
                    <a:pt x="0" y="35"/>
                    <a:pt x="1" y="33"/>
                    <a:pt x="2" y="32"/>
                  </a:cubicBezTo>
                  <a:cubicBezTo>
                    <a:pt x="3" y="31"/>
                    <a:pt x="6" y="28"/>
                    <a:pt x="8" y="28"/>
                  </a:cubicBezTo>
                  <a:cubicBezTo>
                    <a:pt x="9" y="32"/>
                    <a:pt x="9" y="32"/>
                    <a:pt x="9" y="32"/>
                  </a:cubicBezTo>
                  <a:cubicBezTo>
                    <a:pt x="10" y="35"/>
                    <a:pt x="13" y="35"/>
                    <a:pt x="14" y="36"/>
                  </a:cubicBezTo>
                  <a:cubicBezTo>
                    <a:pt x="15" y="37"/>
                    <a:pt x="17" y="40"/>
                    <a:pt x="18" y="39"/>
                  </a:cubicBezTo>
                  <a:cubicBezTo>
                    <a:pt x="19" y="38"/>
                    <a:pt x="24" y="29"/>
                    <a:pt x="25" y="27"/>
                  </a:cubicBezTo>
                  <a:cubicBezTo>
                    <a:pt x="27" y="25"/>
                    <a:pt x="35" y="23"/>
                    <a:pt x="38" y="20"/>
                  </a:cubicBezTo>
                  <a:cubicBezTo>
                    <a:pt x="40" y="18"/>
                    <a:pt x="45" y="14"/>
                    <a:pt x="45" y="11"/>
                  </a:cubicBezTo>
                  <a:cubicBezTo>
                    <a:pt x="45" y="9"/>
                    <a:pt x="44" y="5"/>
                    <a:pt x="44" y="5"/>
                  </a:cubicBezTo>
                  <a:cubicBezTo>
                    <a:pt x="44" y="3"/>
                    <a:pt x="44" y="0"/>
                    <a:pt x="44" y="0"/>
                  </a:cubicBezTo>
                  <a:cubicBezTo>
                    <a:pt x="47" y="0"/>
                    <a:pt x="50" y="1"/>
                    <a:pt x="51" y="3"/>
                  </a:cubicBezTo>
                  <a:cubicBezTo>
                    <a:pt x="54" y="5"/>
                    <a:pt x="63" y="18"/>
                    <a:pt x="66" y="20"/>
                  </a:cubicBezTo>
                  <a:cubicBezTo>
                    <a:pt x="70" y="22"/>
                    <a:pt x="81" y="18"/>
                    <a:pt x="83" y="20"/>
                  </a:cubicBezTo>
                  <a:cubicBezTo>
                    <a:pt x="85" y="21"/>
                    <a:pt x="81" y="28"/>
                    <a:pt x="81" y="28"/>
                  </a:cubicBezTo>
                  <a:cubicBezTo>
                    <a:pt x="88" y="31"/>
                    <a:pt x="88" y="31"/>
                    <a:pt x="88" y="31"/>
                  </a:cubicBezTo>
                  <a:cubicBezTo>
                    <a:pt x="87" y="32"/>
                    <a:pt x="87" y="34"/>
                    <a:pt x="86" y="34"/>
                  </a:cubicBezTo>
                  <a:cubicBezTo>
                    <a:pt x="85" y="34"/>
                    <a:pt x="72" y="36"/>
                    <a:pt x="69" y="38"/>
                  </a:cubicBezTo>
                  <a:cubicBezTo>
                    <a:pt x="66" y="39"/>
                    <a:pt x="63" y="43"/>
                    <a:pt x="62" y="45"/>
                  </a:cubicBezTo>
                  <a:cubicBezTo>
                    <a:pt x="61" y="46"/>
                    <a:pt x="65" y="49"/>
                    <a:pt x="64" y="51"/>
                  </a:cubicBezTo>
                  <a:cubicBezTo>
                    <a:pt x="63" y="53"/>
                    <a:pt x="60" y="53"/>
                    <a:pt x="58" y="56"/>
                  </a:cubicBezTo>
                  <a:cubicBezTo>
                    <a:pt x="56" y="60"/>
                    <a:pt x="62" y="69"/>
                    <a:pt x="63" y="72"/>
                  </a:cubicBezTo>
                  <a:cubicBezTo>
                    <a:pt x="65" y="74"/>
                    <a:pt x="69" y="76"/>
                    <a:pt x="72" y="77"/>
                  </a:cubicBezTo>
                  <a:cubicBezTo>
                    <a:pt x="74" y="79"/>
                    <a:pt x="81" y="72"/>
                    <a:pt x="82" y="72"/>
                  </a:cubicBezTo>
                  <a:cubicBezTo>
                    <a:pt x="83" y="73"/>
                    <a:pt x="82" y="84"/>
                    <a:pt x="84" y="84"/>
                  </a:cubicBezTo>
                  <a:cubicBezTo>
                    <a:pt x="85" y="84"/>
                    <a:pt x="89" y="84"/>
                    <a:pt x="91" y="85"/>
                  </a:cubicBezTo>
                  <a:cubicBezTo>
                    <a:pt x="91" y="85"/>
                    <a:pt x="92" y="86"/>
                    <a:pt x="93" y="87"/>
                  </a:cubicBezTo>
                  <a:cubicBezTo>
                    <a:pt x="95" y="90"/>
                    <a:pt x="97" y="95"/>
                    <a:pt x="98" y="97"/>
                  </a:cubicBezTo>
                  <a:cubicBezTo>
                    <a:pt x="98" y="98"/>
                    <a:pt x="97" y="99"/>
                    <a:pt x="95" y="101"/>
                  </a:cubicBezTo>
                  <a:cubicBezTo>
                    <a:pt x="94" y="103"/>
                    <a:pt x="97" y="109"/>
                    <a:pt x="96" y="111"/>
                  </a:cubicBezTo>
                  <a:cubicBezTo>
                    <a:pt x="95" y="113"/>
                    <a:pt x="93" y="118"/>
                    <a:pt x="92" y="121"/>
                  </a:cubicBezTo>
                  <a:cubicBezTo>
                    <a:pt x="91" y="124"/>
                    <a:pt x="97" y="126"/>
                    <a:pt x="96" y="128"/>
                  </a:cubicBezTo>
                  <a:cubicBezTo>
                    <a:pt x="95" y="129"/>
                    <a:pt x="93" y="133"/>
                    <a:pt x="91" y="137"/>
                  </a:cubicBezTo>
                  <a:cubicBezTo>
                    <a:pt x="90" y="139"/>
                    <a:pt x="89" y="140"/>
                    <a:pt x="89" y="141"/>
                  </a:cubicBezTo>
                  <a:cubicBezTo>
                    <a:pt x="84" y="143"/>
                    <a:pt x="84" y="143"/>
                    <a:pt x="84" y="143"/>
                  </a:cubicBezTo>
                  <a:cubicBezTo>
                    <a:pt x="84" y="142"/>
                    <a:pt x="76" y="134"/>
                    <a:pt x="73" y="133"/>
                  </a:cubicBezTo>
                  <a:cubicBezTo>
                    <a:pt x="70" y="131"/>
                    <a:pt x="54" y="123"/>
                    <a:pt x="50" y="121"/>
                  </a:cubicBezTo>
                  <a:cubicBezTo>
                    <a:pt x="45" y="119"/>
                    <a:pt x="39" y="111"/>
                    <a:pt x="38" y="110"/>
                  </a:cubicBezTo>
                  <a:cubicBezTo>
                    <a:pt x="37" y="108"/>
                    <a:pt x="39" y="103"/>
                    <a:pt x="39" y="102"/>
                  </a:cubicBezTo>
                  <a:cubicBezTo>
                    <a:pt x="38" y="100"/>
                    <a:pt x="30" y="90"/>
                    <a:pt x="29" y="87"/>
                  </a:cubicBezTo>
                  <a:cubicBezTo>
                    <a:pt x="28" y="83"/>
                    <a:pt x="13" y="57"/>
                    <a:pt x="11" y="53"/>
                  </a:cubicBezTo>
                  <a:cubicBezTo>
                    <a:pt x="9" y="50"/>
                    <a:pt x="3" y="49"/>
                    <a:pt x="2" y="48"/>
                  </a:cubicBezTo>
                  <a:cubicBezTo>
                    <a:pt x="0" y="48"/>
                    <a:pt x="0" y="44"/>
                    <a:pt x="0" y="43"/>
                  </a:cubicBezTo>
                  <a:cubicBezTo>
                    <a:pt x="0" y="42"/>
                    <a:pt x="3" y="42"/>
                    <a:pt x="3" y="41"/>
                  </a:cubicBezTo>
                  <a:cubicBezTo>
                    <a:pt x="3" y="39"/>
                    <a:pt x="0" y="37"/>
                    <a:pt x="0" y="3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9" name="Freeform 108"/>
            <p:cNvSpPr>
              <a:spLocks/>
            </p:cNvSpPr>
            <p:nvPr>
              <p:custDataLst>
                <p:tags r:id="rId58"/>
              </p:custDataLst>
            </p:nvPr>
          </p:nvSpPr>
          <p:spPr bwMode="auto">
            <a:xfrm>
              <a:off x="1699" y="2483"/>
              <a:ext cx="39" cy="22"/>
            </a:xfrm>
            <a:custGeom>
              <a:avLst/>
              <a:gdLst>
                <a:gd name="T0" fmla="*/ 0 w 23"/>
                <a:gd name="T1" fmla="*/ 8731 h 12"/>
                <a:gd name="T2" fmla="*/ 59221 w 23"/>
                <a:gd name="T3" fmla="*/ 14552 h 12"/>
                <a:gd name="T4" fmla="*/ 48454 w 23"/>
                <a:gd name="T5" fmla="*/ 23283 h 12"/>
                <a:gd name="T6" fmla="*/ 37686 w 23"/>
                <a:gd name="T7" fmla="*/ 32015 h 12"/>
                <a:gd name="T8" fmla="*/ 13459 w 23"/>
                <a:gd name="T9" fmla="*/ 20373 h 12"/>
                <a:gd name="T10" fmla="*/ 0 w 23"/>
                <a:gd name="T11" fmla="*/ 873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 h="12">
                  <a:moveTo>
                    <a:pt x="0" y="3"/>
                  </a:moveTo>
                  <a:cubicBezTo>
                    <a:pt x="0" y="0"/>
                    <a:pt x="20" y="4"/>
                    <a:pt x="22" y="5"/>
                  </a:cubicBezTo>
                  <a:cubicBezTo>
                    <a:pt x="23" y="7"/>
                    <a:pt x="19" y="8"/>
                    <a:pt x="18" y="8"/>
                  </a:cubicBezTo>
                  <a:cubicBezTo>
                    <a:pt x="16" y="8"/>
                    <a:pt x="17" y="10"/>
                    <a:pt x="14" y="11"/>
                  </a:cubicBezTo>
                  <a:cubicBezTo>
                    <a:pt x="11" y="12"/>
                    <a:pt x="6" y="9"/>
                    <a:pt x="5" y="7"/>
                  </a:cubicBezTo>
                  <a:cubicBezTo>
                    <a:pt x="5" y="6"/>
                    <a:pt x="0" y="5"/>
                    <a:pt x="0"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0" name="Freeform 109"/>
            <p:cNvSpPr>
              <a:spLocks/>
            </p:cNvSpPr>
            <p:nvPr>
              <p:custDataLst>
                <p:tags r:id="rId59"/>
              </p:custDataLst>
            </p:nvPr>
          </p:nvSpPr>
          <p:spPr bwMode="auto">
            <a:xfrm>
              <a:off x="1644" y="2608"/>
              <a:ext cx="75" cy="40"/>
            </a:xfrm>
            <a:custGeom>
              <a:avLst/>
              <a:gdLst>
                <a:gd name="T0" fmla="*/ 0 w 44"/>
                <a:gd name="T1" fmla="*/ 37523 h 22"/>
                <a:gd name="T2" fmla="*/ 5412 w 44"/>
                <a:gd name="T3" fmla="*/ 0 h 22"/>
                <a:gd name="T4" fmla="*/ 32472 w 44"/>
                <a:gd name="T5" fmla="*/ 23091 h 22"/>
                <a:gd name="T6" fmla="*/ 73061 w 44"/>
                <a:gd name="T7" fmla="*/ 8659 h 22"/>
                <a:gd name="T8" fmla="*/ 110945 w 44"/>
                <a:gd name="T9" fmla="*/ 23091 h 22"/>
                <a:gd name="T10" fmla="*/ 119063 w 44"/>
                <a:gd name="T11" fmla="*/ 28864 h 22"/>
                <a:gd name="T12" fmla="*/ 116357 w 44"/>
                <a:gd name="T13" fmla="*/ 49068 h 22"/>
                <a:gd name="T14" fmla="*/ 102827 w 44"/>
                <a:gd name="T15" fmla="*/ 60614 h 22"/>
                <a:gd name="T16" fmla="*/ 102827 w 44"/>
                <a:gd name="T17" fmla="*/ 60614 h 22"/>
                <a:gd name="T18" fmla="*/ 94709 w 44"/>
                <a:gd name="T19" fmla="*/ 51955 h 22"/>
                <a:gd name="T20" fmla="*/ 100121 w 44"/>
                <a:gd name="T21" fmla="*/ 37523 h 22"/>
                <a:gd name="T22" fmla="*/ 78473 w 44"/>
                <a:gd name="T23" fmla="*/ 23091 h 22"/>
                <a:gd name="T24" fmla="*/ 67649 w 44"/>
                <a:gd name="T25" fmla="*/ 31750 h 22"/>
                <a:gd name="T26" fmla="*/ 54120 w 44"/>
                <a:gd name="T27" fmla="*/ 40409 h 22"/>
                <a:gd name="T28" fmla="*/ 59532 w 44"/>
                <a:gd name="T29" fmla="*/ 57727 h 22"/>
                <a:gd name="T30" fmla="*/ 43296 w 44"/>
                <a:gd name="T31" fmla="*/ 63500 h 22"/>
                <a:gd name="T32" fmla="*/ 32472 w 44"/>
                <a:gd name="T33" fmla="*/ 51955 h 22"/>
                <a:gd name="T34" fmla="*/ 16236 w 44"/>
                <a:gd name="T35" fmla="*/ 40409 h 22"/>
                <a:gd name="T36" fmla="*/ 0 w 44"/>
                <a:gd name="T37" fmla="*/ 37523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4" h="22">
                  <a:moveTo>
                    <a:pt x="0" y="13"/>
                  </a:moveTo>
                  <a:cubicBezTo>
                    <a:pt x="2" y="0"/>
                    <a:pt x="2" y="0"/>
                    <a:pt x="2" y="0"/>
                  </a:cubicBezTo>
                  <a:cubicBezTo>
                    <a:pt x="5" y="3"/>
                    <a:pt x="10" y="7"/>
                    <a:pt x="12" y="8"/>
                  </a:cubicBezTo>
                  <a:cubicBezTo>
                    <a:pt x="15" y="11"/>
                    <a:pt x="23" y="3"/>
                    <a:pt x="27" y="3"/>
                  </a:cubicBezTo>
                  <a:cubicBezTo>
                    <a:pt x="32" y="2"/>
                    <a:pt x="38" y="5"/>
                    <a:pt x="41" y="8"/>
                  </a:cubicBezTo>
                  <a:cubicBezTo>
                    <a:pt x="42" y="9"/>
                    <a:pt x="43" y="10"/>
                    <a:pt x="44" y="10"/>
                  </a:cubicBezTo>
                  <a:cubicBezTo>
                    <a:pt x="43" y="17"/>
                    <a:pt x="43" y="17"/>
                    <a:pt x="43" y="17"/>
                  </a:cubicBezTo>
                  <a:cubicBezTo>
                    <a:pt x="38" y="21"/>
                    <a:pt x="38" y="21"/>
                    <a:pt x="38" y="21"/>
                  </a:cubicBezTo>
                  <a:cubicBezTo>
                    <a:pt x="38" y="21"/>
                    <a:pt x="38" y="21"/>
                    <a:pt x="38" y="21"/>
                  </a:cubicBezTo>
                  <a:cubicBezTo>
                    <a:pt x="37" y="20"/>
                    <a:pt x="35" y="18"/>
                    <a:pt x="35" y="18"/>
                  </a:cubicBezTo>
                  <a:cubicBezTo>
                    <a:pt x="34" y="17"/>
                    <a:pt x="37" y="14"/>
                    <a:pt x="37" y="13"/>
                  </a:cubicBezTo>
                  <a:cubicBezTo>
                    <a:pt x="37" y="12"/>
                    <a:pt x="31" y="8"/>
                    <a:pt x="29" y="8"/>
                  </a:cubicBezTo>
                  <a:cubicBezTo>
                    <a:pt x="27" y="8"/>
                    <a:pt x="26" y="10"/>
                    <a:pt x="25" y="11"/>
                  </a:cubicBezTo>
                  <a:cubicBezTo>
                    <a:pt x="24" y="11"/>
                    <a:pt x="20" y="13"/>
                    <a:pt x="20" y="14"/>
                  </a:cubicBezTo>
                  <a:cubicBezTo>
                    <a:pt x="18" y="15"/>
                    <a:pt x="24" y="19"/>
                    <a:pt x="22" y="20"/>
                  </a:cubicBezTo>
                  <a:cubicBezTo>
                    <a:pt x="21" y="20"/>
                    <a:pt x="17" y="22"/>
                    <a:pt x="16" y="22"/>
                  </a:cubicBezTo>
                  <a:cubicBezTo>
                    <a:pt x="14" y="22"/>
                    <a:pt x="14" y="19"/>
                    <a:pt x="12" y="18"/>
                  </a:cubicBezTo>
                  <a:cubicBezTo>
                    <a:pt x="11" y="17"/>
                    <a:pt x="8" y="14"/>
                    <a:pt x="6" y="14"/>
                  </a:cubicBezTo>
                  <a:cubicBezTo>
                    <a:pt x="5" y="14"/>
                    <a:pt x="2" y="14"/>
                    <a:pt x="0"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1" name="Freeform 110"/>
            <p:cNvSpPr>
              <a:spLocks/>
            </p:cNvSpPr>
            <p:nvPr>
              <p:custDataLst>
                <p:tags r:id="rId60"/>
              </p:custDataLst>
            </p:nvPr>
          </p:nvSpPr>
          <p:spPr bwMode="auto">
            <a:xfrm>
              <a:off x="1621" y="2418"/>
              <a:ext cx="140" cy="52"/>
            </a:xfrm>
            <a:custGeom>
              <a:avLst/>
              <a:gdLst>
                <a:gd name="T0" fmla="*/ 5488 w 81"/>
                <a:gd name="T1" fmla="*/ 35379 h 28"/>
                <a:gd name="T2" fmla="*/ 5488 w 81"/>
                <a:gd name="T3" fmla="*/ 32430 h 28"/>
                <a:gd name="T4" fmla="*/ 2744 w 81"/>
                <a:gd name="T5" fmla="*/ 26534 h 28"/>
                <a:gd name="T6" fmla="*/ 13719 w 81"/>
                <a:gd name="T7" fmla="*/ 11793 h 28"/>
                <a:gd name="T8" fmla="*/ 68596 w 81"/>
                <a:gd name="T9" fmla="*/ 0 h 28"/>
                <a:gd name="T10" fmla="*/ 76827 w 81"/>
                <a:gd name="T11" fmla="*/ 0 h 28"/>
                <a:gd name="T12" fmla="*/ 96034 w 81"/>
                <a:gd name="T13" fmla="*/ 0 h 28"/>
                <a:gd name="T14" fmla="*/ 115241 w 81"/>
                <a:gd name="T15" fmla="*/ 14741 h 28"/>
                <a:gd name="T16" fmla="*/ 139935 w 81"/>
                <a:gd name="T17" fmla="*/ 17689 h 28"/>
                <a:gd name="T18" fmla="*/ 178349 w 81"/>
                <a:gd name="T19" fmla="*/ 44223 h 28"/>
                <a:gd name="T20" fmla="*/ 222250 w 81"/>
                <a:gd name="T21" fmla="*/ 67809 h 28"/>
                <a:gd name="T22" fmla="*/ 203043 w 81"/>
                <a:gd name="T23" fmla="*/ 76654 h 28"/>
                <a:gd name="T24" fmla="*/ 145423 w 81"/>
                <a:gd name="T25" fmla="*/ 82550 h 28"/>
                <a:gd name="T26" fmla="*/ 156398 w 81"/>
                <a:gd name="T27" fmla="*/ 58964 h 28"/>
                <a:gd name="T28" fmla="*/ 134448 w 81"/>
                <a:gd name="T29" fmla="*/ 53068 h 28"/>
                <a:gd name="T30" fmla="*/ 126216 w 81"/>
                <a:gd name="T31" fmla="*/ 38327 h 28"/>
                <a:gd name="T32" fmla="*/ 101522 w 81"/>
                <a:gd name="T33" fmla="*/ 32430 h 28"/>
                <a:gd name="T34" fmla="*/ 65852 w 81"/>
                <a:gd name="T35" fmla="*/ 26534 h 28"/>
                <a:gd name="T36" fmla="*/ 43901 w 81"/>
                <a:gd name="T37" fmla="*/ 20638 h 28"/>
                <a:gd name="T38" fmla="*/ 21951 w 81"/>
                <a:gd name="T39" fmla="*/ 29482 h 28"/>
                <a:gd name="T40" fmla="*/ 5488 w 81"/>
                <a:gd name="T41" fmla="*/ 35379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1" h="28">
                  <a:moveTo>
                    <a:pt x="2" y="12"/>
                  </a:moveTo>
                  <a:cubicBezTo>
                    <a:pt x="2" y="11"/>
                    <a:pt x="2" y="11"/>
                    <a:pt x="2" y="11"/>
                  </a:cubicBezTo>
                  <a:cubicBezTo>
                    <a:pt x="1" y="10"/>
                    <a:pt x="1" y="9"/>
                    <a:pt x="1" y="9"/>
                  </a:cubicBezTo>
                  <a:cubicBezTo>
                    <a:pt x="0" y="8"/>
                    <a:pt x="3" y="5"/>
                    <a:pt x="5" y="4"/>
                  </a:cubicBezTo>
                  <a:cubicBezTo>
                    <a:pt x="7" y="3"/>
                    <a:pt x="22" y="0"/>
                    <a:pt x="25" y="0"/>
                  </a:cubicBezTo>
                  <a:cubicBezTo>
                    <a:pt x="25" y="0"/>
                    <a:pt x="27" y="0"/>
                    <a:pt x="28" y="0"/>
                  </a:cubicBezTo>
                  <a:cubicBezTo>
                    <a:pt x="31" y="0"/>
                    <a:pt x="33" y="0"/>
                    <a:pt x="35" y="0"/>
                  </a:cubicBezTo>
                  <a:cubicBezTo>
                    <a:pt x="37" y="1"/>
                    <a:pt x="39" y="4"/>
                    <a:pt x="42" y="5"/>
                  </a:cubicBezTo>
                  <a:cubicBezTo>
                    <a:pt x="44" y="5"/>
                    <a:pt x="47" y="4"/>
                    <a:pt x="51" y="6"/>
                  </a:cubicBezTo>
                  <a:cubicBezTo>
                    <a:pt x="55" y="9"/>
                    <a:pt x="63" y="14"/>
                    <a:pt x="65" y="15"/>
                  </a:cubicBezTo>
                  <a:cubicBezTo>
                    <a:pt x="68" y="16"/>
                    <a:pt x="81" y="21"/>
                    <a:pt x="81" y="23"/>
                  </a:cubicBezTo>
                  <a:cubicBezTo>
                    <a:pt x="81" y="24"/>
                    <a:pt x="77" y="26"/>
                    <a:pt x="74" y="26"/>
                  </a:cubicBezTo>
                  <a:cubicBezTo>
                    <a:pt x="71" y="26"/>
                    <a:pt x="55" y="28"/>
                    <a:pt x="53" y="28"/>
                  </a:cubicBezTo>
                  <a:cubicBezTo>
                    <a:pt x="51" y="27"/>
                    <a:pt x="59" y="21"/>
                    <a:pt x="57" y="20"/>
                  </a:cubicBezTo>
                  <a:cubicBezTo>
                    <a:pt x="55" y="18"/>
                    <a:pt x="51" y="20"/>
                    <a:pt x="49" y="18"/>
                  </a:cubicBezTo>
                  <a:cubicBezTo>
                    <a:pt x="47" y="17"/>
                    <a:pt x="49" y="13"/>
                    <a:pt x="46" y="13"/>
                  </a:cubicBezTo>
                  <a:cubicBezTo>
                    <a:pt x="44" y="12"/>
                    <a:pt x="40" y="13"/>
                    <a:pt x="37" y="11"/>
                  </a:cubicBezTo>
                  <a:cubicBezTo>
                    <a:pt x="33" y="10"/>
                    <a:pt x="25" y="10"/>
                    <a:pt x="24" y="9"/>
                  </a:cubicBezTo>
                  <a:cubicBezTo>
                    <a:pt x="23" y="9"/>
                    <a:pt x="19" y="6"/>
                    <a:pt x="16" y="7"/>
                  </a:cubicBezTo>
                  <a:cubicBezTo>
                    <a:pt x="13" y="8"/>
                    <a:pt x="10" y="9"/>
                    <a:pt x="8" y="10"/>
                  </a:cubicBezTo>
                  <a:cubicBezTo>
                    <a:pt x="6" y="10"/>
                    <a:pt x="3" y="12"/>
                    <a:pt x="2"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2" name="Freeform 111"/>
            <p:cNvSpPr>
              <a:spLocks/>
            </p:cNvSpPr>
            <p:nvPr>
              <p:custDataLst>
                <p:tags r:id="rId61"/>
              </p:custDataLst>
            </p:nvPr>
          </p:nvSpPr>
          <p:spPr bwMode="auto">
            <a:xfrm>
              <a:off x="1603" y="2592"/>
              <a:ext cx="44" cy="40"/>
            </a:xfrm>
            <a:custGeom>
              <a:avLst/>
              <a:gdLst>
                <a:gd name="T0" fmla="*/ 21492 w 26"/>
                <a:gd name="T1" fmla="*/ 42333 h 21"/>
                <a:gd name="T2" fmla="*/ 5373 w 26"/>
                <a:gd name="T3" fmla="*/ 27214 h 21"/>
                <a:gd name="T4" fmla="*/ 8060 w 26"/>
                <a:gd name="T5" fmla="*/ 6048 h 21"/>
                <a:gd name="T6" fmla="*/ 5373 w 26"/>
                <a:gd name="T7" fmla="*/ 0 h 21"/>
                <a:gd name="T8" fmla="*/ 48358 w 26"/>
                <a:gd name="T9" fmla="*/ 0 h 21"/>
                <a:gd name="T10" fmla="*/ 69850 w 26"/>
                <a:gd name="T11" fmla="*/ 24190 h 21"/>
                <a:gd name="T12" fmla="*/ 64477 w 26"/>
                <a:gd name="T13" fmla="*/ 63500 h 21"/>
                <a:gd name="T14" fmla="*/ 53731 w 26"/>
                <a:gd name="T15" fmla="*/ 60476 h 21"/>
                <a:gd name="T16" fmla="*/ 48358 w 26"/>
                <a:gd name="T17" fmla="*/ 45357 h 21"/>
                <a:gd name="T18" fmla="*/ 26865 w 26"/>
                <a:gd name="T19" fmla="*/ 24190 h 21"/>
                <a:gd name="T20" fmla="*/ 21492 w 26"/>
                <a:gd name="T21" fmla="*/ 42333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1">
                  <a:moveTo>
                    <a:pt x="8" y="14"/>
                  </a:moveTo>
                  <a:cubicBezTo>
                    <a:pt x="7" y="13"/>
                    <a:pt x="4" y="11"/>
                    <a:pt x="2" y="9"/>
                  </a:cubicBezTo>
                  <a:cubicBezTo>
                    <a:pt x="0" y="7"/>
                    <a:pt x="3" y="3"/>
                    <a:pt x="3" y="2"/>
                  </a:cubicBezTo>
                  <a:cubicBezTo>
                    <a:pt x="3" y="2"/>
                    <a:pt x="3" y="1"/>
                    <a:pt x="2" y="0"/>
                  </a:cubicBezTo>
                  <a:cubicBezTo>
                    <a:pt x="18" y="0"/>
                    <a:pt x="18" y="0"/>
                    <a:pt x="18" y="0"/>
                  </a:cubicBezTo>
                  <a:cubicBezTo>
                    <a:pt x="18" y="1"/>
                    <a:pt x="22" y="5"/>
                    <a:pt x="26" y="8"/>
                  </a:cubicBezTo>
                  <a:cubicBezTo>
                    <a:pt x="24" y="21"/>
                    <a:pt x="24" y="21"/>
                    <a:pt x="24" y="21"/>
                  </a:cubicBezTo>
                  <a:cubicBezTo>
                    <a:pt x="22" y="21"/>
                    <a:pt x="21" y="20"/>
                    <a:pt x="20" y="20"/>
                  </a:cubicBezTo>
                  <a:cubicBezTo>
                    <a:pt x="19" y="19"/>
                    <a:pt x="20" y="16"/>
                    <a:pt x="18" y="15"/>
                  </a:cubicBezTo>
                  <a:cubicBezTo>
                    <a:pt x="17" y="13"/>
                    <a:pt x="11" y="8"/>
                    <a:pt x="10" y="8"/>
                  </a:cubicBezTo>
                  <a:cubicBezTo>
                    <a:pt x="9" y="7"/>
                    <a:pt x="9" y="15"/>
                    <a:pt x="8"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3" name="Freeform 112"/>
            <p:cNvSpPr>
              <a:spLocks/>
            </p:cNvSpPr>
            <p:nvPr>
              <p:custDataLst>
                <p:tags r:id="rId62"/>
              </p:custDataLst>
            </p:nvPr>
          </p:nvSpPr>
          <p:spPr bwMode="auto">
            <a:xfrm>
              <a:off x="1585" y="2533"/>
              <a:ext cx="57" cy="59"/>
            </a:xfrm>
            <a:custGeom>
              <a:avLst/>
              <a:gdLst>
                <a:gd name="T0" fmla="*/ 0 w 33"/>
                <a:gd name="T1" fmla="*/ 53927 h 33"/>
                <a:gd name="T2" fmla="*/ 16452 w 33"/>
                <a:gd name="T3" fmla="*/ 48251 h 33"/>
                <a:gd name="T4" fmla="*/ 19194 w 33"/>
                <a:gd name="T5" fmla="*/ 31221 h 33"/>
                <a:gd name="T6" fmla="*/ 43873 w 33"/>
                <a:gd name="T7" fmla="*/ 22706 h 33"/>
                <a:gd name="T8" fmla="*/ 54841 w 33"/>
                <a:gd name="T9" fmla="*/ 11353 h 33"/>
                <a:gd name="T10" fmla="*/ 71294 w 33"/>
                <a:gd name="T11" fmla="*/ 11353 h 33"/>
                <a:gd name="T12" fmla="*/ 87746 w 33"/>
                <a:gd name="T13" fmla="*/ 0 h 33"/>
                <a:gd name="T14" fmla="*/ 90488 w 33"/>
                <a:gd name="T15" fmla="*/ 22706 h 33"/>
                <a:gd name="T16" fmla="*/ 82262 w 33"/>
                <a:gd name="T17" fmla="*/ 34059 h 33"/>
                <a:gd name="T18" fmla="*/ 82262 w 33"/>
                <a:gd name="T19" fmla="*/ 62442 h 33"/>
                <a:gd name="T20" fmla="*/ 76778 w 33"/>
                <a:gd name="T21" fmla="*/ 93663 h 33"/>
                <a:gd name="T22" fmla="*/ 32905 w 33"/>
                <a:gd name="T23" fmla="*/ 93663 h 33"/>
                <a:gd name="T24" fmla="*/ 27421 w 33"/>
                <a:gd name="T25" fmla="*/ 87986 h 33"/>
                <a:gd name="T26" fmla="*/ 0 w 33"/>
                <a:gd name="T27" fmla="*/ 59604 h 33"/>
                <a:gd name="T28" fmla="*/ 0 w 33"/>
                <a:gd name="T29" fmla="*/ 53927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3">
                  <a:moveTo>
                    <a:pt x="0" y="19"/>
                  </a:moveTo>
                  <a:cubicBezTo>
                    <a:pt x="6" y="17"/>
                    <a:pt x="6" y="17"/>
                    <a:pt x="6" y="17"/>
                  </a:cubicBezTo>
                  <a:cubicBezTo>
                    <a:pt x="7" y="15"/>
                    <a:pt x="5" y="12"/>
                    <a:pt x="7" y="11"/>
                  </a:cubicBezTo>
                  <a:cubicBezTo>
                    <a:pt x="8" y="11"/>
                    <a:pt x="15" y="9"/>
                    <a:pt x="16" y="8"/>
                  </a:cubicBezTo>
                  <a:cubicBezTo>
                    <a:pt x="17" y="8"/>
                    <a:pt x="18" y="4"/>
                    <a:pt x="20" y="4"/>
                  </a:cubicBezTo>
                  <a:cubicBezTo>
                    <a:pt x="21" y="3"/>
                    <a:pt x="26" y="4"/>
                    <a:pt x="26" y="4"/>
                  </a:cubicBezTo>
                  <a:cubicBezTo>
                    <a:pt x="32" y="0"/>
                    <a:pt x="32" y="0"/>
                    <a:pt x="32" y="0"/>
                  </a:cubicBezTo>
                  <a:cubicBezTo>
                    <a:pt x="33" y="1"/>
                    <a:pt x="33" y="5"/>
                    <a:pt x="33" y="8"/>
                  </a:cubicBezTo>
                  <a:cubicBezTo>
                    <a:pt x="33" y="10"/>
                    <a:pt x="30" y="11"/>
                    <a:pt x="30" y="12"/>
                  </a:cubicBezTo>
                  <a:cubicBezTo>
                    <a:pt x="30" y="14"/>
                    <a:pt x="30" y="20"/>
                    <a:pt x="30" y="22"/>
                  </a:cubicBezTo>
                  <a:cubicBezTo>
                    <a:pt x="30" y="25"/>
                    <a:pt x="28" y="29"/>
                    <a:pt x="28" y="33"/>
                  </a:cubicBezTo>
                  <a:cubicBezTo>
                    <a:pt x="12" y="33"/>
                    <a:pt x="12" y="33"/>
                    <a:pt x="12" y="33"/>
                  </a:cubicBezTo>
                  <a:cubicBezTo>
                    <a:pt x="12" y="32"/>
                    <a:pt x="11" y="31"/>
                    <a:pt x="10" y="31"/>
                  </a:cubicBezTo>
                  <a:cubicBezTo>
                    <a:pt x="9" y="30"/>
                    <a:pt x="2" y="21"/>
                    <a:pt x="0" y="21"/>
                  </a:cubicBezTo>
                  <a:cubicBezTo>
                    <a:pt x="0" y="21"/>
                    <a:pt x="0" y="20"/>
                    <a:pt x="0" y="1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4" name="Freeform 113"/>
            <p:cNvSpPr>
              <a:spLocks/>
            </p:cNvSpPr>
            <p:nvPr>
              <p:custDataLst>
                <p:tags r:id="rId63"/>
              </p:custDataLst>
            </p:nvPr>
          </p:nvSpPr>
          <p:spPr bwMode="auto">
            <a:xfrm>
              <a:off x="1561" y="2521"/>
              <a:ext cx="79" cy="46"/>
            </a:xfrm>
            <a:custGeom>
              <a:avLst/>
              <a:gdLst>
                <a:gd name="T0" fmla="*/ 0 w 46"/>
                <a:gd name="T1" fmla="*/ 32131 h 25"/>
                <a:gd name="T2" fmla="*/ 2726 w 46"/>
                <a:gd name="T3" fmla="*/ 26289 h 25"/>
                <a:gd name="T4" fmla="*/ 21811 w 46"/>
                <a:gd name="T5" fmla="*/ 5842 h 25"/>
                <a:gd name="T6" fmla="*/ 38169 w 46"/>
                <a:gd name="T7" fmla="*/ 5842 h 25"/>
                <a:gd name="T8" fmla="*/ 70886 w 46"/>
                <a:gd name="T9" fmla="*/ 0 h 25"/>
                <a:gd name="T10" fmla="*/ 103602 w 46"/>
                <a:gd name="T11" fmla="*/ 2921 h 25"/>
                <a:gd name="T12" fmla="*/ 125413 w 46"/>
                <a:gd name="T13" fmla="*/ 17526 h 25"/>
                <a:gd name="T14" fmla="*/ 109055 w 46"/>
                <a:gd name="T15" fmla="*/ 29210 h 25"/>
                <a:gd name="T16" fmla="*/ 92697 w 46"/>
                <a:gd name="T17" fmla="*/ 29210 h 25"/>
                <a:gd name="T18" fmla="*/ 81791 w 46"/>
                <a:gd name="T19" fmla="*/ 40894 h 25"/>
                <a:gd name="T20" fmla="*/ 57254 w 46"/>
                <a:gd name="T21" fmla="*/ 49657 h 25"/>
                <a:gd name="T22" fmla="*/ 54527 w 46"/>
                <a:gd name="T23" fmla="*/ 67183 h 25"/>
                <a:gd name="T24" fmla="*/ 38169 w 46"/>
                <a:gd name="T25" fmla="*/ 73025 h 25"/>
                <a:gd name="T26" fmla="*/ 35443 w 46"/>
                <a:gd name="T27" fmla="*/ 64262 h 25"/>
                <a:gd name="T28" fmla="*/ 29990 w 46"/>
                <a:gd name="T29" fmla="*/ 61341 h 25"/>
                <a:gd name="T30" fmla="*/ 32716 w 46"/>
                <a:gd name="T31" fmla="*/ 40894 h 25"/>
                <a:gd name="T32" fmla="*/ 0 w 46"/>
                <a:gd name="T33" fmla="*/ 32131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25">
                  <a:moveTo>
                    <a:pt x="0" y="11"/>
                  </a:moveTo>
                  <a:cubicBezTo>
                    <a:pt x="0" y="10"/>
                    <a:pt x="1" y="9"/>
                    <a:pt x="1" y="9"/>
                  </a:cubicBezTo>
                  <a:cubicBezTo>
                    <a:pt x="3" y="7"/>
                    <a:pt x="8" y="2"/>
                    <a:pt x="8" y="2"/>
                  </a:cubicBezTo>
                  <a:cubicBezTo>
                    <a:pt x="10" y="2"/>
                    <a:pt x="13" y="2"/>
                    <a:pt x="14" y="2"/>
                  </a:cubicBezTo>
                  <a:cubicBezTo>
                    <a:pt x="16" y="2"/>
                    <a:pt x="23" y="0"/>
                    <a:pt x="26" y="0"/>
                  </a:cubicBezTo>
                  <a:cubicBezTo>
                    <a:pt x="30" y="0"/>
                    <a:pt x="35" y="0"/>
                    <a:pt x="38" y="1"/>
                  </a:cubicBezTo>
                  <a:cubicBezTo>
                    <a:pt x="40" y="1"/>
                    <a:pt x="44" y="4"/>
                    <a:pt x="46" y="6"/>
                  </a:cubicBezTo>
                  <a:cubicBezTo>
                    <a:pt x="40" y="10"/>
                    <a:pt x="40" y="10"/>
                    <a:pt x="40" y="10"/>
                  </a:cubicBezTo>
                  <a:cubicBezTo>
                    <a:pt x="40" y="10"/>
                    <a:pt x="35" y="9"/>
                    <a:pt x="34" y="10"/>
                  </a:cubicBezTo>
                  <a:cubicBezTo>
                    <a:pt x="32" y="10"/>
                    <a:pt x="31" y="14"/>
                    <a:pt x="30" y="14"/>
                  </a:cubicBezTo>
                  <a:cubicBezTo>
                    <a:pt x="29" y="15"/>
                    <a:pt x="22" y="17"/>
                    <a:pt x="21" y="17"/>
                  </a:cubicBezTo>
                  <a:cubicBezTo>
                    <a:pt x="19" y="18"/>
                    <a:pt x="21" y="21"/>
                    <a:pt x="20" y="23"/>
                  </a:cubicBezTo>
                  <a:cubicBezTo>
                    <a:pt x="14" y="25"/>
                    <a:pt x="14" y="25"/>
                    <a:pt x="14" y="25"/>
                  </a:cubicBezTo>
                  <a:cubicBezTo>
                    <a:pt x="14" y="24"/>
                    <a:pt x="14" y="23"/>
                    <a:pt x="13" y="22"/>
                  </a:cubicBezTo>
                  <a:cubicBezTo>
                    <a:pt x="13" y="21"/>
                    <a:pt x="12" y="21"/>
                    <a:pt x="11" y="21"/>
                  </a:cubicBezTo>
                  <a:cubicBezTo>
                    <a:pt x="11" y="21"/>
                    <a:pt x="14" y="16"/>
                    <a:pt x="12" y="14"/>
                  </a:cubicBezTo>
                  <a:cubicBezTo>
                    <a:pt x="11" y="13"/>
                    <a:pt x="0" y="11"/>
                    <a:pt x="0"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5" name="Freeform 114"/>
            <p:cNvSpPr>
              <a:spLocks/>
            </p:cNvSpPr>
            <p:nvPr>
              <p:custDataLst>
                <p:tags r:id="rId64"/>
              </p:custDataLst>
            </p:nvPr>
          </p:nvSpPr>
          <p:spPr bwMode="auto">
            <a:xfrm>
              <a:off x="1553" y="2542"/>
              <a:ext cx="32" cy="19"/>
            </a:xfrm>
            <a:custGeom>
              <a:avLst/>
              <a:gdLst>
                <a:gd name="T0" fmla="*/ 0 w 19"/>
                <a:gd name="T1" fmla="*/ 19195 h 11"/>
                <a:gd name="T2" fmla="*/ 13368 w 19"/>
                <a:gd name="T3" fmla="*/ 0 h 11"/>
                <a:gd name="T4" fmla="*/ 45453 w 19"/>
                <a:gd name="T5" fmla="*/ 8226 h 11"/>
                <a:gd name="T6" fmla="*/ 42779 w 19"/>
                <a:gd name="T7" fmla="*/ 27421 h 11"/>
                <a:gd name="T8" fmla="*/ 24063 w 19"/>
                <a:gd name="T9" fmla="*/ 30163 h 11"/>
                <a:gd name="T10" fmla="*/ 0 w 19"/>
                <a:gd name="T11" fmla="*/ 19195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1">
                  <a:moveTo>
                    <a:pt x="0" y="7"/>
                  </a:moveTo>
                  <a:cubicBezTo>
                    <a:pt x="2" y="5"/>
                    <a:pt x="4" y="2"/>
                    <a:pt x="5" y="0"/>
                  </a:cubicBezTo>
                  <a:cubicBezTo>
                    <a:pt x="5" y="0"/>
                    <a:pt x="16" y="2"/>
                    <a:pt x="17" y="3"/>
                  </a:cubicBezTo>
                  <a:cubicBezTo>
                    <a:pt x="19" y="5"/>
                    <a:pt x="16" y="10"/>
                    <a:pt x="16" y="10"/>
                  </a:cubicBezTo>
                  <a:cubicBezTo>
                    <a:pt x="14" y="11"/>
                    <a:pt x="12" y="11"/>
                    <a:pt x="9" y="11"/>
                  </a:cubicBezTo>
                  <a:cubicBezTo>
                    <a:pt x="6" y="10"/>
                    <a:pt x="3" y="8"/>
                    <a:pt x="0"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6" name="Freeform 115"/>
            <p:cNvSpPr>
              <a:spLocks/>
            </p:cNvSpPr>
            <p:nvPr>
              <p:custDataLst>
                <p:tags r:id="rId65"/>
              </p:custDataLst>
            </p:nvPr>
          </p:nvSpPr>
          <p:spPr bwMode="auto">
            <a:xfrm>
              <a:off x="1559" y="2483"/>
              <a:ext cx="23" cy="40"/>
            </a:xfrm>
            <a:custGeom>
              <a:avLst/>
              <a:gdLst>
                <a:gd name="T0" fmla="*/ 2809 w 13"/>
                <a:gd name="T1" fmla="*/ 60614 h 22"/>
                <a:gd name="T2" fmla="*/ 2809 w 13"/>
                <a:gd name="T3" fmla="*/ 20205 h 22"/>
                <a:gd name="T4" fmla="*/ 22470 w 13"/>
                <a:gd name="T5" fmla="*/ 0 h 22"/>
                <a:gd name="T6" fmla="*/ 36513 w 13"/>
                <a:gd name="T7" fmla="*/ 5773 h 22"/>
                <a:gd name="T8" fmla="*/ 28087 w 13"/>
                <a:gd name="T9" fmla="*/ 37523 h 22"/>
                <a:gd name="T10" fmla="*/ 19661 w 13"/>
                <a:gd name="T11" fmla="*/ 54841 h 22"/>
                <a:gd name="T12" fmla="*/ 2809 w 13"/>
                <a:gd name="T13" fmla="*/ 60614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22">
                  <a:moveTo>
                    <a:pt x="1" y="21"/>
                  </a:moveTo>
                  <a:cubicBezTo>
                    <a:pt x="0" y="21"/>
                    <a:pt x="1" y="7"/>
                    <a:pt x="1" y="7"/>
                  </a:cubicBezTo>
                  <a:cubicBezTo>
                    <a:pt x="8" y="0"/>
                    <a:pt x="8" y="0"/>
                    <a:pt x="8" y="0"/>
                  </a:cubicBezTo>
                  <a:cubicBezTo>
                    <a:pt x="13" y="2"/>
                    <a:pt x="13" y="2"/>
                    <a:pt x="13" y="2"/>
                  </a:cubicBezTo>
                  <a:cubicBezTo>
                    <a:pt x="12" y="5"/>
                    <a:pt x="11" y="11"/>
                    <a:pt x="10" y="13"/>
                  </a:cubicBezTo>
                  <a:cubicBezTo>
                    <a:pt x="9" y="15"/>
                    <a:pt x="7" y="17"/>
                    <a:pt x="7" y="19"/>
                  </a:cubicBezTo>
                  <a:cubicBezTo>
                    <a:pt x="7" y="19"/>
                    <a:pt x="2" y="22"/>
                    <a:pt x="1"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7" name="Freeform 116"/>
            <p:cNvSpPr>
              <a:spLocks/>
            </p:cNvSpPr>
            <p:nvPr>
              <p:custDataLst>
                <p:tags r:id="rId66"/>
              </p:custDataLst>
            </p:nvPr>
          </p:nvSpPr>
          <p:spPr bwMode="auto">
            <a:xfrm>
              <a:off x="1520" y="2495"/>
              <a:ext cx="55" cy="59"/>
            </a:xfrm>
            <a:custGeom>
              <a:avLst/>
              <a:gdLst>
                <a:gd name="T0" fmla="*/ 0 w 32"/>
                <a:gd name="T1" fmla="*/ 70247 h 32"/>
                <a:gd name="T2" fmla="*/ 8186 w 32"/>
                <a:gd name="T3" fmla="*/ 58539 h 32"/>
                <a:gd name="T4" fmla="*/ 16371 w 32"/>
                <a:gd name="T5" fmla="*/ 43905 h 32"/>
                <a:gd name="T6" fmla="*/ 38199 w 32"/>
                <a:gd name="T7" fmla="*/ 38051 h 32"/>
                <a:gd name="T8" fmla="*/ 38199 w 32"/>
                <a:gd name="T9" fmla="*/ 23416 h 32"/>
                <a:gd name="T10" fmla="*/ 24557 w 32"/>
                <a:gd name="T11" fmla="*/ 8781 h 32"/>
                <a:gd name="T12" fmla="*/ 24557 w 32"/>
                <a:gd name="T13" fmla="*/ 0 h 32"/>
                <a:gd name="T14" fmla="*/ 65485 w 32"/>
                <a:gd name="T15" fmla="*/ 0 h 32"/>
                <a:gd name="T16" fmla="*/ 65485 w 32"/>
                <a:gd name="T17" fmla="*/ 40978 h 32"/>
                <a:gd name="T18" fmla="*/ 81856 w 32"/>
                <a:gd name="T19" fmla="*/ 35124 h 32"/>
                <a:gd name="T20" fmla="*/ 81856 w 32"/>
                <a:gd name="T21" fmla="*/ 43905 h 32"/>
                <a:gd name="T22" fmla="*/ 87313 w 32"/>
                <a:gd name="T23" fmla="*/ 46832 h 32"/>
                <a:gd name="T24" fmla="*/ 68213 w 32"/>
                <a:gd name="T25" fmla="*/ 67320 h 32"/>
                <a:gd name="T26" fmla="*/ 65485 w 32"/>
                <a:gd name="T27" fmla="*/ 73174 h 32"/>
                <a:gd name="T28" fmla="*/ 51842 w 32"/>
                <a:gd name="T29" fmla="*/ 93663 h 32"/>
                <a:gd name="T30" fmla="*/ 43657 w 32"/>
                <a:gd name="T31" fmla="*/ 90736 h 32"/>
                <a:gd name="T32" fmla="*/ 24557 w 32"/>
                <a:gd name="T33" fmla="*/ 87809 h 32"/>
                <a:gd name="T34" fmla="*/ 0 w 32"/>
                <a:gd name="T35" fmla="*/ 70247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2">
                  <a:moveTo>
                    <a:pt x="0" y="24"/>
                  </a:moveTo>
                  <a:cubicBezTo>
                    <a:pt x="3" y="20"/>
                    <a:pt x="3" y="20"/>
                    <a:pt x="3" y="20"/>
                  </a:cubicBezTo>
                  <a:cubicBezTo>
                    <a:pt x="6" y="15"/>
                    <a:pt x="6" y="15"/>
                    <a:pt x="6" y="15"/>
                  </a:cubicBezTo>
                  <a:cubicBezTo>
                    <a:pt x="14" y="13"/>
                    <a:pt x="14" y="13"/>
                    <a:pt x="14" y="13"/>
                  </a:cubicBezTo>
                  <a:cubicBezTo>
                    <a:pt x="14" y="8"/>
                    <a:pt x="14" y="8"/>
                    <a:pt x="14" y="8"/>
                  </a:cubicBezTo>
                  <a:cubicBezTo>
                    <a:pt x="9" y="3"/>
                    <a:pt x="9" y="3"/>
                    <a:pt x="9" y="3"/>
                  </a:cubicBezTo>
                  <a:cubicBezTo>
                    <a:pt x="9" y="0"/>
                    <a:pt x="9" y="0"/>
                    <a:pt x="9" y="0"/>
                  </a:cubicBezTo>
                  <a:cubicBezTo>
                    <a:pt x="24" y="0"/>
                    <a:pt x="24" y="0"/>
                    <a:pt x="24" y="0"/>
                  </a:cubicBezTo>
                  <a:cubicBezTo>
                    <a:pt x="24" y="0"/>
                    <a:pt x="23" y="14"/>
                    <a:pt x="24" y="14"/>
                  </a:cubicBezTo>
                  <a:cubicBezTo>
                    <a:pt x="25" y="15"/>
                    <a:pt x="30" y="12"/>
                    <a:pt x="30" y="12"/>
                  </a:cubicBezTo>
                  <a:cubicBezTo>
                    <a:pt x="29" y="14"/>
                    <a:pt x="28" y="14"/>
                    <a:pt x="30" y="15"/>
                  </a:cubicBezTo>
                  <a:cubicBezTo>
                    <a:pt x="30" y="15"/>
                    <a:pt x="31" y="16"/>
                    <a:pt x="32" y="16"/>
                  </a:cubicBezTo>
                  <a:cubicBezTo>
                    <a:pt x="32" y="16"/>
                    <a:pt x="27" y="21"/>
                    <a:pt x="25" y="23"/>
                  </a:cubicBezTo>
                  <a:cubicBezTo>
                    <a:pt x="25" y="23"/>
                    <a:pt x="24" y="24"/>
                    <a:pt x="24" y="25"/>
                  </a:cubicBezTo>
                  <a:cubicBezTo>
                    <a:pt x="23" y="27"/>
                    <a:pt x="21" y="30"/>
                    <a:pt x="19" y="32"/>
                  </a:cubicBezTo>
                  <a:cubicBezTo>
                    <a:pt x="18" y="32"/>
                    <a:pt x="17" y="31"/>
                    <a:pt x="16" y="31"/>
                  </a:cubicBezTo>
                  <a:cubicBezTo>
                    <a:pt x="14" y="30"/>
                    <a:pt x="12" y="31"/>
                    <a:pt x="9" y="30"/>
                  </a:cubicBezTo>
                  <a:cubicBezTo>
                    <a:pt x="7" y="30"/>
                    <a:pt x="2" y="25"/>
                    <a:pt x="0" y="2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8" name="Freeform 117"/>
            <p:cNvSpPr>
              <a:spLocks/>
            </p:cNvSpPr>
            <p:nvPr>
              <p:custDataLst>
                <p:tags r:id="rId67"/>
              </p:custDataLst>
            </p:nvPr>
          </p:nvSpPr>
          <p:spPr bwMode="auto">
            <a:xfrm>
              <a:off x="1196" y="2267"/>
              <a:ext cx="404" cy="272"/>
            </a:xfrm>
            <a:custGeom>
              <a:avLst/>
              <a:gdLst>
                <a:gd name="T0" fmla="*/ 0 w 236"/>
                <a:gd name="T1" fmla="*/ 8753 h 148"/>
                <a:gd name="T2" fmla="*/ 48917 w 236"/>
                <a:gd name="T3" fmla="*/ 0 h 148"/>
                <a:gd name="T4" fmla="*/ 125009 w 236"/>
                <a:gd name="T5" fmla="*/ 40846 h 148"/>
                <a:gd name="T6" fmla="*/ 184796 w 236"/>
                <a:gd name="T7" fmla="*/ 29176 h 148"/>
                <a:gd name="T8" fmla="*/ 244583 w 236"/>
                <a:gd name="T9" fmla="*/ 52516 h 148"/>
                <a:gd name="T10" fmla="*/ 288064 w 236"/>
                <a:gd name="T11" fmla="*/ 96280 h 148"/>
                <a:gd name="T12" fmla="*/ 331545 w 236"/>
                <a:gd name="T13" fmla="*/ 81692 h 148"/>
                <a:gd name="T14" fmla="*/ 402203 w 236"/>
                <a:gd name="T15" fmla="*/ 175054 h 148"/>
                <a:gd name="T16" fmla="*/ 418508 w 236"/>
                <a:gd name="T17" fmla="*/ 169219 h 148"/>
                <a:gd name="T18" fmla="*/ 404920 w 236"/>
                <a:gd name="T19" fmla="*/ 212982 h 148"/>
                <a:gd name="T20" fmla="*/ 415790 w 236"/>
                <a:gd name="T21" fmla="*/ 271334 h 148"/>
                <a:gd name="T22" fmla="*/ 429378 w 236"/>
                <a:gd name="T23" fmla="*/ 312180 h 148"/>
                <a:gd name="T24" fmla="*/ 464707 w 236"/>
                <a:gd name="T25" fmla="*/ 344273 h 148"/>
                <a:gd name="T26" fmla="*/ 513624 w 236"/>
                <a:gd name="T27" fmla="*/ 344273 h 148"/>
                <a:gd name="T28" fmla="*/ 551670 w 236"/>
                <a:gd name="T29" fmla="*/ 309262 h 148"/>
                <a:gd name="T30" fmla="*/ 597869 w 236"/>
                <a:gd name="T31" fmla="*/ 271334 h 148"/>
                <a:gd name="T32" fmla="*/ 630480 w 236"/>
                <a:gd name="T33" fmla="*/ 274251 h 148"/>
                <a:gd name="T34" fmla="*/ 616892 w 236"/>
                <a:gd name="T35" fmla="*/ 318015 h 148"/>
                <a:gd name="T36" fmla="*/ 597869 w 236"/>
                <a:gd name="T37" fmla="*/ 341355 h 148"/>
                <a:gd name="T38" fmla="*/ 538082 w 236"/>
                <a:gd name="T39" fmla="*/ 361778 h 148"/>
                <a:gd name="T40" fmla="*/ 551670 w 236"/>
                <a:gd name="T41" fmla="*/ 385119 h 148"/>
                <a:gd name="T42" fmla="*/ 529929 w 236"/>
                <a:gd name="T43" fmla="*/ 405542 h 148"/>
                <a:gd name="T44" fmla="*/ 513624 w 236"/>
                <a:gd name="T45" fmla="*/ 431800 h 148"/>
                <a:gd name="T46" fmla="*/ 442966 w 236"/>
                <a:gd name="T47" fmla="*/ 405542 h 148"/>
                <a:gd name="T48" fmla="*/ 350568 w 236"/>
                <a:gd name="T49" fmla="*/ 382201 h 148"/>
                <a:gd name="T50" fmla="*/ 263606 w 236"/>
                <a:gd name="T51" fmla="*/ 332603 h 148"/>
                <a:gd name="T52" fmla="*/ 241865 w 236"/>
                <a:gd name="T53" fmla="*/ 300509 h 148"/>
                <a:gd name="T54" fmla="*/ 236430 w 236"/>
                <a:gd name="T55" fmla="*/ 253828 h 148"/>
                <a:gd name="T56" fmla="*/ 160338 w 236"/>
                <a:gd name="T57" fmla="*/ 177972 h 148"/>
                <a:gd name="T58" fmla="*/ 144032 w 236"/>
                <a:gd name="T59" fmla="*/ 142961 h 148"/>
                <a:gd name="T60" fmla="*/ 122291 w 236"/>
                <a:gd name="T61" fmla="*/ 116703 h 148"/>
                <a:gd name="T62" fmla="*/ 84245 w 236"/>
                <a:gd name="T63" fmla="*/ 43764 h 148"/>
                <a:gd name="T64" fmla="*/ 48917 w 236"/>
                <a:gd name="T65" fmla="*/ 46681 h 148"/>
                <a:gd name="T66" fmla="*/ 67940 w 236"/>
                <a:gd name="T67" fmla="*/ 84609 h 148"/>
                <a:gd name="T68" fmla="*/ 103268 w 236"/>
                <a:gd name="T69" fmla="*/ 137126 h 148"/>
                <a:gd name="T70" fmla="*/ 127726 w 236"/>
                <a:gd name="T71" fmla="*/ 180889 h 148"/>
                <a:gd name="T72" fmla="*/ 149467 w 236"/>
                <a:gd name="T73" fmla="*/ 212982 h 148"/>
                <a:gd name="T74" fmla="*/ 146750 w 236"/>
                <a:gd name="T75" fmla="*/ 247993 h 148"/>
                <a:gd name="T76" fmla="*/ 127726 w 236"/>
                <a:gd name="T77" fmla="*/ 218818 h 148"/>
                <a:gd name="T78" fmla="*/ 103268 w 236"/>
                <a:gd name="T79" fmla="*/ 175054 h 148"/>
                <a:gd name="T80" fmla="*/ 59787 w 236"/>
                <a:gd name="T81" fmla="*/ 148796 h 148"/>
                <a:gd name="T82" fmla="*/ 57069 w 236"/>
                <a:gd name="T83" fmla="*/ 125455 h 148"/>
                <a:gd name="T84" fmla="*/ 29893 w 236"/>
                <a:gd name="T85" fmla="*/ 78774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36" h="148">
                  <a:moveTo>
                    <a:pt x="4" y="12"/>
                  </a:moveTo>
                  <a:cubicBezTo>
                    <a:pt x="3" y="10"/>
                    <a:pt x="1" y="6"/>
                    <a:pt x="0" y="3"/>
                  </a:cubicBezTo>
                  <a:cubicBezTo>
                    <a:pt x="7" y="2"/>
                    <a:pt x="7" y="2"/>
                    <a:pt x="7" y="2"/>
                  </a:cubicBezTo>
                  <a:cubicBezTo>
                    <a:pt x="18" y="0"/>
                    <a:pt x="18" y="0"/>
                    <a:pt x="18" y="0"/>
                  </a:cubicBezTo>
                  <a:cubicBezTo>
                    <a:pt x="18" y="3"/>
                    <a:pt x="18" y="3"/>
                    <a:pt x="18" y="3"/>
                  </a:cubicBezTo>
                  <a:cubicBezTo>
                    <a:pt x="46" y="14"/>
                    <a:pt x="46" y="14"/>
                    <a:pt x="46" y="14"/>
                  </a:cubicBezTo>
                  <a:cubicBezTo>
                    <a:pt x="68" y="15"/>
                    <a:pt x="68" y="15"/>
                    <a:pt x="68" y="15"/>
                  </a:cubicBezTo>
                  <a:cubicBezTo>
                    <a:pt x="68" y="10"/>
                    <a:pt x="68" y="10"/>
                    <a:pt x="68" y="10"/>
                  </a:cubicBezTo>
                  <a:cubicBezTo>
                    <a:pt x="82" y="10"/>
                    <a:pt x="82" y="10"/>
                    <a:pt x="82" y="10"/>
                  </a:cubicBezTo>
                  <a:cubicBezTo>
                    <a:pt x="82" y="10"/>
                    <a:pt x="88" y="16"/>
                    <a:pt x="90" y="18"/>
                  </a:cubicBezTo>
                  <a:cubicBezTo>
                    <a:pt x="93" y="19"/>
                    <a:pt x="94" y="21"/>
                    <a:pt x="95" y="25"/>
                  </a:cubicBezTo>
                  <a:cubicBezTo>
                    <a:pt x="96" y="29"/>
                    <a:pt x="102" y="31"/>
                    <a:pt x="106" y="33"/>
                  </a:cubicBezTo>
                  <a:cubicBezTo>
                    <a:pt x="110" y="34"/>
                    <a:pt x="110" y="27"/>
                    <a:pt x="112" y="26"/>
                  </a:cubicBezTo>
                  <a:cubicBezTo>
                    <a:pt x="114" y="26"/>
                    <a:pt x="117" y="26"/>
                    <a:pt x="122" y="28"/>
                  </a:cubicBezTo>
                  <a:cubicBezTo>
                    <a:pt x="126" y="30"/>
                    <a:pt x="137" y="54"/>
                    <a:pt x="138" y="55"/>
                  </a:cubicBezTo>
                  <a:cubicBezTo>
                    <a:pt x="139" y="56"/>
                    <a:pt x="148" y="60"/>
                    <a:pt x="148" y="60"/>
                  </a:cubicBezTo>
                  <a:cubicBezTo>
                    <a:pt x="153" y="58"/>
                    <a:pt x="153" y="58"/>
                    <a:pt x="153" y="58"/>
                  </a:cubicBezTo>
                  <a:cubicBezTo>
                    <a:pt x="154" y="58"/>
                    <a:pt x="154" y="58"/>
                    <a:pt x="154" y="58"/>
                  </a:cubicBezTo>
                  <a:cubicBezTo>
                    <a:pt x="154" y="59"/>
                    <a:pt x="154" y="59"/>
                    <a:pt x="154" y="60"/>
                  </a:cubicBezTo>
                  <a:cubicBezTo>
                    <a:pt x="154" y="63"/>
                    <a:pt x="149" y="70"/>
                    <a:pt x="149" y="73"/>
                  </a:cubicBezTo>
                  <a:cubicBezTo>
                    <a:pt x="148" y="75"/>
                    <a:pt x="148" y="84"/>
                    <a:pt x="148" y="87"/>
                  </a:cubicBezTo>
                  <a:cubicBezTo>
                    <a:pt x="148" y="89"/>
                    <a:pt x="152" y="92"/>
                    <a:pt x="153" y="93"/>
                  </a:cubicBezTo>
                  <a:cubicBezTo>
                    <a:pt x="154" y="95"/>
                    <a:pt x="151" y="96"/>
                    <a:pt x="151" y="98"/>
                  </a:cubicBezTo>
                  <a:cubicBezTo>
                    <a:pt x="151" y="99"/>
                    <a:pt x="155" y="103"/>
                    <a:pt x="158" y="107"/>
                  </a:cubicBezTo>
                  <a:cubicBezTo>
                    <a:pt x="161" y="110"/>
                    <a:pt x="159" y="111"/>
                    <a:pt x="161" y="115"/>
                  </a:cubicBezTo>
                  <a:cubicBezTo>
                    <a:pt x="164" y="118"/>
                    <a:pt x="168" y="116"/>
                    <a:pt x="171" y="118"/>
                  </a:cubicBezTo>
                  <a:cubicBezTo>
                    <a:pt x="173" y="120"/>
                    <a:pt x="173" y="122"/>
                    <a:pt x="176" y="121"/>
                  </a:cubicBezTo>
                  <a:cubicBezTo>
                    <a:pt x="178" y="120"/>
                    <a:pt x="186" y="119"/>
                    <a:pt x="189" y="118"/>
                  </a:cubicBezTo>
                  <a:cubicBezTo>
                    <a:pt x="192" y="118"/>
                    <a:pt x="198" y="116"/>
                    <a:pt x="200" y="114"/>
                  </a:cubicBezTo>
                  <a:cubicBezTo>
                    <a:pt x="202" y="112"/>
                    <a:pt x="203" y="108"/>
                    <a:pt x="203" y="106"/>
                  </a:cubicBezTo>
                  <a:cubicBezTo>
                    <a:pt x="203" y="105"/>
                    <a:pt x="204" y="99"/>
                    <a:pt x="206" y="97"/>
                  </a:cubicBezTo>
                  <a:cubicBezTo>
                    <a:pt x="208" y="95"/>
                    <a:pt x="216" y="94"/>
                    <a:pt x="220" y="93"/>
                  </a:cubicBezTo>
                  <a:cubicBezTo>
                    <a:pt x="224" y="93"/>
                    <a:pt x="226" y="92"/>
                    <a:pt x="229" y="93"/>
                  </a:cubicBezTo>
                  <a:cubicBezTo>
                    <a:pt x="230" y="93"/>
                    <a:pt x="231" y="94"/>
                    <a:pt x="232" y="94"/>
                  </a:cubicBezTo>
                  <a:cubicBezTo>
                    <a:pt x="236" y="96"/>
                    <a:pt x="231" y="100"/>
                    <a:pt x="230" y="102"/>
                  </a:cubicBezTo>
                  <a:cubicBezTo>
                    <a:pt x="229" y="103"/>
                    <a:pt x="227" y="108"/>
                    <a:pt x="227" y="109"/>
                  </a:cubicBezTo>
                  <a:cubicBezTo>
                    <a:pt x="227" y="111"/>
                    <a:pt x="225" y="116"/>
                    <a:pt x="225" y="119"/>
                  </a:cubicBezTo>
                  <a:cubicBezTo>
                    <a:pt x="220" y="117"/>
                    <a:pt x="220" y="117"/>
                    <a:pt x="220" y="117"/>
                  </a:cubicBezTo>
                  <a:cubicBezTo>
                    <a:pt x="213" y="124"/>
                    <a:pt x="213" y="124"/>
                    <a:pt x="213" y="124"/>
                  </a:cubicBezTo>
                  <a:cubicBezTo>
                    <a:pt x="198" y="124"/>
                    <a:pt x="198" y="124"/>
                    <a:pt x="198" y="124"/>
                  </a:cubicBezTo>
                  <a:cubicBezTo>
                    <a:pt x="198" y="127"/>
                    <a:pt x="198" y="127"/>
                    <a:pt x="198" y="127"/>
                  </a:cubicBezTo>
                  <a:cubicBezTo>
                    <a:pt x="203" y="132"/>
                    <a:pt x="203" y="132"/>
                    <a:pt x="203" y="132"/>
                  </a:cubicBezTo>
                  <a:cubicBezTo>
                    <a:pt x="203" y="137"/>
                    <a:pt x="203" y="137"/>
                    <a:pt x="203" y="137"/>
                  </a:cubicBezTo>
                  <a:cubicBezTo>
                    <a:pt x="195" y="139"/>
                    <a:pt x="195" y="139"/>
                    <a:pt x="195" y="139"/>
                  </a:cubicBezTo>
                  <a:cubicBezTo>
                    <a:pt x="192" y="144"/>
                    <a:pt x="192" y="144"/>
                    <a:pt x="192" y="144"/>
                  </a:cubicBezTo>
                  <a:cubicBezTo>
                    <a:pt x="189" y="148"/>
                    <a:pt x="189" y="148"/>
                    <a:pt x="189" y="148"/>
                  </a:cubicBezTo>
                  <a:cubicBezTo>
                    <a:pt x="188" y="147"/>
                    <a:pt x="177" y="137"/>
                    <a:pt x="173" y="136"/>
                  </a:cubicBezTo>
                  <a:cubicBezTo>
                    <a:pt x="169" y="134"/>
                    <a:pt x="166" y="138"/>
                    <a:pt x="163" y="139"/>
                  </a:cubicBezTo>
                  <a:cubicBezTo>
                    <a:pt x="161" y="141"/>
                    <a:pt x="157" y="141"/>
                    <a:pt x="153" y="140"/>
                  </a:cubicBezTo>
                  <a:cubicBezTo>
                    <a:pt x="149" y="139"/>
                    <a:pt x="132" y="132"/>
                    <a:pt x="129" y="131"/>
                  </a:cubicBezTo>
                  <a:cubicBezTo>
                    <a:pt x="127" y="131"/>
                    <a:pt x="115" y="124"/>
                    <a:pt x="113" y="123"/>
                  </a:cubicBezTo>
                  <a:cubicBezTo>
                    <a:pt x="110" y="123"/>
                    <a:pt x="101" y="117"/>
                    <a:pt x="97" y="114"/>
                  </a:cubicBezTo>
                  <a:cubicBezTo>
                    <a:pt x="93" y="112"/>
                    <a:pt x="91" y="109"/>
                    <a:pt x="89" y="108"/>
                  </a:cubicBezTo>
                  <a:cubicBezTo>
                    <a:pt x="88" y="106"/>
                    <a:pt x="87" y="103"/>
                    <a:pt x="89" y="103"/>
                  </a:cubicBezTo>
                  <a:cubicBezTo>
                    <a:pt x="90" y="102"/>
                    <a:pt x="91" y="99"/>
                    <a:pt x="91" y="97"/>
                  </a:cubicBezTo>
                  <a:cubicBezTo>
                    <a:pt x="91" y="95"/>
                    <a:pt x="89" y="89"/>
                    <a:pt x="87" y="87"/>
                  </a:cubicBezTo>
                  <a:cubicBezTo>
                    <a:pt x="86" y="84"/>
                    <a:pt x="74" y="72"/>
                    <a:pt x="71" y="70"/>
                  </a:cubicBezTo>
                  <a:cubicBezTo>
                    <a:pt x="68" y="68"/>
                    <a:pt x="61" y="62"/>
                    <a:pt x="59" y="61"/>
                  </a:cubicBezTo>
                  <a:cubicBezTo>
                    <a:pt x="57" y="61"/>
                    <a:pt x="61" y="57"/>
                    <a:pt x="59" y="54"/>
                  </a:cubicBezTo>
                  <a:cubicBezTo>
                    <a:pt x="59" y="52"/>
                    <a:pt x="54" y="49"/>
                    <a:pt x="53" y="49"/>
                  </a:cubicBezTo>
                  <a:cubicBezTo>
                    <a:pt x="51" y="48"/>
                    <a:pt x="51" y="44"/>
                    <a:pt x="51" y="43"/>
                  </a:cubicBezTo>
                  <a:cubicBezTo>
                    <a:pt x="51" y="41"/>
                    <a:pt x="46" y="41"/>
                    <a:pt x="45" y="40"/>
                  </a:cubicBezTo>
                  <a:cubicBezTo>
                    <a:pt x="43" y="39"/>
                    <a:pt x="36" y="29"/>
                    <a:pt x="35" y="27"/>
                  </a:cubicBezTo>
                  <a:cubicBezTo>
                    <a:pt x="34" y="26"/>
                    <a:pt x="32" y="16"/>
                    <a:pt x="31" y="15"/>
                  </a:cubicBezTo>
                  <a:cubicBezTo>
                    <a:pt x="30" y="15"/>
                    <a:pt x="19" y="10"/>
                    <a:pt x="18" y="10"/>
                  </a:cubicBezTo>
                  <a:cubicBezTo>
                    <a:pt x="17" y="10"/>
                    <a:pt x="18" y="14"/>
                    <a:pt x="18" y="16"/>
                  </a:cubicBezTo>
                  <a:cubicBezTo>
                    <a:pt x="18" y="17"/>
                    <a:pt x="19" y="22"/>
                    <a:pt x="20" y="24"/>
                  </a:cubicBezTo>
                  <a:cubicBezTo>
                    <a:pt x="21" y="26"/>
                    <a:pt x="23" y="27"/>
                    <a:pt x="25" y="29"/>
                  </a:cubicBezTo>
                  <a:cubicBezTo>
                    <a:pt x="27" y="31"/>
                    <a:pt x="30" y="35"/>
                    <a:pt x="31" y="36"/>
                  </a:cubicBezTo>
                  <a:cubicBezTo>
                    <a:pt x="32" y="38"/>
                    <a:pt x="36" y="45"/>
                    <a:pt x="38" y="47"/>
                  </a:cubicBezTo>
                  <a:cubicBezTo>
                    <a:pt x="40" y="49"/>
                    <a:pt x="41" y="51"/>
                    <a:pt x="43" y="54"/>
                  </a:cubicBezTo>
                  <a:cubicBezTo>
                    <a:pt x="44" y="56"/>
                    <a:pt x="45" y="60"/>
                    <a:pt x="47" y="62"/>
                  </a:cubicBezTo>
                  <a:cubicBezTo>
                    <a:pt x="48" y="65"/>
                    <a:pt x="49" y="67"/>
                    <a:pt x="50" y="69"/>
                  </a:cubicBezTo>
                  <a:cubicBezTo>
                    <a:pt x="51" y="72"/>
                    <a:pt x="54" y="71"/>
                    <a:pt x="55" y="73"/>
                  </a:cubicBezTo>
                  <a:cubicBezTo>
                    <a:pt x="56" y="76"/>
                    <a:pt x="60" y="77"/>
                    <a:pt x="60" y="80"/>
                  </a:cubicBezTo>
                  <a:cubicBezTo>
                    <a:pt x="59" y="82"/>
                    <a:pt x="55" y="85"/>
                    <a:pt x="54" y="85"/>
                  </a:cubicBezTo>
                  <a:cubicBezTo>
                    <a:pt x="52" y="84"/>
                    <a:pt x="52" y="80"/>
                    <a:pt x="51" y="79"/>
                  </a:cubicBezTo>
                  <a:cubicBezTo>
                    <a:pt x="51" y="78"/>
                    <a:pt x="47" y="76"/>
                    <a:pt x="47" y="75"/>
                  </a:cubicBezTo>
                  <a:cubicBezTo>
                    <a:pt x="46" y="74"/>
                    <a:pt x="39" y="72"/>
                    <a:pt x="38" y="71"/>
                  </a:cubicBezTo>
                  <a:cubicBezTo>
                    <a:pt x="37" y="69"/>
                    <a:pt x="39" y="63"/>
                    <a:pt x="38" y="60"/>
                  </a:cubicBezTo>
                  <a:cubicBezTo>
                    <a:pt x="37" y="57"/>
                    <a:pt x="33" y="57"/>
                    <a:pt x="31" y="54"/>
                  </a:cubicBezTo>
                  <a:cubicBezTo>
                    <a:pt x="29" y="52"/>
                    <a:pt x="26" y="52"/>
                    <a:pt x="22" y="51"/>
                  </a:cubicBezTo>
                  <a:cubicBezTo>
                    <a:pt x="19" y="49"/>
                    <a:pt x="14" y="43"/>
                    <a:pt x="15" y="43"/>
                  </a:cubicBezTo>
                  <a:cubicBezTo>
                    <a:pt x="16" y="43"/>
                    <a:pt x="20" y="43"/>
                    <a:pt x="21" y="43"/>
                  </a:cubicBezTo>
                  <a:cubicBezTo>
                    <a:pt x="23" y="43"/>
                    <a:pt x="24" y="40"/>
                    <a:pt x="23" y="37"/>
                  </a:cubicBezTo>
                  <a:cubicBezTo>
                    <a:pt x="23" y="35"/>
                    <a:pt x="13" y="29"/>
                    <a:pt x="11" y="27"/>
                  </a:cubicBezTo>
                  <a:cubicBezTo>
                    <a:pt x="9" y="25"/>
                    <a:pt x="6" y="16"/>
                    <a:pt x="4"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99" name="Freeform 118"/>
            <p:cNvSpPr>
              <a:spLocks/>
            </p:cNvSpPr>
            <p:nvPr>
              <p:custDataLst>
                <p:tags r:id="rId68"/>
              </p:custDataLst>
            </p:nvPr>
          </p:nvSpPr>
          <p:spPr bwMode="auto">
            <a:xfrm>
              <a:off x="1849" y="2484"/>
              <a:ext cx="26" cy="13"/>
            </a:xfrm>
            <a:custGeom>
              <a:avLst/>
              <a:gdLst>
                <a:gd name="T0" fmla="*/ 7739 w 16"/>
                <a:gd name="T1" fmla="*/ 20638 h 7"/>
                <a:gd name="T2" fmla="*/ 5159 w 16"/>
                <a:gd name="T3" fmla="*/ 2948 h 7"/>
                <a:gd name="T4" fmla="*/ 23217 w 16"/>
                <a:gd name="T5" fmla="*/ 0 h 7"/>
                <a:gd name="T6" fmla="*/ 41275 w 16"/>
                <a:gd name="T7" fmla="*/ 5897 h 7"/>
                <a:gd name="T8" fmla="*/ 28377 w 16"/>
                <a:gd name="T9" fmla="*/ 20638 h 7"/>
                <a:gd name="T10" fmla="*/ 7739 w 16"/>
                <a:gd name="T11" fmla="*/ 20638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7">
                  <a:moveTo>
                    <a:pt x="3" y="7"/>
                  </a:moveTo>
                  <a:cubicBezTo>
                    <a:pt x="2" y="6"/>
                    <a:pt x="0" y="3"/>
                    <a:pt x="2" y="1"/>
                  </a:cubicBezTo>
                  <a:cubicBezTo>
                    <a:pt x="3" y="0"/>
                    <a:pt x="6" y="0"/>
                    <a:pt x="9" y="0"/>
                  </a:cubicBezTo>
                  <a:cubicBezTo>
                    <a:pt x="9" y="0"/>
                    <a:pt x="16" y="1"/>
                    <a:pt x="16" y="2"/>
                  </a:cubicBezTo>
                  <a:cubicBezTo>
                    <a:pt x="15" y="4"/>
                    <a:pt x="13" y="7"/>
                    <a:pt x="11" y="7"/>
                  </a:cubicBezTo>
                  <a:cubicBezTo>
                    <a:pt x="11" y="7"/>
                    <a:pt x="3" y="7"/>
                    <a:pt x="3"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0" name="Freeform 121"/>
            <p:cNvSpPr>
              <a:spLocks/>
            </p:cNvSpPr>
            <p:nvPr>
              <p:custDataLst>
                <p:tags r:id="rId69"/>
              </p:custDataLst>
            </p:nvPr>
          </p:nvSpPr>
          <p:spPr bwMode="auto">
            <a:xfrm>
              <a:off x="1792" y="2464"/>
              <a:ext cx="45" cy="35"/>
            </a:xfrm>
            <a:custGeom>
              <a:avLst/>
              <a:gdLst>
                <a:gd name="T0" fmla="*/ 19233 w 26"/>
                <a:gd name="T1" fmla="*/ 40941 h 19"/>
                <a:gd name="T2" fmla="*/ 2748 w 26"/>
                <a:gd name="T3" fmla="*/ 55563 h 19"/>
                <a:gd name="T4" fmla="*/ 0 w 26"/>
                <a:gd name="T5" fmla="*/ 55563 h 19"/>
                <a:gd name="T6" fmla="*/ 2748 w 26"/>
                <a:gd name="T7" fmla="*/ 5849 h 19"/>
                <a:gd name="T8" fmla="*/ 21981 w 26"/>
                <a:gd name="T9" fmla="*/ 0 h 19"/>
                <a:gd name="T10" fmla="*/ 38467 w 26"/>
                <a:gd name="T11" fmla="*/ 8773 h 19"/>
                <a:gd name="T12" fmla="*/ 49457 w 26"/>
                <a:gd name="T13" fmla="*/ 17546 h 19"/>
                <a:gd name="T14" fmla="*/ 71438 w 26"/>
                <a:gd name="T15" fmla="*/ 29244 h 19"/>
                <a:gd name="T16" fmla="*/ 63195 w 26"/>
                <a:gd name="T17" fmla="*/ 43866 h 19"/>
                <a:gd name="T18" fmla="*/ 43962 w 26"/>
                <a:gd name="T19" fmla="*/ 38017 h 19"/>
                <a:gd name="T20" fmla="*/ 19233 w 26"/>
                <a:gd name="T21" fmla="*/ 4094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9">
                  <a:moveTo>
                    <a:pt x="7" y="14"/>
                  </a:moveTo>
                  <a:cubicBezTo>
                    <a:pt x="5" y="15"/>
                    <a:pt x="3" y="19"/>
                    <a:pt x="1" y="19"/>
                  </a:cubicBezTo>
                  <a:cubicBezTo>
                    <a:pt x="1" y="19"/>
                    <a:pt x="0" y="19"/>
                    <a:pt x="0" y="19"/>
                  </a:cubicBezTo>
                  <a:cubicBezTo>
                    <a:pt x="1" y="2"/>
                    <a:pt x="1" y="2"/>
                    <a:pt x="1" y="2"/>
                  </a:cubicBezTo>
                  <a:cubicBezTo>
                    <a:pt x="3" y="2"/>
                    <a:pt x="6" y="0"/>
                    <a:pt x="8" y="0"/>
                  </a:cubicBezTo>
                  <a:cubicBezTo>
                    <a:pt x="10" y="0"/>
                    <a:pt x="14" y="2"/>
                    <a:pt x="14" y="3"/>
                  </a:cubicBezTo>
                  <a:cubicBezTo>
                    <a:pt x="15" y="3"/>
                    <a:pt x="16" y="6"/>
                    <a:pt x="18" y="6"/>
                  </a:cubicBezTo>
                  <a:cubicBezTo>
                    <a:pt x="19" y="6"/>
                    <a:pt x="26" y="9"/>
                    <a:pt x="26" y="10"/>
                  </a:cubicBezTo>
                  <a:cubicBezTo>
                    <a:pt x="26" y="11"/>
                    <a:pt x="24" y="14"/>
                    <a:pt x="23" y="15"/>
                  </a:cubicBezTo>
                  <a:cubicBezTo>
                    <a:pt x="22" y="15"/>
                    <a:pt x="18" y="13"/>
                    <a:pt x="16" y="13"/>
                  </a:cubicBezTo>
                  <a:cubicBezTo>
                    <a:pt x="13" y="13"/>
                    <a:pt x="9" y="14"/>
                    <a:pt x="7"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1" name="Freeform 122"/>
            <p:cNvSpPr>
              <a:spLocks/>
            </p:cNvSpPr>
            <p:nvPr>
              <p:custDataLst>
                <p:tags r:id="rId70"/>
              </p:custDataLst>
            </p:nvPr>
          </p:nvSpPr>
          <p:spPr bwMode="auto">
            <a:xfrm>
              <a:off x="1757" y="2463"/>
              <a:ext cx="36" cy="36"/>
            </a:xfrm>
            <a:custGeom>
              <a:avLst/>
              <a:gdLst>
                <a:gd name="T0" fmla="*/ 57150 w 21"/>
                <a:gd name="T1" fmla="*/ 8573 h 20"/>
                <a:gd name="T2" fmla="*/ 54429 w 21"/>
                <a:gd name="T3" fmla="*/ 57150 h 20"/>
                <a:gd name="T4" fmla="*/ 40821 w 21"/>
                <a:gd name="T5" fmla="*/ 51435 h 20"/>
                <a:gd name="T6" fmla="*/ 16329 w 21"/>
                <a:gd name="T7" fmla="*/ 51435 h 20"/>
                <a:gd name="T8" fmla="*/ 0 w 21"/>
                <a:gd name="T9" fmla="*/ 37148 h 20"/>
                <a:gd name="T10" fmla="*/ 32657 w 21"/>
                <a:gd name="T11" fmla="*/ 34290 h 20"/>
                <a:gd name="T12" fmla="*/ 27214 w 21"/>
                <a:gd name="T13" fmla="*/ 17145 h 20"/>
                <a:gd name="T14" fmla="*/ 16329 w 21"/>
                <a:gd name="T15" fmla="*/ 5715 h 20"/>
                <a:gd name="T16" fmla="*/ 35379 w 21"/>
                <a:gd name="T17" fmla="*/ 0 h 20"/>
                <a:gd name="T18" fmla="*/ 54429 w 21"/>
                <a:gd name="T19" fmla="*/ 8573 h 20"/>
                <a:gd name="T20" fmla="*/ 57150 w 21"/>
                <a:gd name="T21" fmla="*/ 8573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20">
                  <a:moveTo>
                    <a:pt x="21" y="3"/>
                  </a:moveTo>
                  <a:cubicBezTo>
                    <a:pt x="21" y="3"/>
                    <a:pt x="20" y="20"/>
                    <a:pt x="20" y="20"/>
                  </a:cubicBezTo>
                  <a:cubicBezTo>
                    <a:pt x="20" y="20"/>
                    <a:pt x="17" y="18"/>
                    <a:pt x="15" y="18"/>
                  </a:cubicBezTo>
                  <a:cubicBezTo>
                    <a:pt x="14" y="18"/>
                    <a:pt x="8" y="18"/>
                    <a:pt x="6" y="18"/>
                  </a:cubicBezTo>
                  <a:cubicBezTo>
                    <a:pt x="3" y="18"/>
                    <a:pt x="0" y="15"/>
                    <a:pt x="0" y="13"/>
                  </a:cubicBezTo>
                  <a:cubicBezTo>
                    <a:pt x="0" y="11"/>
                    <a:pt x="12" y="14"/>
                    <a:pt x="12" y="12"/>
                  </a:cubicBezTo>
                  <a:cubicBezTo>
                    <a:pt x="12" y="10"/>
                    <a:pt x="12" y="6"/>
                    <a:pt x="10" y="6"/>
                  </a:cubicBezTo>
                  <a:cubicBezTo>
                    <a:pt x="9" y="5"/>
                    <a:pt x="6" y="3"/>
                    <a:pt x="6" y="2"/>
                  </a:cubicBezTo>
                  <a:cubicBezTo>
                    <a:pt x="7" y="1"/>
                    <a:pt x="12" y="0"/>
                    <a:pt x="13" y="0"/>
                  </a:cubicBezTo>
                  <a:cubicBezTo>
                    <a:pt x="14" y="0"/>
                    <a:pt x="18" y="3"/>
                    <a:pt x="20" y="3"/>
                  </a:cubicBezTo>
                  <a:cubicBezTo>
                    <a:pt x="20" y="3"/>
                    <a:pt x="20" y="3"/>
                    <a:pt x="21"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2" name="Freeform 125"/>
            <p:cNvSpPr>
              <a:spLocks/>
            </p:cNvSpPr>
            <p:nvPr>
              <p:custDataLst>
                <p:tags r:id="rId71"/>
              </p:custDataLst>
            </p:nvPr>
          </p:nvSpPr>
          <p:spPr bwMode="auto">
            <a:xfrm>
              <a:off x="3776" y="2613"/>
              <a:ext cx="31" cy="51"/>
            </a:xfrm>
            <a:custGeom>
              <a:avLst/>
              <a:gdLst>
                <a:gd name="T0" fmla="*/ 46479 w 18"/>
                <a:gd name="T1" fmla="*/ 60722 h 28"/>
                <a:gd name="T2" fmla="*/ 19138 w 18"/>
                <a:gd name="T3" fmla="*/ 80963 h 28"/>
                <a:gd name="T4" fmla="*/ 5468 w 18"/>
                <a:gd name="T5" fmla="*/ 75180 h 28"/>
                <a:gd name="T6" fmla="*/ 2734 w 18"/>
                <a:gd name="T7" fmla="*/ 52048 h 28"/>
                <a:gd name="T8" fmla="*/ 8202 w 18"/>
                <a:gd name="T9" fmla="*/ 2892 h 28"/>
                <a:gd name="T10" fmla="*/ 27341 w 18"/>
                <a:gd name="T11" fmla="*/ 20241 h 28"/>
                <a:gd name="T12" fmla="*/ 46479 w 18"/>
                <a:gd name="T13" fmla="*/ 60722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28">
                  <a:moveTo>
                    <a:pt x="17" y="21"/>
                  </a:moveTo>
                  <a:cubicBezTo>
                    <a:pt x="16" y="24"/>
                    <a:pt x="12" y="28"/>
                    <a:pt x="7" y="28"/>
                  </a:cubicBezTo>
                  <a:cubicBezTo>
                    <a:pt x="3" y="28"/>
                    <a:pt x="2" y="28"/>
                    <a:pt x="2" y="26"/>
                  </a:cubicBezTo>
                  <a:cubicBezTo>
                    <a:pt x="1" y="24"/>
                    <a:pt x="1" y="18"/>
                    <a:pt x="1" y="18"/>
                  </a:cubicBezTo>
                  <a:cubicBezTo>
                    <a:pt x="0" y="13"/>
                    <a:pt x="2" y="2"/>
                    <a:pt x="3" y="1"/>
                  </a:cubicBezTo>
                  <a:cubicBezTo>
                    <a:pt x="4" y="0"/>
                    <a:pt x="10" y="4"/>
                    <a:pt x="10" y="7"/>
                  </a:cubicBezTo>
                  <a:cubicBezTo>
                    <a:pt x="11" y="11"/>
                    <a:pt x="18" y="18"/>
                    <a:pt x="17"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3" name="Freeform 126"/>
            <p:cNvSpPr>
              <a:spLocks/>
            </p:cNvSpPr>
            <p:nvPr>
              <p:custDataLst>
                <p:tags r:id="rId72"/>
              </p:custDataLst>
            </p:nvPr>
          </p:nvSpPr>
          <p:spPr bwMode="auto">
            <a:xfrm>
              <a:off x="3883" y="2369"/>
              <a:ext cx="63" cy="76"/>
            </a:xfrm>
            <a:custGeom>
              <a:avLst/>
              <a:gdLst>
                <a:gd name="T0" fmla="*/ 18921 w 37"/>
                <a:gd name="T1" fmla="*/ 28726 h 42"/>
                <a:gd name="T2" fmla="*/ 8109 w 37"/>
                <a:gd name="T3" fmla="*/ 14363 h 42"/>
                <a:gd name="T4" fmla="*/ 16218 w 37"/>
                <a:gd name="T5" fmla="*/ 2873 h 42"/>
                <a:gd name="T6" fmla="*/ 37843 w 37"/>
                <a:gd name="T7" fmla="*/ 11490 h 42"/>
                <a:gd name="T8" fmla="*/ 40546 w 37"/>
                <a:gd name="T9" fmla="*/ 28726 h 42"/>
                <a:gd name="T10" fmla="*/ 91904 w 37"/>
                <a:gd name="T11" fmla="*/ 31599 h 42"/>
                <a:gd name="T12" fmla="*/ 81092 w 37"/>
                <a:gd name="T13" fmla="*/ 48835 h 42"/>
                <a:gd name="T14" fmla="*/ 70279 w 37"/>
                <a:gd name="T15" fmla="*/ 60325 h 42"/>
                <a:gd name="T16" fmla="*/ 83795 w 37"/>
                <a:gd name="T17" fmla="*/ 71815 h 42"/>
                <a:gd name="T18" fmla="*/ 91904 w 37"/>
                <a:gd name="T19" fmla="*/ 68943 h 42"/>
                <a:gd name="T20" fmla="*/ 97310 w 37"/>
                <a:gd name="T21" fmla="*/ 103414 h 42"/>
                <a:gd name="T22" fmla="*/ 100013 w 37"/>
                <a:gd name="T23" fmla="*/ 117777 h 42"/>
                <a:gd name="T24" fmla="*/ 86498 w 37"/>
                <a:gd name="T25" fmla="*/ 120650 h 42"/>
                <a:gd name="T26" fmla="*/ 83795 w 37"/>
                <a:gd name="T27" fmla="*/ 117777 h 42"/>
                <a:gd name="T28" fmla="*/ 75686 w 37"/>
                <a:gd name="T29" fmla="*/ 89051 h 42"/>
                <a:gd name="T30" fmla="*/ 56764 w 37"/>
                <a:gd name="T31" fmla="*/ 74688 h 42"/>
                <a:gd name="T32" fmla="*/ 51358 w 37"/>
                <a:gd name="T33" fmla="*/ 97669 h 42"/>
                <a:gd name="T34" fmla="*/ 29734 w 37"/>
                <a:gd name="T35" fmla="*/ 109160 h 42"/>
                <a:gd name="T36" fmla="*/ 21624 w 37"/>
                <a:gd name="T37" fmla="*/ 109160 h 42"/>
                <a:gd name="T38" fmla="*/ 21624 w 37"/>
                <a:gd name="T39" fmla="*/ 109160 h 42"/>
                <a:gd name="T40" fmla="*/ 21624 w 37"/>
                <a:gd name="T41" fmla="*/ 91924 h 42"/>
                <a:gd name="T42" fmla="*/ 16218 w 37"/>
                <a:gd name="T43" fmla="*/ 71815 h 42"/>
                <a:gd name="T44" fmla="*/ 13515 w 37"/>
                <a:gd name="T45" fmla="*/ 54580 h 42"/>
                <a:gd name="T46" fmla="*/ 0 w 37"/>
                <a:gd name="T47" fmla="*/ 43089 h 42"/>
                <a:gd name="T48" fmla="*/ 18921 w 37"/>
                <a:gd name="T49" fmla="*/ 28726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2">
                  <a:moveTo>
                    <a:pt x="7" y="10"/>
                  </a:moveTo>
                  <a:cubicBezTo>
                    <a:pt x="7" y="9"/>
                    <a:pt x="2" y="6"/>
                    <a:pt x="3" y="5"/>
                  </a:cubicBezTo>
                  <a:cubicBezTo>
                    <a:pt x="3" y="5"/>
                    <a:pt x="5" y="1"/>
                    <a:pt x="6" y="1"/>
                  </a:cubicBezTo>
                  <a:cubicBezTo>
                    <a:pt x="7" y="0"/>
                    <a:pt x="14" y="3"/>
                    <a:pt x="14" y="4"/>
                  </a:cubicBezTo>
                  <a:cubicBezTo>
                    <a:pt x="15" y="4"/>
                    <a:pt x="14" y="10"/>
                    <a:pt x="15" y="10"/>
                  </a:cubicBezTo>
                  <a:cubicBezTo>
                    <a:pt x="17" y="10"/>
                    <a:pt x="33" y="10"/>
                    <a:pt x="34" y="11"/>
                  </a:cubicBezTo>
                  <a:cubicBezTo>
                    <a:pt x="35" y="12"/>
                    <a:pt x="31" y="17"/>
                    <a:pt x="30" y="17"/>
                  </a:cubicBezTo>
                  <a:cubicBezTo>
                    <a:pt x="29" y="18"/>
                    <a:pt x="25" y="20"/>
                    <a:pt x="26" y="21"/>
                  </a:cubicBezTo>
                  <a:cubicBezTo>
                    <a:pt x="27" y="23"/>
                    <a:pt x="29" y="25"/>
                    <a:pt x="31" y="25"/>
                  </a:cubicBezTo>
                  <a:cubicBezTo>
                    <a:pt x="32" y="25"/>
                    <a:pt x="33" y="24"/>
                    <a:pt x="34" y="24"/>
                  </a:cubicBezTo>
                  <a:cubicBezTo>
                    <a:pt x="34" y="24"/>
                    <a:pt x="35" y="31"/>
                    <a:pt x="36" y="36"/>
                  </a:cubicBezTo>
                  <a:cubicBezTo>
                    <a:pt x="36" y="38"/>
                    <a:pt x="37" y="41"/>
                    <a:pt x="37" y="41"/>
                  </a:cubicBezTo>
                  <a:cubicBezTo>
                    <a:pt x="32" y="42"/>
                    <a:pt x="32" y="42"/>
                    <a:pt x="32" y="42"/>
                  </a:cubicBezTo>
                  <a:cubicBezTo>
                    <a:pt x="31" y="42"/>
                    <a:pt x="31" y="41"/>
                    <a:pt x="31" y="41"/>
                  </a:cubicBezTo>
                  <a:cubicBezTo>
                    <a:pt x="31" y="39"/>
                    <a:pt x="30" y="32"/>
                    <a:pt x="28" y="31"/>
                  </a:cubicBezTo>
                  <a:cubicBezTo>
                    <a:pt x="26" y="30"/>
                    <a:pt x="21" y="27"/>
                    <a:pt x="21" y="26"/>
                  </a:cubicBezTo>
                  <a:cubicBezTo>
                    <a:pt x="20" y="24"/>
                    <a:pt x="20" y="32"/>
                    <a:pt x="19" y="34"/>
                  </a:cubicBezTo>
                  <a:cubicBezTo>
                    <a:pt x="18" y="36"/>
                    <a:pt x="13" y="38"/>
                    <a:pt x="11" y="38"/>
                  </a:cubicBezTo>
                  <a:cubicBezTo>
                    <a:pt x="10" y="38"/>
                    <a:pt x="9" y="38"/>
                    <a:pt x="8" y="38"/>
                  </a:cubicBezTo>
                  <a:cubicBezTo>
                    <a:pt x="8" y="38"/>
                    <a:pt x="8" y="38"/>
                    <a:pt x="8" y="38"/>
                  </a:cubicBezTo>
                  <a:cubicBezTo>
                    <a:pt x="8" y="32"/>
                    <a:pt x="8" y="32"/>
                    <a:pt x="8" y="32"/>
                  </a:cubicBezTo>
                  <a:cubicBezTo>
                    <a:pt x="8" y="30"/>
                    <a:pt x="7" y="26"/>
                    <a:pt x="6" y="25"/>
                  </a:cubicBezTo>
                  <a:cubicBezTo>
                    <a:pt x="5" y="23"/>
                    <a:pt x="5" y="21"/>
                    <a:pt x="5" y="19"/>
                  </a:cubicBezTo>
                  <a:cubicBezTo>
                    <a:pt x="5" y="17"/>
                    <a:pt x="0" y="16"/>
                    <a:pt x="0" y="15"/>
                  </a:cubicBezTo>
                  <a:cubicBezTo>
                    <a:pt x="0" y="13"/>
                    <a:pt x="7" y="11"/>
                    <a:pt x="7"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4" name="Freeform 127"/>
            <p:cNvSpPr>
              <a:spLocks/>
            </p:cNvSpPr>
            <p:nvPr>
              <p:custDataLst>
                <p:tags r:id="rId73"/>
              </p:custDataLst>
            </p:nvPr>
          </p:nvSpPr>
          <p:spPr bwMode="auto">
            <a:xfrm>
              <a:off x="3897" y="2340"/>
              <a:ext cx="41" cy="23"/>
            </a:xfrm>
            <a:custGeom>
              <a:avLst/>
              <a:gdLst>
                <a:gd name="T0" fmla="*/ 10848 w 24"/>
                <a:gd name="T1" fmla="*/ 33704 h 13"/>
                <a:gd name="T2" fmla="*/ 2712 w 24"/>
                <a:gd name="T3" fmla="*/ 28087 h 13"/>
                <a:gd name="T4" fmla="*/ 0 w 24"/>
                <a:gd name="T5" fmla="*/ 19661 h 13"/>
                <a:gd name="T6" fmla="*/ 8136 w 24"/>
                <a:gd name="T7" fmla="*/ 8426 h 13"/>
                <a:gd name="T8" fmla="*/ 27120 w 24"/>
                <a:gd name="T9" fmla="*/ 0 h 13"/>
                <a:gd name="T10" fmla="*/ 51528 w 24"/>
                <a:gd name="T11" fmla="*/ 2809 h 13"/>
                <a:gd name="T12" fmla="*/ 59664 w 24"/>
                <a:gd name="T13" fmla="*/ 14043 h 13"/>
                <a:gd name="T14" fmla="*/ 65088 w 24"/>
                <a:gd name="T15" fmla="*/ 11235 h 13"/>
                <a:gd name="T16" fmla="*/ 62376 w 24"/>
                <a:gd name="T17" fmla="*/ 28087 h 13"/>
                <a:gd name="T18" fmla="*/ 62376 w 24"/>
                <a:gd name="T19" fmla="*/ 36513 h 13"/>
                <a:gd name="T20" fmla="*/ 46104 w 24"/>
                <a:gd name="T21" fmla="*/ 36513 h 13"/>
                <a:gd name="T22" fmla="*/ 10848 w 24"/>
                <a:gd name="T23" fmla="*/ 33704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13">
                  <a:moveTo>
                    <a:pt x="4" y="12"/>
                  </a:moveTo>
                  <a:cubicBezTo>
                    <a:pt x="2" y="12"/>
                    <a:pt x="1" y="10"/>
                    <a:pt x="1" y="10"/>
                  </a:cubicBezTo>
                  <a:cubicBezTo>
                    <a:pt x="0" y="7"/>
                    <a:pt x="0" y="7"/>
                    <a:pt x="0" y="7"/>
                  </a:cubicBezTo>
                  <a:cubicBezTo>
                    <a:pt x="2" y="8"/>
                    <a:pt x="2" y="4"/>
                    <a:pt x="3" y="3"/>
                  </a:cubicBezTo>
                  <a:cubicBezTo>
                    <a:pt x="4" y="1"/>
                    <a:pt x="8" y="0"/>
                    <a:pt x="10" y="0"/>
                  </a:cubicBezTo>
                  <a:cubicBezTo>
                    <a:pt x="12" y="0"/>
                    <a:pt x="17" y="1"/>
                    <a:pt x="19" y="1"/>
                  </a:cubicBezTo>
                  <a:cubicBezTo>
                    <a:pt x="20" y="1"/>
                    <a:pt x="20" y="4"/>
                    <a:pt x="22" y="5"/>
                  </a:cubicBezTo>
                  <a:cubicBezTo>
                    <a:pt x="22" y="5"/>
                    <a:pt x="23" y="4"/>
                    <a:pt x="24" y="4"/>
                  </a:cubicBezTo>
                  <a:cubicBezTo>
                    <a:pt x="23" y="10"/>
                    <a:pt x="23" y="10"/>
                    <a:pt x="23" y="10"/>
                  </a:cubicBezTo>
                  <a:cubicBezTo>
                    <a:pt x="23" y="10"/>
                    <a:pt x="24" y="13"/>
                    <a:pt x="23" y="13"/>
                  </a:cubicBezTo>
                  <a:cubicBezTo>
                    <a:pt x="22" y="13"/>
                    <a:pt x="19" y="13"/>
                    <a:pt x="17" y="13"/>
                  </a:cubicBezTo>
                  <a:cubicBezTo>
                    <a:pt x="15" y="13"/>
                    <a:pt x="6" y="12"/>
                    <a:pt x="4"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5" name="Freeform 128"/>
            <p:cNvSpPr>
              <a:spLocks/>
            </p:cNvSpPr>
            <p:nvPr>
              <p:custDataLst>
                <p:tags r:id="rId74"/>
              </p:custDataLst>
            </p:nvPr>
          </p:nvSpPr>
          <p:spPr bwMode="auto">
            <a:xfrm>
              <a:off x="3780" y="2307"/>
              <a:ext cx="105" cy="60"/>
            </a:xfrm>
            <a:custGeom>
              <a:avLst/>
              <a:gdLst>
                <a:gd name="T0" fmla="*/ 40989 w 61"/>
                <a:gd name="T1" fmla="*/ 63500 h 33"/>
                <a:gd name="T2" fmla="*/ 5465 w 61"/>
                <a:gd name="T3" fmla="*/ 46182 h 33"/>
                <a:gd name="T4" fmla="*/ 0 w 61"/>
                <a:gd name="T5" fmla="*/ 37523 h 33"/>
                <a:gd name="T6" fmla="*/ 5465 w 61"/>
                <a:gd name="T7" fmla="*/ 20205 h 33"/>
                <a:gd name="T8" fmla="*/ 16396 w 61"/>
                <a:gd name="T9" fmla="*/ 5773 h 33"/>
                <a:gd name="T10" fmla="*/ 19128 w 61"/>
                <a:gd name="T11" fmla="*/ 8659 h 33"/>
                <a:gd name="T12" fmla="*/ 27326 w 61"/>
                <a:gd name="T13" fmla="*/ 0 h 33"/>
                <a:gd name="T14" fmla="*/ 40989 w 61"/>
                <a:gd name="T15" fmla="*/ 0 h 33"/>
                <a:gd name="T16" fmla="*/ 54652 w 61"/>
                <a:gd name="T17" fmla="*/ 14432 h 33"/>
                <a:gd name="T18" fmla="*/ 68315 w 61"/>
                <a:gd name="T19" fmla="*/ 25977 h 33"/>
                <a:gd name="T20" fmla="*/ 84710 w 61"/>
                <a:gd name="T21" fmla="*/ 28864 h 33"/>
                <a:gd name="T22" fmla="*/ 98373 w 61"/>
                <a:gd name="T23" fmla="*/ 46182 h 33"/>
                <a:gd name="T24" fmla="*/ 128432 w 61"/>
                <a:gd name="T25" fmla="*/ 57727 h 33"/>
                <a:gd name="T26" fmla="*/ 163955 w 61"/>
                <a:gd name="T27" fmla="*/ 63500 h 33"/>
                <a:gd name="T28" fmla="*/ 161223 w 61"/>
                <a:gd name="T29" fmla="*/ 95250 h 33"/>
                <a:gd name="T30" fmla="*/ 131164 w 61"/>
                <a:gd name="T31" fmla="*/ 92364 h 33"/>
                <a:gd name="T32" fmla="*/ 101106 w 61"/>
                <a:gd name="T33" fmla="*/ 86591 h 33"/>
                <a:gd name="T34" fmla="*/ 92908 w 61"/>
                <a:gd name="T35" fmla="*/ 72159 h 33"/>
                <a:gd name="T36" fmla="*/ 68315 w 61"/>
                <a:gd name="T37" fmla="*/ 72159 h 33"/>
                <a:gd name="T38" fmla="*/ 40989 w 61"/>
                <a:gd name="T39" fmla="*/ 6350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1" h="33">
                  <a:moveTo>
                    <a:pt x="15" y="22"/>
                  </a:moveTo>
                  <a:cubicBezTo>
                    <a:pt x="13" y="21"/>
                    <a:pt x="3" y="17"/>
                    <a:pt x="2" y="16"/>
                  </a:cubicBezTo>
                  <a:cubicBezTo>
                    <a:pt x="1" y="16"/>
                    <a:pt x="0" y="14"/>
                    <a:pt x="0" y="13"/>
                  </a:cubicBezTo>
                  <a:cubicBezTo>
                    <a:pt x="0" y="12"/>
                    <a:pt x="2" y="7"/>
                    <a:pt x="2" y="7"/>
                  </a:cubicBezTo>
                  <a:cubicBezTo>
                    <a:pt x="6" y="2"/>
                    <a:pt x="6" y="2"/>
                    <a:pt x="6" y="2"/>
                  </a:cubicBezTo>
                  <a:cubicBezTo>
                    <a:pt x="7" y="2"/>
                    <a:pt x="7" y="3"/>
                    <a:pt x="7" y="3"/>
                  </a:cubicBezTo>
                  <a:cubicBezTo>
                    <a:pt x="10" y="0"/>
                    <a:pt x="10" y="0"/>
                    <a:pt x="10" y="0"/>
                  </a:cubicBezTo>
                  <a:cubicBezTo>
                    <a:pt x="15" y="0"/>
                    <a:pt x="15" y="0"/>
                    <a:pt x="15" y="0"/>
                  </a:cubicBezTo>
                  <a:cubicBezTo>
                    <a:pt x="15" y="0"/>
                    <a:pt x="18" y="4"/>
                    <a:pt x="20" y="5"/>
                  </a:cubicBezTo>
                  <a:cubicBezTo>
                    <a:pt x="22" y="6"/>
                    <a:pt x="25" y="9"/>
                    <a:pt x="25" y="9"/>
                  </a:cubicBezTo>
                  <a:cubicBezTo>
                    <a:pt x="31" y="10"/>
                    <a:pt x="31" y="10"/>
                    <a:pt x="31" y="10"/>
                  </a:cubicBezTo>
                  <a:cubicBezTo>
                    <a:pt x="31" y="10"/>
                    <a:pt x="33" y="14"/>
                    <a:pt x="36" y="16"/>
                  </a:cubicBezTo>
                  <a:cubicBezTo>
                    <a:pt x="39" y="18"/>
                    <a:pt x="44" y="19"/>
                    <a:pt x="47" y="20"/>
                  </a:cubicBezTo>
                  <a:cubicBezTo>
                    <a:pt x="51" y="21"/>
                    <a:pt x="55" y="22"/>
                    <a:pt x="60" y="22"/>
                  </a:cubicBezTo>
                  <a:cubicBezTo>
                    <a:pt x="60" y="22"/>
                    <a:pt x="61" y="33"/>
                    <a:pt x="59" y="33"/>
                  </a:cubicBezTo>
                  <a:cubicBezTo>
                    <a:pt x="56" y="33"/>
                    <a:pt x="49" y="33"/>
                    <a:pt x="48" y="32"/>
                  </a:cubicBezTo>
                  <a:cubicBezTo>
                    <a:pt x="46" y="32"/>
                    <a:pt x="38" y="31"/>
                    <a:pt x="37" y="30"/>
                  </a:cubicBezTo>
                  <a:cubicBezTo>
                    <a:pt x="36" y="28"/>
                    <a:pt x="36" y="25"/>
                    <a:pt x="34" y="25"/>
                  </a:cubicBezTo>
                  <a:cubicBezTo>
                    <a:pt x="33" y="24"/>
                    <a:pt x="28" y="25"/>
                    <a:pt x="25" y="25"/>
                  </a:cubicBezTo>
                  <a:cubicBezTo>
                    <a:pt x="22" y="25"/>
                    <a:pt x="17" y="23"/>
                    <a:pt x="15" y="2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6" name="Freeform 130"/>
            <p:cNvSpPr>
              <a:spLocks/>
            </p:cNvSpPr>
            <p:nvPr>
              <p:custDataLst>
                <p:tags r:id="rId75"/>
              </p:custDataLst>
            </p:nvPr>
          </p:nvSpPr>
          <p:spPr bwMode="auto">
            <a:xfrm>
              <a:off x="3627" y="2227"/>
              <a:ext cx="380" cy="410"/>
            </a:xfrm>
            <a:custGeom>
              <a:avLst/>
              <a:gdLst>
                <a:gd name="T0" fmla="*/ 13648 w 221"/>
                <a:gd name="T1" fmla="*/ 323978 h 223"/>
                <a:gd name="T2" fmla="*/ 13648 w 221"/>
                <a:gd name="T3" fmla="*/ 300628 h 223"/>
                <a:gd name="T4" fmla="*/ 10919 w 221"/>
                <a:gd name="T5" fmla="*/ 277279 h 223"/>
                <a:gd name="T6" fmla="*/ 46404 w 221"/>
                <a:gd name="T7" fmla="*/ 242254 h 223"/>
                <a:gd name="T8" fmla="*/ 43674 w 221"/>
                <a:gd name="T9" fmla="*/ 186798 h 223"/>
                <a:gd name="T10" fmla="*/ 73700 w 221"/>
                <a:gd name="T11" fmla="*/ 189717 h 223"/>
                <a:gd name="T12" fmla="*/ 125563 w 221"/>
                <a:gd name="T13" fmla="*/ 113830 h 223"/>
                <a:gd name="T14" fmla="*/ 147400 w 221"/>
                <a:gd name="T15" fmla="*/ 81724 h 223"/>
                <a:gd name="T16" fmla="*/ 117374 w 221"/>
                <a:gd name="T17" fmla="*/ 26268 h 223"/>
                <a:gd name="T18" fmla="*/ 188345 w 221"/>
                <a:gd name="T19" fmla="*/ 14594 h 223"/>
                <a:gd name="T20" fmla="*/ 191075 w 221"/>
                <a:gd name="T21" fmla="*/ 0 h 223"/>
                <a:gd name="T22" fmla="*/ 207452 w 221"/>
                <a:gd name="T23" fmla="*/ 26268 h 223"/>
                <a:gd name="T24" fmla="*/ 210182 w 221"/>
                <a:gd name="T25" fmla="*/ 26268 h 223"/>
                <a:gd name="T26" fmla="*/ 232019 w 221"/>
                <a:gd name="T27" fmla="*/ 70049 h 223"/>
                <a:gd name="T28" fmla="*/ 218371 w 221"/>
                <a:gd name="T29" fmla="*/ 102155 h 223"/>
                <a:gd name="T30" fmla="*/ 248397 w 221"/>
                <a:gd name="T31" fmla="*/ 145936 h 223"/>
                <a:gd name="T32" fmla="*/ 248397 w 221"/>
                <a:gd name="T33" fmla="*/ 172205 h 223"/>
                <a:gd name="T34" fmla="*/ 311179 w 221"/>
                <a:gd name="T35" fmla="*/ 198473 h 223"/>
                <a:gd name="T36" fmla="*/ 343934 w 221"/>
                <a:gd name="T37" fmla="*/ 213067 h 223"/>
                <a:gd name="T38" fmla="*/ 403986 w 221"/>
                <a:gd name="T39" fmla="*/ 221823 h 223"/>
                <a:gd name="T40" fmla="*/ 423094 w 221"/>
                <a:gd name="T41" fmla="*/ 180961 h 223"/>
                <a:gd name="T42" fmla="*/ 431283 w 221"/>
                <a:gd name="T43" fmla="*/ 207229 h 223"/>
                <a:gd name="T44" fmla="*/ 474957 w 221"/>
                <a:gd name="T45" fmla="*/ 215985 h 223"/>
                <a:gd name="T46" fmla="*/ 491335 w 221"/>
                <a:gd name="T47" fmla="*/ 207229 h 223"/>
                <a:gd name="T48" fmla="*/ 518631 w 221"/>
                <a:gd name="T49" fmla="*/ 178042 h 223"/>
                <a:gd name="T50" fmla="*/ 556846 w 221"/>
                <a:gd name="T51" fmla="*/ 157611 h 223"/>
                <a:gd name="T52" fmla="*/ 581413 w 221"/>
                <a:gd name="T53" fmla="*/ 178042 h 223"/>
                <a:gd name="T54" fmla="*/ 603250 w 221"/>
                <a:gd name="T55" fmla="*/ 192636 h 223"/>
                <a:gd name="T56" fmla="*/ 581413 w 221"/>
                <a:gd name="T57" fmla="*/ 204311 h 223"/>
                <a:gd name="T58" fmla="*/ 556846 w 221"/>
                <a:gd name="T59" fmla="*/ 239335 h 223"/>
                <a:gd name="T60" fmla="*/ 524090 w 221"/>
                <a:gd name="T61" fmla="*/ 283116 h 223"/>
                <a:gd name="T62" fmla="*/ 504983 w 221"/>
                <a:gd name="T63" fmla="*/ 329816 h 223"/>
                <a:gd name="T64" fmla="*/ 491335 w 221"/>
                <a:gd name="T65" fmla="*/ 297710 h 223"/>
                <a:gd name="T66" fmla="*/ 488605 w 221"/>
                <a:gd name="T67" fmla="*/ 274360 h 223"/>
                <a:gd name="T68" fmla="*/ 447661 w 221"/>
                <a:gd name="T69" fmla="*/ 253929 h 223"/>
                <a:gd name="T70" fmla="*/ 423094 w 221"/>
                <a:gd name="T71" fmla="*/ 227660 h 223"/>
                <a:gd name="T72" fmla="*/ 425824 w 221"/>
                <a:gd name="T73" fmla="*/ 253929 h 223"/>
                <a:gd name="T74" fmla="*/ 420364 w 221"/>
                <a:gd name="T75" fmla="*/ 280197 h 223"/>
                <a:gd name="T76" fmla="*/ 428553 w 221"/>
                <a:gd name="T77" fmla="*/ 318141 h 223"/>
                <a:gd name="T78" fmla="*/ 428553 w 221"/>
                <a:gd name="T79" fmla="*/ 335653 h 223"/>
                <a:gd name="T80" fmla="*/ 382149 w 221"/>
                <a:gd name="T81" fmla="*/ 347328 h 223"/>
                <a:gd name="T82" fmla="*/ 354853 w 221"/>
                <a:gd name="T83" fmla="*/ 388190 h 223"/>
                <a:gd name="T84" fmla="*/ 294801 w 221"/>
                <a:gd name="T85" fmla="*/ 443646 h 223"/>
                <a:gd name="T86" fmla="*/ 245667 w 221"/>
                <a:gd name="T87" fmla="*/ 478670 h 223"/>
                <a:gd name="T88" fmla="*/ 237479 w 221"/>
                <a:gd name="T89" fmla="*/ 566232 h 223"/>
                <a:gd name="T90" fmla="*/ 226560 w 221"/>
                <a:gd name="T91" fmla="*/ 604175 h 223"/>
                <a:gd name="T92" fmla="*/ 204723 w 221"/>
                <a:gd name="T93" fmla="*/ 630444 h 223"/>
                <a:gd name="T94" fmla="*/ 177426 w 221"/>
                <a:gd name="T95" fmla="*/ 636281 h 223"/>
                <a:gd name="T96" fmla="*/ 133752 w 221"/>
                <a:gd name="T97" fmla="*/ 531207 h 223"/>
                <a:gd name="T98" fmla="*/ 98267 w 221"/>
                <a:gd name="T99" fmla="*/ 429052 h 223"/>
                <a:gd name="T100" fmla="*/ 84619 w 221"/>
                <a:gd name="T101" fmla="*/ 323978 h 223"/>
                <a:gd name="T102" fmla="*/ 49133 w 221"/>
                <a:gd name="T103" fmla="*/ 359003 h 2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21" h="223">
                  <a:moveTo>
                    <a:pt x="18" y="123"/>
                  </a:moveTo>
                  <a:cubicBezTo>
                    <a:pt x="16" y="121"/>
                    <a:pt x="5" y="113"/>
                    <a:pt x="5" y="111"/>
                  </a:cubicBezTo>
                  <a:cubicBezTo>
                    <a:pt x="5" y="109"/>
                    <a:pt x="15" y="108"/>
                    <a:pt x="15" y="107"/>
                  </a:cubicBezTo>
                  <a:cubicBezTo>
                    <a:pt x="15" y="105"/>
                    <a:pt x="7" y="104"/>
                    <a:pt x="5" y="103"/>
                  </a:cubicBezTo>
                  <a:cubicBezTo>
                    <a:pt x="3" y="102"/>
                    <a:pt x="3" y="102"/>
                    <a:pt x="0" y="100"/>
                  </a:cubicBezTo>
                  <a:cubicBezTo>
                    <a:pt x="4" y="95"/>
                    <a:pt x="4" y="95"/>
                    <a:pt x="4" y="95"/>
                  </a:cubicBezTo>
                  <a:cubicBezTo>
                    <a:pt x="5" y="94"/>
                    <a:pt x="17" y="95"/>
                    <a:pt x="19" y="94"/>
                  </a:cubicBezTo>
                  <a:cubicBezTo>
                    <a:pt x="21" y="93"/>
                    <a:pt x="19" y="86"/>
                    <a:pt x="17" y="83"/>
                  </a:cubicBezTo>
                  <a:cubicBezTo>
                    <a:pt x="15" y="81"/>
                    <a:pt x="7" y="75"/>
                    <a:pt x="8" y="73"/>
                  </a:cubicBezTo>
                  <a:cubicBezTo>
                    <a:pt x="9" y="71"/>
                    <a:pt x="15" y="64"/>
                    <a:pt x="16" y="64"/>
                  </a:cubicBezTo>
                  <a:cubicBezTo>
                    <a:pt x="18" y="64"/>
                    <a:pt x="19" y="67"/>
                    <a:pt x="21" y="67"/>
                  </a:cubicBezTo>
                  <a:cubicBezTo>
                    <a:pt x="22" y="67"/>
                    <a:pt x="26" y="65"/>
                    <a:pt x="27" y="65"/>
                  </a:cubicBezTo>
                  <a:cubicBezTo>
                    <a:pt x="28" y="64"/>
                    <a:pt x="36" y="52"/>
                    <a:pt x="37" y="50"/>
                  </a:cubicBezTo>
                  <a:cubicBezTo>
                    <a:pt x="38" y="49"/>
                    <a:pt x="46" y="41"/>
                    <a:pt x="46" y="39"/>
                  </a:cubicBezTo>
                  <a:cubicBezTo>
                    <a:pt x="47" y="37"/>
                    <a:pt x="47" y="35"/>
                    <a:pt x="47" y="34"/>
                  </a:cubicBezTo>
                  <a:cubicBezTo>
                    <a:pt x="47" y="33"/>
                    <a:pt x="54" y="33"/>
                    <a:pt x="54" y="28"/>
                  </a:cubicBezTo>
                  <a:cubicBezTo>
                    <a:pt x="54" y="24"/>
                    <a:pt x="46" y="24"/>
                    <a:pt x="46" y="23"/>
                  </a:cubicBezTo>
                  <a:cubicBezTo>
                    <a:pt x="45" y="22"/>
                    <a:pt x="41" y="10"/>
                    <a:pt x="43" y="9"/>
                  </a:cubicBezTo>
                  <a:cubicBezTo>
                    <a:pt x="44" y="8"/>
                    <a:pt x="53" y="10"/>
                    <a:pt x="55" y="10"/>
                  </a:cubicBezTo>
                  <a:cubicBezTo>
                    <a:pt x="57" y="10"/>
                    <a:pt x="68" y="5"/>
                    <a:pt x="69" y="5"/>
                  </a:cubicBezTo>
                  <a:cubicBezTo>
                    <a:pt x="70" y="0"/>
                    <a:pt x="70" y="0"/>
                    <a:pt x="70" y="0"/>
                  </a:cubicBezTo>
                  <a:cubicBezTo>
                    <a:pt x="70" y="0"/>
                    <a:pt x="70" y="0"/>
                    <a:pt x="70" y="0"/>
                  </a:cubicBezTo>
                  <a:cubicBezTo>
                    <a:pt x="72" y="0"/>
                    <a:pt x="74" y="0"/>
                    <a:pt x="74" y="1"/>
                  </a:cubicBezTo>
                  <a:cubicBezTo>
                    <a:pt x="74" y="2"/>
                    <a:pt x="75" y="7"/>
                    <a:pt x="76" y="9"/>
                  </a:cubicBezTo>
                  <a:cubicBezTo>
                    <a:pt x="77" y="9"/>
                    <a:pt x="76" y="8"/>
                    <a:pt x="76" y="8"/>
                  </a:cubicBezTo>
                  <a:cubicBezTo>
                    <a:pt x="76" y="8"/>
                    <a:pt x="76" y="8"/>
                    <a:pt x="77" y="9"/>
                  </a:cubicBezTo>
                  <a:cubicBezTo>
                    <a:pt x="79" y="12"/>
                    <a:pt x="80" y="15"/>
                    <a:pt x="80" y="15"/>
                  </a:cubicBezTo>
                  <a:cubicBezTo>
                    <a:pt x="80" y="15"/>
                    <a:pt x="85" y="23"/>
                    <a:pt x="85" y="24"/>
                  </a:cubicBezTo>
                  <a:cubicBezTo>
                    <a:pt x="84" y="25"/>
                    <a:pt x="77" y="26"/>
                    <a:pt x="77" y="26"/>
                  </a:cubicBezTo>
                  <a:cubicBezTo>
                    <a:pt x="77" y="26"/>
                    <a:pt x="80" y="34"/>
                    <a:pt x="80" y="35"/>
                  </a:cubicBezTo>
                  <a:cubicBezTo>
                    <a:pt x="80" y="36"/>
                    <a:pt x="92" y="43"/>
                    <a:pt x="95" y="45"/>
                  </a:cubicBezTo>
                  <a:cubicBezTo>
                    <a:pt x="91" y="50"/>
                    <a:pt x="91" y="50"/>
                    <a:pt x="91" y="50"/>
                  </a:cubicBezTo>
                  <a:cubicBezTo>
                    <a:pt x="91" y="50"/>
                    <a:pt x="89" y="55"/>
                    <a:pt x="89" y="56"/>
                  </a:cubicBezTo>
                  <a:cubicBezTo>
                    <a:pt x="89" y="57"/>
                    <a:pt x="90" y="59"/>
                    <a:pt x="91" y="59"/>
                  </a:cubicBezTo>
                  <a:cubicBezTo>
                    <a:pt x="92" y="60"/>
                    <a:pt x="102" y="64"/>
                    <a:pt x="104" y="65"/>
                  </a:cubicBezTo>
                  <a:cubicBezTo>
                    <a:pt x="106" y="66"/>
                    <a:pt x="111" y="68"/>
                    <a:pt x="114" y="68"/>
                  </a:cubicBezTo>
                  <a:cubicBezTo>
                    <a:pt x="117" y="68"/>
                    <a:pt x="122" y="67"/>
                    <a:pt x="123" y="68"/>
                  </a:cubicBezTo>
                  <a:cubicBezTo>
                    <a:pt x="125" y="68"/>
                    <a:pt x="125" y="71"/>
                    <a:pt x="126" y="73"/>
                  </a:cubicBezTo>
                  <a:cubicBezTo>
                    <a:pt x="127" y="74"/>
                    <a:pt x="135" y="75"/>
                    <a:pt x="137" y="75"/>
                  </a:cubicBezTo>
                  <a:cubicBezTo>
                    <a:pt x="138" y="76"/>
                    <a:pt x="145" y="76"/>
                    <a:pt x="148" y="76"/>
                  </a:cubicBezTo>
                  <a:cubicBezTo>
                    <a:pt x="150" y="76"/>
                    <a:pt x="149" y="65"/>
                    <a:pt x="149" y="65"/>
                  </a:cubicBezTo>
                  <a:cubicBezTo>
                    <a:pt x="153" y="65"/>
                    <a:pt x="152" y="62"/>
                    <a:pt x="155" y="62"/>
                  </a:cubicBezTo>
                  <a:cubicBezTo>
                    <a:pt x="157" y="63"/>
                    <a:pt x="155" y="67"/>
                    <a:pt x="157" y="68"/>
                  </a:cubicBezTo>
                  <a:cubicBezTo>
                    <a:pt x="158" y="71"/>
                    <a:pt x="158" y="71"/>
                    <a:pt x="158" y="71"/>
                  </a:cubicBezTo>
                  <a:cubicBezTo>
                    <a:pt x="158" y="71"/>
                    <a:pt x="159" y="73"/>
                    <a:pt x="161" y="73"/>
                  </a:cubicBezTo>
                  <a:cubicBezTo>
                    <a:pt x="163" y="73"/>
                    <a:pt x="172" y="74"/>
                    <a:pt x="174" y="74"/>
                  </a:cubicBezTo>
                  <a:cubicBezTo>
                    <a:pt x="176" y="74"/>
                    <a:pt x="179" y="74"/>
                    <a:pt x="180" y="74"/>
                  </a:cubicBezTo>
                  <a:cubicBezTo>
                    <a:pt x="181" y="74"/>
                    <a:pt x="180" y="71"/>
                    <a:pt x="180" y="71"/>
                  </a:cubicBezTo>
                  <a:cubicBezTo>
                    <a:pt x="181" y="65"/>
                    <a:pt x="181" y="65"/>
                    <a:pt x="181" y="65"/>
                  </a:cubicBezTo>
                  <a:cubicBezTo>
                    <a:pt x="183" y="64"/>
                    <a:pt x="188" y="61"/>
                    <a:pt x="190" y="61"/>
                  </a:cubicBezTo>
                  <a:cubicBezTo>
                    <a:pt x="193" y="60"/>
                    <a:pt x="197" y="55"/>
                    <a:pt x="199" y="54"/>
                  </a:cubicBezTo>
                  <a:cubicBezTo>
                    <a:pt x="201" y="53"/>
                    <a:pt x="202" y="53"/>
                    <a:pt x="204" y="54"/>
                  </a:cubicBezTo>
                  <a:cubicBezTo>
                    <a:pt x="206" y="55"/>
                    <a:pt x="211" y="52"/>
                    <a:pt x="212" y="53"/>
                  </a:cubicBezTo>
                  <a:cubicBezTo>
                    <a:pt x="214" y="54"/>
                    <a:pt x="212" y="60"/>
                    <a:pt x="213" y="61"/>
                  </a:cubicBezTo>
                  <a:cubicBezTo>
                    <a:pt x="214" y="62"/>
                    <a:pt x="218" y="62"/>
                    <a:pt x="220" y="62"/>
                  </a:cubicBezTo>
                  <a:cubicBezTo>
                    <a:pt x="221" y="66"/>
                    <a:pt x="221" y="66"/>
                    <a:pt x="221" y="66"/>
                  </a:cubicBezTo>
                  <a:cubicBezTo>
                    <a:pt x="221" y="66"/>
                    <a:pt x="219" y="70"/>
                    <a:pt x="218" y="71"/>
                  </a:cubicBezTo>
                  <a:cubicBezTo>
                    <a:pt x="217" y="72"/>
                    <a:pt x="214" y="70"/>
                    <a:pt x="213" y="70"/>
                  </a:cubicBezTo>
                  <a:cubicBezTo>
                    <a:pt x="212" y="70"/>
                    <a:pt x="206" y="75"/>
                    <a:pt x="205" y="76"/>
                  </a:cubicBezTo>
                  <a:cubicBezTo>
                    <a:pt x="203" y="76"/>
                    <a:pt x="204" y="80"/>
                    <a:pt x="204" y="82"/>
                  </a:cubicBezTo>
                  <a:cubicBezTo>
                    <a:pt x="204" y="83"/>
                    <a:pt x="198" y="97"/>
                    <a:pt x="197" y="97"/>
                  </a:cubicBezTo>
                  <a:cubicBezTo>
                    <a:pt x="196" y="97"/>
                    <a:pt x="192" y="96"/>
                    <a:pt x="192" y="97"/>
                  </a:cubicBezTo>
                  <a:cubicBezTo>
                    <a:pt x="191" y="98"/>
                    <a:pt x="189" y="112"/>
                    <a:pt x="189" y="112"/>
                  </a:cubicBezTo>
                  <a:cubicBezTo>
                    <a:pt x="185" y="113"/>
                    <a:pt x="185" y="113"/>
                    <a:pt x="185" y="113"/>
                  </a:cubicBezTo>
                  <a:cubicBezTo>
                    <a:pt x="184" y="108"/>
                    <a:pt x="183" y="101"/>
                    <a:pt x="183" y="101"/>
                  </a:cubicBezTo>
                  <a:cubicBezTo>
                    <a:pt x="182" y="101"/>
                    <a:pt x="181" y="102"/>
                    <a:pt x="180" y="102"/>
                  </a:cubicBezTo>
                  <a:cubicBezTo>
                    <a:pt x="178" y="102"/>
                    <a:pt x="176" y="100"/>
                    <a:pt x="175" y="98"/>
                  </a:cubicBezTo>
                  <a:cubicBezTo>
                    <a:pt x="174" y="97"/>
                    <a:pt x="178" y="95"/>
                    <a:pt x="179" y="94"/>
                  </a:cubicBezTo>
                  <a:cubicBezTo>
                    <a:pt x="180" y="94"/>
                    <a:pt x="184" y="89"/>
                    <a:pt x="183" y="88"/>
                  </a:cubicBezTo>
                  <a:cubicBezTo>
                    <a:pt x="182" y="87"/>
                    <a:pt x="166" y="87"/>
                    <a:pt x="164" y="87"/>
                  </a:cubicBezTo>
                  <a:cubicBezTo>
                    <a:pt x="163" y="87"/>
                    <a:pt x="164" y="81"/>
                    <a:pt x="163" y="81"/>
                  </a:cubicBezTo>
                  <a:cubicBezTo>
                    <a:pt x="163" y="80"/>
                    <a:pt x="156" y="77"/>
                    <a:pt x="155" y="78"/>
                  </a:cubicBezTo>
                  <a:cubicBezTo>
                    <a:pt x="154" y="78"/>
                    <a:pt x="152" y="82"/>
                    <a:pt x="152" y="82"/>
                  </a:cubicBezTo>
                  <a:cubicBezTo>
                    <a:pt x="151" y="83"/>
                    <a:pt x="156" y="86"/>
                    <a:pt x="156" y="87"/>
                  </a:cubicBezTo>
                  <a:cubicBezTo>
                    <a:pt x="156" y="88"/>
                    <a:pt x="149" y="90"/>
                    <a:pt x="149" y="92"/>
                  </a:cubicBezTo>
                  <a:cubicBezTo>
                    <a:pt x="149" y="93"/>
                    <a:pt x="154" y="94"/>
                    <a:pt x="154" y="96"/>
                  </a:cubicBezTo>
                  <a:cubicBezTo>
                    <a:pt x="154" y="98"/>
                    <a:pt x="154" y="100"/>
                    <a:pt x="155" y="102"/>
                  </a:cubicBezTo>
                  <a:cubicBezTo>
                    <a:pt x="156" y="103"/>
                    <a:pt x="157" y="107"/>
                    <a:pt x="157" y="109"/>
                  </a:cubicBezTo>
                  <a:cubicBezTo>
                    <a:pt x="157" y="115"/>
                    <a:pt x="157" y="115"/>
                    <a:pt x="157" y="115"/>
                  </a:cubicBezTo>
                  <a:cubicBezTo>
                    <a:pt x="157" y="115"/>
                    <a:pt x="157" y="115"/>
                    <a:pt x="157" y="115"/>
                  </a:cubicBezTo>
                  <a:cubicBezTo>
                    <a:pt x="155" y="115"/>
                    <a:pt x="152" y="115"/>
                    <a:pt x="151" y="114"/>
                  </a:cubicBezTo>
                  <a:cubicBezTo>
                    <a:pt x="149" y="114"/>
                    <a:pt x="140" y="116"/>
                    <a:pt x="140" y="119"/>
                  </a:cubicBezTo>
                  <a:cubicBezTo>
                    <a:pt x="140" y="122"/>
                    <a:pt x="143" y="123"/>
                    <a:pt x="142" y="124"/>
                  </a:cubicBezTo>
                  <a:cubicBezTo>
                    <a:pt x="141" y="126"/>
                    <a:pt x="131" y="130"/>
                    <a:pt x="130" y="133"/>
                  </a:cubicBezTo>
                  <a:cubicBezTo>
                    <a:pt x="128" y="135"/>
                    <a:pt x="121" y="141"/>
                    <a:pt x="119" y="144"/>
                  </a:cubicBezTo>
                  <a:cubicBezTo>
                    <a:pt x="116" y="146"/>
                    <a:pt x="109" y="150"/>
                    <a:pt x="108" y="152"/>
                  </a:cubicBezTo>
                  <a:cubicBezTo>
                    <a:pt x="107" y="153"/>
                    <a:pt x="107" y="157"/>
                    <a:pt x="105" y="157"/>
                  </a:cubicBezTo>
                  <a:cubicBezTo>
                    <a:pt x="102" y="157"/>
                    <a:pt x="91" y="161"/>
                    <a:pt x="90" y="164"/>
                  </a:cubicBezTo>
                  <a:cubicBezTo>
                    <a:pt x="90" y="167"/>
                    <a:pt x="92" y="182"/>
                    <a:pt x="91" y="183"/>
                  </a:cubicBezTo>
                  <a:cubicBezTo>
                    <a:pt x="90" y="185"/>
                    <a:pt x="87" y="192"/>
                    <a:pt x="87" y="194"/>
                  </a:cubicBezTo>
                  <a:cubicBezTo>
                    <a:pt x="88" y="196"/>
                    <a:pt x="89" y="203"/>
                    <a:pt x="88" y="204"/>
                  </a:cubicBezTo>
                  <a:cubicBezTo>
                    <a:pt x="88" y="205"/>
                    <a:pt x="85" y="205"/>
                    <a:pt x="83" y="207"/>
                  </a:cubicBezTo>
                  <a:cubicBezTo>
                    <a:pt x="82" y="208"/>
                    <a:pt x="80" y="212"/>
                    <a:pt x="80" y="213"/>
                  </a:cubicBezTo>
                  <a:cubicBezTo>
                    <a:pt x="80" y="214"/>
                    <a:pt x="75" y="214"/>
                    <a:pt x="75" y="216"/>
                  </a:cubicBezTo>
                  <a:cubicBezTo>
                    <a:pt x="75" y="218"/>
                    <a:pt x="75" y="223"/>
                    <a:pt x="71" y="223"/>
                  </a:cubicBezTo>
                  <a:cubicBezTo>
                    <a:pt x="67" y="223"/>
                    <a:pt x="66" y="222"/>
                    <a:pt x="65" y="218"/>
                  </a:cubicBezTo>
                  <a:cubicBezTo>
                    <a:pt x="64" y="214"/>
                    <a:pt x="60" y="206"/>
                    <a:pt x="57" y="200"/>
                  </a:cubicBezTo>
                  <a:cubicBezTo>
                    <a:pt x="54" y="193"/>
                    <a:pt x="50" y="189"/>
                    <a:pt x="49" y="182"/>
                  </a:cubicBezTo>
                  <a:cubicBezTo>
                    <a:pt x="48" y="176"/>
                    <a:pt x="46" y="172"/>
                    <a:pt x="43" y="168"/>
                  </a:cubicBezTo>
                  <a:cubicBezTo>
                    <a:pt x="40" y="164"/>
                    <a:pt x="36" y="152"/>
                    <a:pt x="36" y="147"/>
                  </a:cubicBezTo>
                  <a:cubicBezTo>
                    <a:pt x="35" y="141"/>
                    <a:pt x="34" y="118"/>
                    <a:pt x="33" y="115"/>
                  </a:cubicBezTo>
                  <a:cubicBezTo>
                    <a:pt x="33" y="113"/>
                    <a:pt x="32" y="111"/>
                    <a:pt x="31" y="111"/>
                  </a:cubicBezTo>
                  <a:cubicBezTo>
                    <a:pt x="30" y="111"/>
                    <a:pt x="29" y="118"/>
                    <a:pt x="28" y="118"/>
                  </a:cubicBezTo>
                  <a:cubicBezTo>
                    <a:pt x="27" y="119"/>
                    <a:pt x="20" y="124"/>
                    <a:pt x="18" y="1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7" name="Freeform 132"/>
            <p:cNvSpPr>
              <a:spLocks/>
            </p:cNvSpPr>
            <p:nvPr>
              <p:custDataLst>
                <p:tags r:id="rId76"/>
              </p:custDataLst>
            </p:nvPr>
          </p:nvSpPr>
          <p:spPr bwMode="auto">
            <a:xfrm>
              <a:off x="4561" y="2058"/>
              <a:ext cx="79" cy="72"/>
            </a:xfrm>
            <a:custGeom>
              <a:avLst/>
              <a:gdLst>
                <a:gd name="T0" fmla="*/ 2726 w 46"/>
                <a:gd name="T1" fmla="*/ 90854 h 39"/>
                <a:gd name="T2" fmla="*/ 16358 w 46"/>
                <a:gd name="T3" fmla="*/ 67408 h 39"/>
                <a:gd name="T4" fmla="*/ 38169 w 46"/>
                <a:gd name="T5" fmla="*/ 58615 h 39"/>
                <a:gd name="T6" fmla="*/ 46348 w 46"/>
                <a:gd name="T7" fmla="*/ 23446 h 39"/>
                <a:gd name="T8" fmla="*/ 40896 w 46"/>
                <a:gd name="T9" fmla="*/ 5862 h 39"/>
                <a:gd name="T10" fmla="*/ 51801 w 46"/>
                <a:gd name="T11" fmla="*/ 5862 h 39"/>
                <a:gd name="T12" fmla="*/ 68159 w 46"/>
                <a:gd name="T13" fmla="*/ 26377 h 39"/>
                <a:gd name="T14" fmla="*/ 100876 w 46"/>
                <a:gd name="T15" fmla="*/ 38100 h 39"/>
                <a:gd name="T16" fmla="*/ 119960 w 46"/>
                <a:gd name="T17" fmla="*/ 35169 h 39"/>
                <a:gd name="T18" fmla="*/ 117234 w 46"/>
                <a:gd name="T19" fmla="*/ 52754 h 39"/>
                <a:gd name="T20" fmla="*/ 122687 w 46"/>
                <a:gd name="T21" fmla="*/ 67408 h 39"/>
                <a:gd name="T22" fmla="*/ 92697 w 46"/>
                <a:gd name="T23" fmla="*/ 76200 h 39"/>
                <a:gd name="T24" fmla="*/ 73612 w 46"/>
                <a:gd name="T25" fmla="*/ 99646 h 39"/>
                <a:gd name="T26" fmla="*/ 43622 w 46"/>
                <a:gd name="T27" fmla="*/ 82062 h 39"/>
                <a:gd name="T28" fmla="*/ 24537 w 46"/>
                <a:gd name="T29" fmla="*/ 87923 h 39"/>
                <a:gd name="T30" fmla="*/ 32716 w 46"/>
                <a:gd name="T31" fmla="*/ 102577 h 39"/>
                <a:gd name="T32" fmla="*/ 8179 w 46"/>
                <a:gd name="T33" fmla="*/ 111369 h 39"/>
                <a:gd name="T34" fmla="*/ 2726 w 46"/>
                <a:gd name="T35" fmla="*/ 90854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9">
                  <a:moveTo>
                    <a:pt x="1" y="31"/>
                  </a:moveTo>
                  <a:cubicBezTo>
                    <a:pt x="0" y="29"/>
                    <a:pt x="5" y="26"/>
                    <a:pt x="6" y="23"/>
                  </a:cubicBezTo>
                  <a:cubicBezTo>
                    <a:pt x="7" y="20"/>
                    <a:pt x="13" y="23"/>
                    <a:pt x="14" y="20"/>
                  </a:cubicBezTo>
                  <a:cubicBezTo>
                    <a:pt x="15" y="16"/>
                    <a:pt x="17" y="10"/>
                    <a:pt x="17" y="8"/>
                  </a:cubicBezTo>
                  <a:cubicBezTo>
                    <a:pt x="16" y="6"/>
                    <a:pt x="13" y="4"/>
                    <a:pt x="15" y="2"/>
                  </a:cubicBezTo>
                  <a:cubicBezTo>
                    <a:pt x="17" y="0"/>
                    <a:pt x="17" y="2"/>
                    <a:pt x="19" y="2"/>
                  </a:cubicBezTo>
                  <a:cubicBezTo>
                    <a:pt x="21" y="2"/>
                    <a:pt x="25" y="9"/>
                    <a:pt x="25" y="9"/>
                  </a:cubicBezTo>
                  <a:cubicBezTo>
                    <a:pt x="30" y="12"/>
                    <a:pt x="34" y="13"/>
                    <a:pt x="37" y="13"/>
                  </a:cubicBezTo>
                  <a:cubicBezTo>
                    <a:pt x="40" y="13"/>
                    <a:pt x="42" y="11"/>
                    <a:pt x="44" y="12"/>
                  </a:cubicBezTo>
                  <a:cubicBezTo>
                    <a:pt x="45" y="12"/>
                    <a:pt x="42" y="16"/>
                    <a:pt x="43" y="18"/>
                  </a:cubicBezTo>
                  <a:cubicBezTo>
                    <a:pt x="44" y="20"/>
                    <a:pt x="45" y="22"/>
                    <a:pt x="45" y="23"/>
                  </a:cubicBezTo>
                  <a:cubicBezTo>
                    <a:pt x="46" y="24"/>
                    <a:pt x="36" y="24"/>
                    <a:pt x="34" y="26"/>
                  </a:cubicBezTo>
                  <a:cubicBezTo>
                    <a:pt x="32" y="28"/>
                    <a:pt x="29" y="34"/>
                    <a:pt x="27" y="34"/>
                  </a:cubicBezTo>
                  <a:cubicBezTo>
                    <a:pt x="26" y="34"/>
                    <a:pt x="18" y="28"/>
                    <a:pt x="16" y="28"/>
                  </a:cubicBezTo>
                  <a:cubicBezTo>
                    <a:pt x="14" y="28"/>
                    <a:pt x="9" y="28"/>
                    <a:pt x="9" y="30"/>
                  </a:cubicBezTo>
                  <a:cubicBezTo>
                    <a:pt x="8" y="31"/>
                    <a:pt x="13" y="35"/>
                    <a:pt x="12" y="35"/>
                  </a:cubicBezTo>
                  <a:cubicBezTo>
                    <a:pt x="10" y="36"/>
                    <a:pt x="5" y="37"/>
                    <a:pt x="3" y="38"/>
                  </a:cubicBezTo>
                  <a:cubicBezTo>
                    <a:pt x="1" y="39"/>
                    <a:pt x="1" y="32"/>
                    <a:pt x="1" y="3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8" name="Freeform 133"/>
            <p:cNvSpPr>
              <a:spLocks/>
            </p:cNvSpPr>
            <p:nvPr>
              <p:custDataLst>
                <p:tags r:id="rId77"/>
              </p:custDataLst>
            </p:nvPr>
          </p:nvSpPr>
          <p:spPr bwMode="auto">
            <a:xfrm>
              <a:off x="4430" y="2255"/>
              <a:ext cx="32" cy="45"/>
            </a:xfrm>
            <a:custGeom>
              <a:avLst/>
              <a:gdLst>
                <a:gd name="T0" fmla="*/ 42779 w 19"/>
                <a:gd name="T1" fmla="*/ 31433 h 25"/>
                <a:gd name="T2" fmla="*/ 34758 w 19"/>
                <a:gd name="T3" fmla="*/ 54293 h 25"/>
                <a:gd name="T4" fmla="*/ 18716 w 19"/>
                <a:gd name="T5" fmla="*/ 71438 h 25"/>
                <a:gd name="T6" fmla="*/ 10695 w 19"/>
                <a:gd name="T7" fmla="*/ 57150 h 25"/>
                <a:gd name="T8" fmla="*/ 13368 w 19"/>
                <a:gd name="T9" fmla="*/ 28575 h 25"/>
                <a:gd name="T10" fmla="*/ 0 w 19"/>
                <a:gd name="T11" fmla="*/ 14288 h 25"/>
                <a:gd name="T12" fmla="*/ 13368 w 19"/>
                <a:gd name="T13" fmla="*/ 0 h 25"/>
                <a:gd name="T14" fmla="*/ 29411 w 19"/>
                <a:gd name="T15" fmla="*/ 11430 h 25"/>
                <a:gd name="T16" fmla="*/ 48126 w 19"/>
                <a:gd name="T17" fmla="*/ 17145 h 25"/>
                <a:gd name="T18" fmla="*/ 42779 w 19"/>
                <a:gd name="T19" fmla="*/ 31433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25">
                  <a:moveTo>
                    <a:pt x="16" y="11"/>
                  </a:moveTo>
                  <a:cubicBezTo>
                    <a:pt x="16" y="14"/>
                    <a:pt x="15" y="18"/>
                    <a:pt x="13" y="19"/>
                  </a:cubicBezTo>
                  <a:cubicBezTo>
                    <a:pt x="10" y="22"/>
                    <a:pt x="8" y="25"/>
                    <a:pt x="7" y="25"/>
                  </a:cubicBezTo>
                  <a:cubicBezTo>
                    <a:pt x="6" y="24"/>
                    <a:pt x="4" y="22"/>
                    <a:pt x="4" y="20"/>
                  </a:cubicBezTo>
                  <a:cubicBezTo>
                    <a:pt x="4" y="17"/>
                    <a:pt x="7" y="12"/>
                    <a:pt x="5" y="10"/>
                  </a:cubicBezTo>
                  <a:cubicBezTo>
                    <a:pt x="4" y="8"/>
                    <a:pt x="0" y="9"/>
                    <a:pt x="0" y="5"/>
                  </a:cubicBezTo>
                  <a:cubicBezTo>
                    <a:pt x="0" y="3"/>
                    <a:pt x="2" y="0"/>
                    <a:pt x="5" y="0"/>
                  </a:cubicBezTo>
                  <a:cubicBezTo>
                    <a:pt x="6" y="0"/>
                    <a:pt x="10" y="4"/>
                    <a:pt x="11" y="4"/>
                  </a:cubicBezTo>
                  <a:cubicBezTo>
                    <a:pt x="12" y="5"/>
                    <a:pt x="17" y="3"/>
                    <a:pt x="18" y="6"/>
                  </a:cubicBezTo>
                  <a:cubicBezTo>
                    <a:pt x="19" y="8"/>
                    <a:pt x="16" y="11"/>
                    <a:pt x="16"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09" name="Freeform 134"/>
            <p:cNvSpPr>
              <a:spLocks/>
            </p:cNvSpPr>
            <p:nvPr>
              <p:custDataLst>
                <p:tags r:id="rId78"/>
              </p:custDataLst>
            </p:nvPr>
          </p:nvSpPr>
          <p:spPr bwMode="auto">
            <a:xfrm>
              <a:off x="4447" y="2135"/>
              <a:ext cx="146" cy="121"/>
            </a:xfrm>
            <a:custGeom>
              <a:avLst/>
              <a:gdLst>
                <a:gd name="T0" fmla="*/ 51809 w 85"/>
                <a:gd name="T1" fmla="*/ 174625 h 66"/>
                <a:gd name="T2" fmla="*/ 8180 w 85"/>
                <a:gd name="T3" fmla="*/ 183357 h 66"/>
                <a:gd name="T4" fmla="*/ 8180 w 85"/>
                <a:gd name="T5" fmla="*/ 171715 h 66"/>
                <a:gd name="T6" fmla="*/ 38175 w 85"/>
                <a:gd name="T7" fmla="*/ 142611 h 66"/>
                <a:gd name="T8" fmla="*/ 87256 w 85"/>
                <a:gd name="T9" fmla="*/ 139700 h 66"/>
                <a:gd name="T10" fmla="*/ 103617 w 85"/>
                <a:gd name="T11" fmla="*/ 142611 h 66"/>
                <a:gd name="T12" fmla="*/ 119978 w 85"/>
                <a:gd name="T13" fmla="*/ 101865 h 66"/>
                <a:gd name="T14" fmla="*/ 133611 w 85"/>
                <a:gd name="T15" fmla="*/ 96044 h 66"/>
                <a:gd name="T16" fmla="*/ 139065 w 85"/>
                <a:gd name="T17" fmla="*/ 110596 h 66"/>
                <a:gd name="T18" fmla="*/ 160879 w 85"/>
                <a:gd name="T19" fmla="*/ 96044 h 66"/>
                <a:gd name="T20" fmla="*/ 174513 w 85"/>
                <a:gd name="T21" fmla="*/ 78581 h 66"/>
                <a:gd name="T22" fmla="*/ 188147 w 85"/>
                <a:gd name="T23" fmla="*/ 43656 h 66"/>
                <a:gd name="T24" fmla="*/ 188147 w 85"/>
                <a:gd name="T25" fmla="*/ 14552 h 66"/>
                <a:gd name="T26" fmla="*/ 199054 w 85"/>
                <a:gd name="T27" fmla="*/ 2910 h 66"/>
                <a:gd name="T28" fmla="*/ 215414 w 85"/>
                <a:gd name="T29" fmla="*/ 2910 h 66"/>
                <a:gd name="T30" fmla="*/ 223595 w 85"/>
                <a:gd name="T31" fmla="*/ 20373 h 66"/>
                <a:gd name="T32" fmla="*/ 226321 w 85"/>
                <a:gd name="T33" fmla="*/ 61119 h 66"/>
                <a:gd name="T34" fmla="*/ 207234 w 85"/>
                <a:gd name="T35" fmla="*/ 81492 h 66"/>
                <a:gd name="T36" fmla="*/ 201781 w 85"/>
                <a:gd name="T37" fmla="*/ 116417 h 66"/>
                <a:gd name="T38" fmla="*/ 207234 w 85"/>
                <a:gd name="T39" fmla="*/ 142611 h 66"/>
                <a:gd name="T40" fmla="*/ 188147 w 85"/>
                <a:gd name="T41" fmla="*/ 162984 h 66"/>
                <a:gd name="T42" fmla="*/ 136338 w 85"/>
                <a:gd name="T43" fmla="*/ 162984 h 66"/>
                <a:gd name="T44" fmla="*/ 122704 w 85"/>
                <a:gd name="T45" fmla="*/ 162984 h 66"/>
                <a:gd name="T46" fmla="*/ 106344 w 85"/>
                <a:gd name="T47" fmla="*/ 192088 h 66"/>
                <a:gd name="T48" fmla="*/ 103617 w 85"/>
                <a:gd name="T49" fmla="*/ 192088 h 66"/>
                <a:gd name="T50" fmla="*/ 87256 w 85"/>
                <a:gd name="T51" fmla="*/ 183357 h 66"/>
                <a:gd name="T52" fmla="*/ 92710 w 85"/>
                <a:gd name="T53" fmla="*/ 168805 h 66"/>
                <a:gd name="T54" fmla="*/ 73623 w 85"/>
                <a:gd name="T55" fmla="*/ 168805 h 66"/>
                <a:gd name="T56" fmla="*/ 51809 w 85"/>
                <a:gd name="T57" fmla="*/ 174625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5" h="66">
                  <a:moveTo>
                    <a:pt x="19" y="60"/>
                  </a:moveTo>
                  <a:cubicBezTo>
                    <a:pt x="16" y="61"/>
                    <a:pt x="7" y="64"/>
                    <a:pt x="3" y="63"/>
                  </a:cubicBezTo>
                  <a:cubicBezTo>
                    <a:pt x="0" y="62"/>
                    <a:pt x="2" y="60"/>
                    <a:pt x="3" y="59"/>
                  </a:cubicBezTo>
                  <a:cubicBezTo>
                    <a:pt x="7" y="55"/>
                    <a:pt x="11" y="50"/>
                    <a:pt x="14" y="49"/>
                  </a:cubicBezTo>
                  <a:cubicBezTo>
                    <a:pt x="18" y="48"/>
                    <a:pt x="30" y="49"/>
                    <a:pt x="32" y="48"/>
                  </a:cubicBezTo>
                  <a:cubicBezTo>
                    <a:pt x="34" y="48"/>
                    <a:pt x="35" y="51"/>
                    <a:pt x="38" y="49"/>
                  </a:cubicBezTo>
                  <a:cubicBezTo>
                    <a:pt x="40" y="47"/>
                    <a:pt x="43" y="38"/>
                    <a:pt x="44" y="35"/>
                  </a:cubicBezTo>
                  <a:cubicBezTo>
                    <a:pt x="46" y="32"/>
                    <a:pt x="48" y="33"/>
                    <a:pt x="49" y="33"/>
                  </a:cubicBezTo>
                  <a:cubicBezTo>
                    <a:pt x="50" y="33"/>
                    <a:pt x="47" y="38"/>
                    <a:pt x="51" y="38"/>
                  </a:cubicBezTo>
                  <a:cubicBezTo>
                    <a:pt x="55" y="38"/>
                    <a:pt x="59" y="33"/>
                    <a:pt x="59" y="33"/>
                  </a:cubicBezTo>
                  <a:cubicBezTo>
                    <a:pt x="64" y="27"/>
                    <a:pt x="64" y="27"/>
                    <a:pt x="64" y="27"/>
                  </a:cubicBezTo>
                  <a:cubicBezTo>
                    <a:pt x="67" y="22"/>
                    <a:pt x="69" y="18"/>
                    <a:pt x="69" y="15"/>
                  </a:cubicBezTo>
                  <a:cubicBezTo>
                    <a:pt x="69" y="12"/>
                    <a:pt x="68" y="6"/>
                    <a:pt x="69" y="5"/>
                  </a:cubicBezTo>
                  <a:cubicBezTo>
                    <a:pt x="70" y="5"/>
                    <a:pt x="73" y="1"/>
                    <a:pt x="73" y="1"/>
                  </a:cubicBezTo>
                  <a:cubicBezTo>
                    <a:pt x="73" y="1"/>
                    <a:pt x="79" y="0"/>
                    <a:pt x="79" y="1"/>
                  </a:cubicBezTo>
                  <a:cubicBezTo>
                    <a:pt x="79" y="2"/>
                    <a:pt x="81" y="5"/>
                    <a:pt x="82" y="7"/>
                  </a:cubicBezTo>
                  <a:cubicBezTo>
                    <a:pt x="84" y="10"/>
                    <a:pt x="85" y="18"/>
                    <a:pt x="83" y="21"/>
                  </a:cubicBezTo>
                  <a:cubicBezTo>
                    <a:pt x="80" y="25"/>
                    <a:pt x="76" y="24"/>
                    <a:pt x="76" y="28"/>
                  </a:cubicBezTo>
                  <a:cubicBezTo>
                    <a:pt x="76" y="32"/>
                    <a:pt x="75" y="37"/>
                    <a:pt x="74" y="40"/>
                  </a:cubicBezTo>
                  <a:cubicBezTo>
                    <a:pt x="73" y="43"/>
                    <a:pt x="77" y="48"/>
                    <a:pt x="76" y="49"/>
                  </a:cubicBezTo>
                  <a:cubicBezTo>
                    <a:pt x="75" y="50"/>
                    <a:pt x="71" y="56"/>
                    <a:pt x="69" y="56"/>
                  </a:cubicBezTo>
                  <a:cubicBezTo>
                    <a:pt x="66" y="56"/>
                    <a:pt x="52" y="56"/>
                    <a:pt x="50" y="56"/>
                  </a:cubicBezTo>
                  <a:cubicBezTo>
                    <a:pt x="48" y="56"/>
                    <a:pt x="47" y="54"/>
                    <a:pt x="45" y="56"/>
                  </a:cubicBezTo>
                  <a:cubicBezTo>
                    <a:pt x="43" y="58"/>
                    <a:pt x="42" y="64"/>
                    <a:pt x="39" y="66"/>
                  </a:cubicBezTo>
                  <a:cubicBezTo>
                    <a:pt x="39" y="66"/>
                    <a:pt x="38" y="66"/>
                    <a:pt x="38" y="66"/>
                  </a:cubicBezTo>
                  <a:cubicBezTo>
                    <a:pt x="36" y="66"/>
                    <a:pt x="32" y="66"/>
                    <a:pt x="32" y="63"/>
                  </a:cubicBezTo>
                  <a:cubicBezTo>
                    <a:pt x="32" y="61"/>
                    <a:pt x="36" y="60"/>
                    <a:pt x="34" y="58"/>
                  </a:cubicBezTo>
                  <a:cubicBezTo>
                    <a:pt x="33" y="56"/>
                    <a:pt x="28" y="57"/>
                    <a:pt x="27" y="58"/>
                  </a:cubicBezTo>
                  <a:cubicBezTo>
                    <a:pt x="25" y="58"/>
                    <a:pt x="19" y="60"/>
                    <a:pt x="19" y="6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0" name="Freeform 135"/>
            <p:cNvSpPr>
              <a:spLocks/>
            </p:cNvSpPr>
            <p:nvPr>
              <p:custDataLst>
                <p:tags r:id="rId79"/>
              </p:custDataLst>
            </p:nvPr>
          </p:nvSpPr>
          <p:spPr bwMode="auto">
            <a:xfrm>
              <a:off x="4471" y="2253"/>
              <a:ext cx="26" cy="22"/>
            </a:xfrm>
            <a:custGeom>
              <a:avLst/>
              <a:gdLst>
                <a:gd name="T0" fmla="*/ 2752 w 15"/>
                <a:gd name="T1" fmla="*/ 11642 h 12"/>
                <a:gd name="T2" fmla="*/ 30268 w 15"/>
                <a:gd name="T3" fmla="*/ 0 h 12"/>
                <a:gd name="T4" fmla="*/ 38523 w 15"/>
                <a:gd name="T5" fmla="*/ 20373 h 12"/>
                <a:gd name="T6" fmla="*/ 24765 w 15"/>
                <a:gd name="T7" fmla="*/ 17463 h 12"/>
                <a:gd name="T8" fmla="*/ 2752 w 15"/>
                <a:gd name="T9" fmla="*/ 34925 h 12"/>
                <a:gd name="T10" fmla="*/ 0 w 15"/>
                <a:gd name="T11" fmla="*/ 20373 h 12"/>
                <a:gd name="T12" fmla="*/ 2752 w 15"/>
                <a:gd name="T13" fmla="*/ 11642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2">
                  <a:moveTo>
                    <a:pt x="1" y="4"/>
                  </a:moveTo>
                  <a:cubicBezTo>
                    <a:pt x="1" y="3"/>
                    <a:pt x="9" y="0"/>
                    <a:pt x="11" y="0"/>
                  </a:cubicBezTo>
                  <a:cubicBezTo>
                    <a:pt x="13" y="1"/>
                    <a:pt x="15" y="7"/>
                    <a:pt x="14" y="7"/>
                  </a:cubicBezTo>
                  <a:cubicBezTo>
                    <a:pt x="13" y="8"/>
                    <a:pt x="11" y="7"/>
                    <a:pt x="9" y="6"/>
                  </a:cubicBezTo>
                  <a:cubicBezTo>
                    <a:pt x="7" y="6"/>
                    <a:pt x="3" y="12"/>
                    <a:pt x="1" y="12"/>
                  </a:cubicBezTo>
                  <a:cubicBezTo>
                    <a:pt x="0" y="12"/>
                    <a:pt x="0" y="9"/>
                    <a:pt x="0" y="7"/>
                  </a:cubicBezTo>
                  <a:cubicBezTo>
                    <a:pt x="0" y="6"/>
                    <a:pt x="1" y="4"/>
                    <a:pt x="1" y="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1" name="Freeform 137"/>
            <p:cNvSpPr>
              <a:spLocks/>
            </p:cNvSpPr>
            <p:nvPr>
              <p:custDataLst>
                <p:tags r:id="rId80"/>
              </p:custDataLst>
            </p:nvPr>
          </p:nvSpPr>
          <p:spPr bwMode="auto">
            <a:xfrm>
              <a:off x="4306" y="2388"/>
              <a:ext cx="25" cy="50"/>
            </a:xfrm>
            <a:custGeom>
              <a:avLst/>
              <a:gdLst>
                <a:gd name="T0" fmla="*/ 0 w 15"/>
                <a:gd name="T1" fmla="*/ 49977 h 27"/>
                <a:gd name="T2" fmla="*/ 23813 w 15"/>
                <a:gd name="T3" fmla="*/ 0 h 27"/>
                <a:gd name="T4" fmla="*/ 37042 w 15"/>
                <a:gd name="T5" fmla="*/ 5880 h 27"/>
                <a:gd name="T6" fmla="*/ 23813 w 15"/>
                <a:gd name="T7" fmla="*/ 49977 h 27"/>
                <a:gd name="T8" fmla="*/ 15875 w 15"/>
                <a:gd name="T9" fmla="*/ 79375 h 27"/>
                <a:gd name="T10" fmla="*/ 0 w 15"/>
                <a:gd name="T11" fmla="*/ 49977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7">
                  <a:moveTo>
                    <a:pt x="0" y="17"/>
                  </a:moveTo>
                  <a:cubicBezTo>
                    <a:pt x="0" y="14"/>
                    <a:pt x="6" y="2"/>
                    <a:pt x="9" y="0"/>
                  </a:cubicBezTo>
                  <a:cubicBezTo>
                    <a:pt x="9" y="0"/>
                    <a:pt x="14" y="0"/>
                    <a:pt x="14" y="2"/>
                  </a:cubicBezTo>
                  <a:cubicBezTo>
                    <a:pt x="15" y="4"/>
                    <a:pt x="12" y="15"/>
                    <a:pt x="9" y="17"/>
                  </a:cubicBezTo>
                  <a:cubicBezTo>
                    <a:pt x="7" y="19"/>
                    <a:pt x="8" y="26"/>
                    <a:pt x="6" y="27"/>
                  </a:cubicBezTo>
                  <a:cubicBezTo>
                    <a:pt x="4" y="27"/>
                    <a:pt x="1" y="19"/>
                    <a:pt x="0" y="1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2" name="Freeform 138"/>
            <p:cNvSpPr>
              <a:spLocks/>
            </p:cNvSpPr>
            <p:nvPr>
              <p:custDataLst>
                <p:tags r:id="rId81"/>
              </p:custDataLst>
            </p:nvPr>
          </p:nvSpPr>
          <p:spPr bwMode="auto">
            <a:xfrm>
              <a:off x="3884" y="1942"/>
              <a:ext cx="422" cy="186"/>
            </a:xfrm>
            <a:custGeom>
              <a:avLst/>
              <a:gdLst>
                <a:gd name="T0" fmla="*/ 0 w 246"/>
                <a:gd name="T1" fmla="*/ 89740 h 102"/>
                <a:gd name="T2" fmla="*/ 16340 w 246"/>
                <a:gd name="T3" fmla="*/ 78161 h 102"/>
                <a:gd name="T4" fmla="*/ 43572 w 246"/>
                <a:gd name="T5" fmla="*/ 60792 h 102"/>
                <a:gd name="T6" fmla="*/ 87145 w 246"/>
                <a:gd name="T7" fmla="*/ 46318 h 102"/>
                <a:gd name="T8" fmla="*/ 125271 w 246"/>
                <a:gd name="T9" fmla="*/ 43423 h 102"/>
                <a:gd name="T10" fmla="*/ 141610 w 246"/>
                <a:gd name="T11" fmla="*/ 60792 h 102"/>
                <a:gd name="T12" fmla="*/ 190629 w 246"/>
                <a:gd name="T13" fmla="*/ 69476 h 102"/>
                <a:gd name="T14" fmla="*/ 215139 w 246"/>
                <a:gd name="T15" fmla="*/ 60792 h 102"/>
                <a:gd name="T16" fmla="*/ 209692 w 246"/>
                <a:gd name="T17" fmla="*/ 28949 h 102"/>
                <a:gd name="T18" fmla="*/ 228755 w 246"/>
                <a:gd name="T19" fmla="*/ 0 h 102"/>
                <a:gd name="T20" fmla="*/ 296837 w 246"/>
                <a:gd name="T21" fmla="*/ 23159 h 102"/>
                <a:gd name="T22" fmla="*/ 299560 w 246"/>
                <a:gd name="T23" fmla="*/ 43423 h 102"/>
                <a:gd name="T24" fmla="*/ 332239 w 246"/>
                <a:gd name="T25" fmla="*/ 57897 h 102"/>
                <a:gd name="T26" fmla="*/ 367642 w 246"/>
                <a:gd name="T27" fmla="*/ 49213 h 102"/>
                <a:gd name="T28" fmla="*/ 411214 w 246"/>
                <a:gd name="T29" fmla="*/ 60792 h 102"/>
                <a:gd name="T30" fmla="*/ 427554 w 246"/>
                <a:gd name="T31" fmla="*/ 81056 h 102"/>
                <a:gd name="T32" fmla="*/ 484742 w 246"/>
                <a:gd name="T33" fmla="*/ 86846 h 102"/>
                <a:gd name="T34" fmla="*/ 531038 w 246"/>
                <a:gd name="T35" fmla="*/ 66582 h 102"/>
                <a:gd name="T36" fmla="*/ 574610 w 246"/>
                <a:gd name="T37" fmla="*/ 60792 h 102"/>
                <a:gd name="T38" fmla="*/ 596397 w 246"/>
                <a:gd name="T39" fmla="*/ 69476 h 102"/>
                <a:gd name="T40" fmla="*/ 571887 w 246"/>
                <a:gd name="T41" fmla="*/ 115794 h 102"/>
                <a:gd name="T42" fmla="*/ 582780 w 246"/>
                <a:gd name="T43" fmla="*/ 130268 h 102"/>
                <a:gd name="T44" fmla="*/ 607290 w 246"/>
                <a:gd name="T45" fmla="*/ 130268 h 102"/>
                <a:gd name="T46" fmla="*/ 631799 w 246"/>
                <a:gd name="T47" fmla="*/ 118689 h 102"/>
                <a:gd name="T48" fmla="*/ 664478 w 246"/>
                <a:gd name="T49" fmla="*/ 138953 h 102"/>
                <a:gd name="T50" fmla="*/ 667202 w 246"/>
                <a:gd name="T51" fmla="*/ 156322 h 102"/>
                <a:gd name="T52" fmla="*/ 661755 w 246"/>
                <a:gd name="T53" fmla="*/ 165007 h 102"/>
                <a:gd name="T54" fmla="*/ 642692 w 246"/>
                <a:gd name="T55" fmla="*/ 153427 h 102"/>
                <a:gd name="T56" fmla="*/ 615460 w 246"/>
                <a:gd name="T57" fmla="*/ 159217 h 102"/>
                <a:gd name="T58" fmla="*/ 585504 w 246"/>
                <a:gd name="T59" fmla="*/ 185271 h 102"/>
                <a:gd name="T60" fmla="*/ 544654 w 246"/>
                <a:gd name="T61" fmla="*/ 208429 h 102"/>
                <a:gd name="T62" fmla="*/ 506529 w 246"/>
                <a:gd name="T63" fmla="*/ 199745 h 102"/>
                <a:gd name="T64" fmla="*/ 487466 w 246"/>
                <a:gd name="T65" fmla="*/ 217114 h 102"/>
                <a:gd name="T66" fmla="*/ 498359 w 246"/>
                <a:gd name="T67" fmla="*/ 237378 h 102"/>
                <a:gd name="T68" fmla="*/ 457510 w 246"/>
                <a:gd name="T69" fmla="*/ 269221 h 102"/>
                <a:gd name="T70" fmla="*/ 405768 w 246"/>
                <a:gd name="T71" fmla="*/ 275011 h 102"/>
                <a:gd name="T72" fmla="*/ 351302 w 246"/>
                <a:gd name="T73" fmla="*/ 295275 h 102"/>
                <a:gd name="T74" fmla="*/ 272327 w 246"/>
                <a:gd name="T75" fmla="*/ 266326 h 102"/>
                <a:gd name="T76" fmla="*/ 174289 w 246"/>
                <a:gd name="T77" fmla="*/ 263432 h 102"/>
                <a:gd name="T78" fmla="*/ 147057 w 246"/>
                <a:gd name="T79" fmla="*/ 222904 h 102"/>
                <a:gd name="T80" fmla="*/ 111654 w 246"/>
                <a:gd name="T81" fmla="*/ 202640 h 102"/>
                <a:gd name="T82" fmla="*/ 62635 w 246"/>
                <a:gd name="T83" fmla="*/ 193955 h 102"/>
                <a:gd name="T84" fmla="*/ 65359 w 246"/>
                <a:gd name="T85" fmla="*/ 167901 h 102"/>
                <a:gd name="T86" fmla="*/ 43572 w 246"/>
                <a:gd name="T87" fmla="*/ 124479 h 102"/>
                <a:gd name="T88" fmla="*/ 13616 w 246"/>
                <a:gd name="T89" fmla="*/ 115794 h 102"/>
                <a:gd name="T90" fmla="*/ 0 w 246"/>
                <a:gd name="T91" fmla="*/ 89740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6" h="102">
                  <a:moveTo>
                    <a:pt x="0" y="31"/>
                  </a:moveTo>
                  <a:cubicBezTo>
                    <a:pt x="6" y="27"/>
                    <a:pt x="6" y="27"/>
                    <a:pt x="6" y="27"/>
                  </a:cubicBezTo>
                  <a:cubicBezTo>
                    <a:pt x="6" y="27"/>
                    <a:pt x="14" y="23"/>
                    <a:pt x="16" y="21"/>
                  </a:cubicBezTo>
                  <a:cubicBezTo>
                    <a:pt x="19" y="20"/>
                    <a:pt x="28" y="17"/>
                    <a:pt x="32" y="16"/>
                  </a:cubicBezTo>
                  <a:cubicBezTo>
                    <a:pt x="35" y="15"/>
                    <a:pt x="46" y="14"/>
                    <a:pt x="46" y="15"/>
                  </a:cubicBezTo>
                  <a:cubicBezTo>
                    <a:pt x="47" y="16"/>
                    <a:pt x="50" y="19"/>
                    <a:pt x="52" y="21"/>
                  </a:cubicBezTo>
                  <a:cubicBezTo>
                    <a:pt x="54" y="23"/>
                    <a:pt x="66" y="23"/>
                    <a:pt x="70" y="24"/>
                  </a:cubicBezTo>
                  <a:cubicBezTo>
                    <a:pt x="74" y="25"/>
                    <a:pt x="76" y="23"/>
                    <a:pt x="79" y="21"/>
                  </a:cubicBezTo>
                  <a:cubicBezTo>
                    <a:pt x="81" y="19"/>
                    <a:pt x="77" y="12"/>
                    <a:pt x="77" y="10"/>
                  </a:cubicBezTo>
                  <a:cubicBezTo>
                    <a:pt x="77" y="7"/>
                    <a:pt x="82" y="0"/>
                    <a:pt x="84" y="0"/>
                  </a:cubicBezTo>
                  <a:cubicBezTo>
                    <a:pt x="86" y="1"/>
                    <a:pt x="109" y="6"/>
                    <a:pt x="109" y="8"/>
                  </a:cubicBezTo>
                  <a:cubicBezTo>
                    <a:pt x="110" y="10"/>
                    <a:pt x="109" y="12"/>
                    <a:pt x="110" y="15"/>
                  </a:cubicBezTo>
                  <a:cubicBezTo>
                    <a:pt x="111" y="17"/>
                    <a:pt x="118" y="20"/>
                    <a:pt x="122" y="20"/>
                  </a:cubicBezTo>
                  <a:cubicBezTo>
                    <a:pt x="125" y="20"/>
                    <a:pt x="132" y="17"/>
                    <a:pt x="135" y="17"/>
                  </a:cubicBezTo>
                  <a:cubicBezTo>
                    <a:pt x="137" y="18"/>
                    <a:pt x="149" y="20"/>
                    <a:pt x="151" y="21"/>
                  </a:cubicBezTo>
                  <a:cubicBezTo>
                    <a:pt x="153" y="21"/>
                    <a:pt x="155" y="27"/>
                    <a:pt x="157" y="28"/>
                  </a:cubicBezTo>
                  <a:cubicBezTo>
                    <a:pt x="160" y="30"/>
                    <a:pt x="174" y="30"/>
                    <a:pt x="178" y="30"/>
                  </a:cubicBezTo>
                  <a:cubicBezTo>
                    <a:pt x="183" y="29"/>
                    <a:pt x="189" y="28"/>
                    <a:pt x="195" y="23"/>
                  </a:cubicBezTo>
                  <a:cubicBezTo>
                    <a:pt x="200" y="18"/>
                    <a:pt x="208" y="21"/>
                    <a:pt x="211" y="21"/>
                  </a:cubicBezTo>
                  <a:cubicBezTo>
                    <a:pt x="219" y="24"/>
                    <a:pt x="219" y="24"/>
                    <a:pt x="219" y="24"/>
                  </a:cubicBezTo>
                  <a:cubicBezTo>
                    <a:pt x="219" y="25"/>
                    <a:pt x="209" y="39"/>
                    <a:pt x="210" y="40"/>
                  </a:cubicBezTo>
                  <a:cubicBezTo>
                    <a:pt x="210" y="41"/>
                    <a:pt x="213" y="45"/>
                    <a:pt x="214" y="45"/>
                  </a:cubicBezTo>
                  <a:cubicBezTo>
                    <a:pt x="215" y="45"/>
                    <a:pt x="221" y="45"/>
                    <a:pt x="223" y="45"/>
                  </a:cubicBezTo>
                  <a:cubicBezTo>
                    <a:pt x="224" y="45"/>
                    <a:pt x="229" y="41"/>
                    <a:pt x="232" y="41"/>
                  </a:cubicBezTo>
                  <a:cubicBezTo>
                    <a:pt x="235" y="41"/>
                    <a:pt x="242" y="46"/>
                    <a:pt x="244" y="48"/>
                  </a:cubicBezTo>
                  <a:cubicBezTo>
                    <a:pt x="246" y="50"/>
                    <a:pt x="246" y="54"/>
                    <a:pt x="245" y="54"/>
                  </a:cubicBezTo>
                  <a:cubicBezTo>
                    <a:pt x="245" y="55"/>
                    <a:pt x="244" y="57"/>
                    <a:pt x="243" y="57"/>
                  </a:cubicBezTo>
                  <a:cubicBezTo>
                    <a:pt x="242" y="58"/>
                    <a:pt x="238" y="53"/>
                    <a:pt x="236" y="53"/>
                  </a:cubicBezTo>
                  <a:cubicBezTo>
                    <a:pt x="234" y="53"/>
                    <a:pt x="227" y="55"/>
                    <a:pt x="226" y="55"/>
                  </a:cubicBezTo>
                  <a:cubicBezTo>
                    <a:pt x="224" y="56"/>
                    <a:pt x="216" y="63"/>
                    <a:pt x="215" y="64"/>
                  </a:cubicBezTo>
                  <a:cubicBezTo>
                    <a:pt x="214" y="66"/>
                    <a:pt x="203" y="70"/>
                    <a:pt x="200" y="72"/>
                  </a:cubicBezTo>
                  <a:cubicBezTo>
                    <a:pt x="196" y="73"/>
                    <a:pt x="189" y="69"/>
                    <a:pt x="186" y="69"/>
                  </a:cubicBezTo>
                  <a:cubicBezTo>
                    <a:pt x="183" y="69"/>
                    <a:pt x="181" y="72"/>
                    <a:pt x="179" y="75"/>
                  </a:cubicBezTo>
                  <a:cubicBezTo>
                    <a:pt x="178" y="78"/>
                    <a:pt x="183" y="79"/>
                    <a:pt x="183" y="82"/>
                  </a:cubicBezTo>
                  <a:cubicBezTo>
                    <a:pt x="184" y="85"/>
                    <a:pt x="172" y="91"/>
                    <a:pt x="168" y="93"/>
                  </a:cubicBezTo>
                  <a:cubicBezTo>
                    <a:pt x="165" y="95"/>
                    <a:pt x="151" y="95"/>
                    <a:pt x="149" y="95"/>
                  </a:cubicBezTo>
                  <a:cubicBezTo>
                    <a:pt x="146" y="95"/>
                    <a:pt x="132" y="101"/>
                    <a:pt x="129" y="102"/>
                  </a:cubicBezTo>
                  <a:cubicBezTo>
                    <a:pt x="126" y="102"/>
                    <a:pt x="102" y="94"/>
                    <a:pt x="100" y="92"/>
                  </a:cubicBezTo>
                  <a:cubicBezTo>
                    <a:pt x="98" y="91"/>
                    <a:pt x="64" y="92"/>
                    <a:pt x="64" y="91"/>
                  </a:cubicBezTo>
                  <a:cubicBezTo>
                    <a:pt x="64" y="90"/>
                    <a:pt x="57" y="79"/>
                    <a:pt x="54" y="77"/>
                  </a:cubicBezTo>
                  <a:cubicBezTo>
                    <a:pt x="52" y="75"/>
                    <a:pt x="44" y="71"/>
                    <a:pt x="41" y="70"/>
                  </a:cubicBezTo>
                  <a:cubicBezTo>
                    <a:pt x="39" y="70"/>
                    <a:pt x="26" y="69"/>
                    <a:pt x="23" y="67"/>
                  </a:cubicBezTo>
                  <a:cubicBezTo>
                    <a:pt x="20" y="64"/>
                    <a:pt x="23" y="61"/>
                    <a:pt x="24" y="58"/>
                  </a:cubicBezTo>
                  <a:cubicBezTo>
                    <a:pt x="24" y="55"/>
                    <a:pt x="18" y="45"/>
                    <a:pt x="16" y="43"/>
                  </a:cubicBezTo>
                  <a:cubicBezTo>
                    <a:pt x="14" y="41"/>
                    <a:pt x="7" y="41"/>
                    <a:pt x="5" y="40"/>
                  </a:cubicBezTo>
                  <a:cubicBezTo>
                    <a:pt x="3" y="38"/>
                    <a:pt x="0" y="31"/>
                    <a:pt x="0" y="3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3" name="Freeform 129"/>
            <p:cNvSpPr>
              <a:spLocks/>
            </p:cNvSpPr>
            <p:nvPr>
              <p:custDataLst>
                <p:tags r:id="rId82"/>
              </p:custDataLst>
            </p:nvPr>
          </p:nvSpPr>
          <p:spPr bwMode="auto">
            <a:xfrm>
              <a:off x="3754" y="2222"/>
              <a:ext cx="29" cy="34"/>
            </a:xfrm>
            <a:custGeom>
              <a:avLst/>
              <a:gdLst>
                <a:gd name="T0" fmla="*/ 0 w 17"/>
                <a:gd name="T1" fmla="*/ 11994 h 18"/>
                <a:gd name="T2" fmla="*/ 16249 w 17"/>
                <a:gd name="T3" fmla="*/ 0 h 18"/>
                <a:gd name="T4" fmla="*/ 27081 w 17"/>
                <a:gd name="T5" fmla="*/ 0 h 18"/>
                <a:gd name="T6" fmla="*/ 46038 w 17"/>
                <a:gd name="T7" fmla="*/ 8996 h 18"/>
                <a:gd name="T8" fmla="*/ 43330 w 17"/>
                <a:gd name="T9" fmla="*/ 29986 h 18"/>
                <a:gd name="T10" fmla="*/ 29789 w 17"/>
                <a:gd name="T11" fmla="*/ 50976 h 18"/>
                <a:gd name="T12" fmla="*/ 16249 w 17"/>
                <a:gd name="T13" fmla="*/ 53975 h 18"/>
                <a:gd name="T14" fmla="*/ 8124 w 17"/>
                <a:gd name="T15" fmla="*/ 35983 h 18"/>
                <a:gd name="T16" fmla="*/ 5416 w 17"/>
                <a:gd name="T17" fmla="*/ 32985 h 18"/>
                <a:gd name="T18" fmla="*/ 5416 w 17"/>
                <a:gd name="T19" fmla="*/ 35983 h 18"/>
                <a:gd name="T20" fmla="*/ 0 w 17"/>
                <a:gd name="T21" fmla="*/ 1199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18">
                  <a:moveTo>
                    <a:pt x="0" y="4"/>
                  </a:moveTo>
                  <a:cubicBezTo>
                    <a:pt x="6" y="0"/>
                    <a:pt x="6" y="0"/>
                    <a:pt x="6" y="0"/>
                  </a:cubicBezTo>
                  <a:cubicBezTo>
                    <a:pt x="7" y="0"/>
                    <a:pt x="9" y="0"/>
                    <a:pt x="10" y="0"/>
                  </a:cubicBezTo>
                  <a:cubicBezTo>
                    <a:pt x="11" y="0"/>
                    <a:pt x="16" y="2"/>
                    <a:pt x="17" y="3"/>
                  </a:cubicBezTo>
                  <a:cubicBezTo>
                    <a:pt x="17" y="5"/>
                    <a:pt x="17" y="9"/>
                    <a:pt x="16" y="10"/>
                  </a:cubicBezTo>
                  <a:cubicBezTo>
                    <a:pt x="15" y="11"/>
                    <a:pt x="12" y="17"/>
                    <a:pt x="11" y="17"/>
                  </a:cubicBezTo>
                  <a:cubicBezTo>
                    <a:pt x="6" y="18"/>
                    <a:pt x="6" y="18"/>
                    <a:pt x="6" y="18"/>
                  </a:cubicBezTo>
                  <a:cubicBezTo>
                    <a:pt x="6" y="18"/>
                    <a:pt x="5" y="15"/>
                    <a:pt x="3" y="12"/>
                  </a:cubicBezTo>
                  <a:cubicBezTo>
                    <a:pt x="2" y="11"/>
                    <a:pt x="2" y="11"/>
                    <a:pt x="2" y="11"/>
                  </a:cubicBezTo>
                  <a:cubicBezTo>
                    <a:pt x="2" y="11"/>
                    <a:pt x="3" y="12"/>
                    <a:pt x="2" y="12"/>
                  </a:cubicBezTo>
                  <a:cubicBezTo>
                    <a:pt x="1" y="10"/>
                    <a:pt x="0" y="5"/>
                    <a:pt x="0" y="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4" name="Freeform 140"/>
            <p:cNvSpPr>
              <a:spLocks/>
            </p:cNvSpPr>
            <p:nvPr>
              <p:custDataLst>
                <p:tags r:id="rId83"/>
              </p:custDataLst>
            </p:nvPr>
          </p:nvSpPr>
          <p:spPr bwMode="auto">
            <a:xfrm>
              <a:off x="4154" y="2466"/>
              <a:ext cx="36" cy="29"/>
            </a:xfrm>
            <a:custGeom>
              <a:avLst/>
              <a:gdLst>
                <a:gd name="T0" fmla="*/ 29936 w 21"/>
                <a:gd name="T1" fmla="*/ 37406 h 16"/>
                <a:gd name="T2" fmla="*/ 8164 w 21"/>
                <a:gd name="T3" fmla="*/ 28774 h 16"/>
                <a:gd name="T4" fmla="*/ 19050 w 21"/>
                <a:gd name="T5" fmla="*/ 2877 h 16"/>
                <a:gd name="T6" fmla="*/ 54429 w 21"/>
                <a:gd name="T7" fmla="*/ 2877 h 16"/>
                <a:gd name="T8" fmla="*/ 29936 w 21"/>
                <a:gd name="T9" fmla="*/ 3740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16">
                  <a:moveTo>
                    <a:pt x="11" y="13"/>
                  </a:moveTo>
                  <a:cubicBezTo>
                    <a:pt x="9" y="16"/>
                    <a:pt x="6" y="12"/>
                    <a:pt x="3" y="10"/>
                  </a:cubicBezTo>
                  <a:cubicBezTo>
                    <a:pt x="0" y="7"/>
                    <a:pt x="5" y="3"/>
                    <a:pt x="7" y="1"/>
                  </a:cubicBezTo>
                  <a:cubicBezTo>
                    <a:pt x="7" y="1"/>
                    <a:pt x="19" y="0"/>
                    <a:pt x="20" y="1"/>
                  </a:cubicBezTo>
                  <a:cubicBezTo>
                    <a:pt x="21" y="3"/>
                    <a:pt x="12" y="10"/>
                    <a:pt x="11"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5" name="Freeform 141"/>
            <p:cNvSpPr>
              <a:spLocks/>
            </p:cNvSpPr>
            <p:nvPr>
              <p:custDataLst>
                <p:tags r:id="rId84"/>
              </p:custDataLst>
            </p:nvPr>
          </p:nvSpPr>
          <p:spPr bwMode="auto">
            <a:xfrm>
              <a:off x="3695" y="1912"/>
              <a:ext cx="802" cy="547"/>
            </a:xfrm>
            <a:custGeom>
              <a:avLst/>
              <a:gdLst>
                <a:gd name="T0" fmla="*/ 48968 w 468"/>
                <a:gd name="T1" fmla="*/ 378816 h 298"/>
                <a:gd name="T2" fmla="*/ 100657 w 468"/>
                <a:gd name="T3" fmla="*/ 355504 h 298"/>
                <a:gd name="T4" fmla="*/ 146905 w 468"/>
                <a:gd name="T5" fmla="*/ 297225 h 298"/>
                <a:gd name="T6" fmla="*/ 201314 w 468"/>
                <a:gd name="T7" fmla="*/ 189408 h 298"/>
                <a:gd name="T8" fmla="*/ 269325 w 468"/>
                <a:gd name="T9" fmla="*/ 151526 h 298"/>
                <a:gd name="T10" fmla="*/ 312853 w 468"/>
                <a:gd name="T11" fmla="*/ 163182 h 298"/>
                <a:gd name="T12" fmla="*/ 361821 w 468"/>
                <a:gd name="T13" fmla="*/ 241859 h 298"/>
                <a:gd name="T14" fmla="*/ 473360 w 468"/>
                <a:gd name="T15" fmla="*/ 311795 h 298"/>
                <a:gd name="T16" fmla="*/ 704599 w 468"/>
                <a:gd name="T17" fmla="*/ 323451 h 298"/>
                <a:gd name="T18" fmla="*/ 786213 w 468"/>
                <a:gd name="T19" fmla="*/ 265171 h 298"/>
                <a:gd name="T20" fmla="*/ 884149 w 468"/>
                <a:gd name="T21" fmla="*/ 233118 h 298"/>
                <a:gd name="T22" fmla="*/ 960322 w 468"/>
                <a:gd name="T23" fmla="*/ 212720 h 298"/>
                <a:gd name="T24" fmla="*/ 930397 w 468"/>
                <a:gd name="T25" fmla="*/ 166096 h 298"/>
                <a:gd name="T26" fmla="*/ 870547 w 468"/>
                <a:gd name="T27" fmla="*/ 163182 h 298"/>
                <a:gd name="T28" fmla="*/ 952161 w 468"/>
                <a:gd name="T29" fmla="*/ 101989 h 298"/>
                <a:gd name="T30" fmla="*/ 963043 w 468"/>
                <a:gd name="T31" fmla="*/ 32054 h 298"/>
                <a:gd name="T32" fmla="*/ 1088184 w 468"/>
                <a:gd name="T33" fmla="*/ 26226 h 298"/>
                <a:gd name="T34" fmla="*/ 1180679 w 468"/>
                <a:gd name="T35" fmla="*/ 139871 h 298"/>
                <a:gd name="T36" fmla="*/ 1267734 w 468"/>
                <a:gd name="T37" fmla="*/ 157354 h 298"/>
                <a:gd name="T38" fmla="*/ 1240529 w 468"/>
                <a:gd name="T39" fmla="*/ 250601 h 298"/>
                <a:gd name="T40" fmla="*/ 1188841 w 468"/>
                <a:gd name="T41" fmla="*/ 303053 h 298"/>
                <a:gd name="T42" fmla="*/ 1156195 w 468"/>
                <a:gd name="T43" fmla="*/ 326365 h 298"/>
                <a:gd name="T44" fmla="*/ 1101786 w 468"/>
                <a:gd name="T45" fmla="*/ 343848 h 298"/>
                <a:gd name="T46" fmla="*/ 1055538 w 468"/>
                <a:gd name="T47" fmla="*/ 390472 h 298"/>
                <a:gd name="T48" fmla="*/ 995688 w 468"/>
                <a:gd name="T49" fmla="*/ 405042 h 298"/>
                <a:gd name="T50" fmla="*/ 982086 w 468"/>
                <a:gd name="T51" fmla="*/ 367160 h 298"/>
                <a:gd name="T52" fmla="*/ 911354 w 468"/>
                <a:gd name="T53" fmla="*/ 422526 h 298"/>
                <a:gd name="T54" fmla="*/ 946720 w 468"/>
                <a:gd name="T55" fmla="*/ 457493 h 298"/>
                <a:gd name="T56" fmla="*/ 1020172 w 468"/>
                <a:gd name="T57" fmla="*/ 451665 h 298"/>
                <a:gd name="T58" fmla="*/ 952161 w 468"/>
                <a:gd name="T59" fmla="*/ 518687 h 298"/>
                <a:gd name="T60" fmla="*/ 1003850 w 468"/>
                <a:gd name="T61" fmla="*/ 594450 h 298"/>
                <a:gd name="T62" fmla="*/ 1012011 w 468"/>
                <a:gd name="T63" fmla="*/ 641073 h 298"/>
                <a:gd name="T64" fmla="*/ 960322 w 468"/>
                <a:gd name="T65" fmla="*/ 722665 h 298"/>
                <a:gd name="T66" fmla="*/ 897752 w 468"/>
                <a:gd name="T67" fmla="*/ 798428 h 298"/>
                <a:gd name="T68" fmla="*/ 827020 w 468"/>
                <a:gd name="T69" fmla="*/ 824653 h 298"/>
                <a:gd name="T70" fmla="*/ 767170 w 468"/>
                <a:gd name="T71" fmla="*/ 856707 h 298"/>
                <a:gd name="T72" fmla="*/ 750847 w 468"/>
                <a:gd name="T73" fmla="*/ 842137 h 298"/>
                <a:gd name="T74" fmla="*/ 688276 w 468"/>
                <a:gd name="T75" fmla="*/ 827567 h 298"/>
                <a:gd name="T76" fmla="*/ 658351 w 468"/>
                <a:gd name="T77" fmla="*/ 801342 h 298"/>
                <a:gd name="T78" fmla="*/ 587619 w 468"/>
                <a:gd name="T79" fmla="*/ 821739 h 298"/>
                <a:gd name="T80" fmla="*/ 571296 w 468"/>
                <a:gd name="T81" fmla="*/ 845051 h 298"/>
                <a:gd name="T82" fmla="*/ 535931 w 468"/>
                <a:gd name="T83" fmla="*/ 824653 h 298"/>
                <a:gd name="T84" fmla="*/ 516887 w 468"/>
                <a:gd name="T85" fmla="*/ 780944 h 298"/>
                <a:gd name="T86" fmla="*/ 522328 w 468"/>
                <a:gd name="T87" fmla="*/ 737234 h 298"/>
                <a:gd name="T88" fmla="*/ 503285 w 468"/>
                <a:gd name="T89" fmla="*/ 676041 h 298"/>
                <a:gd name="T90" fmla="*/ 470639 w 468"/>
                <a:gd name="T91" fmla="*/ 655643 h 298"/>
                <a:gd name="T92" fmla="*/ 410789 w 468"/>
                <a:gd name="T93" fmla="*/ 678955 h 298"/>
                <a:gd name="T94" fmla="*/ 372703 w 468"/>
                <a:gd name="T95" fmla="*/ 681869 h 298"/>
                <a:gd name="T96" fmla="*/ 321014 w 468"/>
                <a:gd name="T97" fmla="*/ 699353 h 298"/>
                <a:gd name="T98" fmla="*/ 263885 w 468"/>
                <a:gd name="T99" fmla="*/ 684783 h 298"/>
                <a:gd name="T100" fmla="*/ 204034 w 468"/>
                <a:gd name="T101" fmla="*/ 652729 h 298"/>
                <a:gd name="T102" fmla="*/ 163228 w 468"/>
                <a:gd name="T103" fmla="*/ 626504 h 298"/>
                <a:gd name="T104" fmla="*/ 111539 w 468"/>
                <a:gd name="T105" fmla="*/ 603192 h 298"/>
                <a:gd name="T106" fmla="*/ 111539 w 468"/>
                <a:gd name="T107" fmla="*/ 544912 h 298"/>
                <a:gd name="T108" fmla="*/ 141464 w 468"/>
                <a:gd name="T109" fmla="*/ 501203 h 298"/>
                <a:gd name="T110" fmla="*/ 95216 w 468"/>
                <a:gd name="T111" fmla="*/ 504117 h 298"/>
                <a:gd name="T112" fmla="*/ 51689 w 468"/>
                <a:gd name="T113" fmla="*/ 483719 h 298"/>
                <a:gd name="T114" fmla="*/ 29925 w 468"/>
                <a:gd name="T115" fmla="*/ 451665 h 298"/>
                <a:gd name="T116" fmla="*/ 2720 w 468"/>
                <a:gd name="T117" fmla="*/ 402128 h 29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68" h="298">
                  <a:moveTo>
                    <a:pt x="2" y="136"/>
                  </a:moveTo>
                  <a:cubicBezTo>
                    <a:pt x="4" y="134"/>
                    <a:pt x="13" y="127"/>
                    <a:pt x="15" y="127"/>
                  </a:cubicBezTo>
                  <a:cubicBezTo>
                    <a:pt x="17" y="127"/>
                    <a:pt x="17" y="130"/>
                    <a:pt x="18" y="130"/>
                  </a:cubicBezTo>
                  <a:cubicBezTo>
                    <a:pt x="19" y="131"/>
                    <a:pt x="22" y="131"/>
                    <a:pt x="24" y="130"/>
                  </a:cubicBezTo>
                  <a:cubicBezTo>
                    <a:pt x="26" y="129"/>
                    <a:pt x="24" y="123"/>
                    <a:pt x="26" y="123"/>
                  </a:cubicBezTo>
                  <a:cubicBezTo>
                    <a:pt x="28" y="123"/>
                    <a:pt x="34" y="123"/>
                    <a:pt x="37" y="122"/>
                  </a:cubicBezTo>
                  <a:cubicBezTo>
                    <a:pt x="40" y="121"/>
                    <a:pt x="50" y="116"/>
                    <a:pt x="51" y="114"/>
                  </a:cubicBezTo>
                  <a:cubicBezTo>
                    <a:pt x="52" y="113"/>
                    <a:pt x="52" y="113"/>
                    <a:pt x="52" y="112"/>
                  </a:cubicBezTo>
                  <a:cubicBezTo>
                    <a:pt x="53" y="108"/>
                    <a:pt x="54" y="103"/>
                    <a:pt x="54" y="102"/>
                  </a:cubicBezTo>
                  <a:cubicBezTo>
                    <a:pt x="54" y="101"/>
                    <a:pt x="51" y="86"/>
                    <a:pt x="51" y="86"/>
                  </a:cubicBezTo>
                  <a:cubicBezTo>
                    <a:pt x="51" y="86"/>
                    <a:pt x="65" y="82"/>
                    <a:pt x="66" y="82"/>
                  </a:cubicBezTo>
                  <a:cubicBezTo>
                    <a:pt x="68" y="82"/>
                    <a:pt x="74" y="65"/>
                    <a:pt x="74" y="65"/>
                  </a:cubicBezTo>
                  <a:cubicBezTo>
                    <a:pt x="74" y="65"/>
                    <a:pt x="88" y="68"/>
                    <a:pt x="91" y="67"/>
                  </a:cubicBezTo>
                  <a:cubicBezTo>
                    <a:pt x="94" y="65"/>
                    <a:pt x="92" y="55"/>
                    <a:pt x="94" y="54"/>
                  </a:cubicBezTo>
                  <a:cubicBezTo>
                    <a:pt x="96" y="53"/>
                    <a:pt x="98" y="53"/>
                    <a:pt x="99" y="52"/>
                  </a:cubicBezTo>
                  <a:cubicBezTo>
                    <a:pt x="105" y="45"/>
                    <a:pt x="105" y="45"/>
                    <a:pt x="105" y="45"/>
                  </a:cubicBezTo>
                  <a:cubicBezTo>
                    <a:pt x="107" y="46"/>
                    <a:pt x="110" y="47"/>
                    <a:pt x="110" y="47"/>
                  </a:cubicBezTo>
                  <a:cubicBezTo>
                    <a:pt x="110" y="47"/>
                    <a:pt x="113" y="54"/>
                    <a:pt x="115" y="56"/>
                  </a:cubicBezTo>
                  <a:cubicBezTo>
                    <a:pt x="117" y="57"/>
                    <a:pt x="124" y="57"/>
                    <a:pt x="126" y="59"/>
                  </a:cubicBezTo>
                  <a:cubicBezTo>
                    <a:pt x="128" y="61"/>
                    <a:pt x="134" y="71"/>
                    <a:pt x="134" y="74"/>
                  </a:cubicBezTo>
                  <a:cubicBezTo>
                    <a:pt x="133" y="77"/>
                    <a:pt x="130" y="80"/>
                    <a:pt x="133" y="83"/>
                  </a:cubicBezTo>
                  <a:cubicBezTo>
                    <a:pt x="136" y="85"/>
                    <a:pt x="149" y="86"/>
                    <a:pt x="151" y="86"/>
                  </a:cubicBezTo>
                  <a:cubicBezTo>
                    <a:pt x="154" y="87"/>
                    <a:pt x="162" y="91"/>
                    <a:pt x="164" y="93"/>
                  </a:cubicBezTo>
                  <a:cubicBezTo>
                    <a:pt x="167" y="95"/>
                    <a:pt x="174" y="106"/>
                    <a:pt x="174" y="107"/>
                  </a:cubicBezTo>
                  <a:cubicBezTo>
                    <a:pt x="174" y="108"/>
                    <a:pt x="208" y="107"/>
                    <a:pt x="210" y="108"/>
                  </a:cubicBezTo>
                  <a:cubicBezTo>
                    <a:pt x="212" y="110"/>
                    <a:pt x="236" y="118"/>
                    <a:pt x="239" y="118"/>
                  </a:cubicBezTo>
                  <a:cubicBezTo>
                    <a:pt x="242" y="117"/>
                    <a:pt x="256" y="111"/>
                    <a:pt x="259" y="111"/>
                  </a:cubicBezTo>
                  <a:cubicBezTo>
                    <a:pt x="261" y="111"/>
                    <a:pt x="275" y="111"/>
                    <a:pt x="278" y="109"/>
                  </a:cubicBezTo>
                  <a:cubicBezTo>
                    <a:pt x="282" y="107"/>
                    <a:pt x="294" y="101"/>
                    <a:pt x="293" y="98"/>
                  </a:cubicBezTo>
                  <a:cubicBezTo>
                    <a:pt x="293" y="95"/>
                    <a:pt x="288" y="94"/>
                    <a:pt x="289" y="91"/>
                  </a:cubicBezTo>
                  <a:cubicBezTo>
                    <a:pt x="291" y="88"/>
                    <a:pt x="293" y="85"/>
                    <a:pt x="296" y="85"/>
                  </a:cubicBezTo>
                  <a:cubicBezTo>
                    <a:pt x="299" y="85"/>
                    <a:pt x="306" y="89"/>
                    <a:pt x="310" y="88"/>
                  </a:cubicBezTo>
                  <a:cubicBezTo>
                    <a:pt x="313" y="86"/>
                    <a:pt x="324" y="82"/>
                    <a:pt x="325" y="80"/>
                  </a:cubicBezTo>
                  <a:cubicBezTo>
                    <a:pt x="326" y="79"/>
                    <a:pt x="334" y="72"/>
                    <a:pt x="336" y="71"/>
                  </a:cubicBezTo>
                  <a:cubicBezTo>
                    <a:pt x="337" y="71"/>
                    <a:pt x="344" y="69"/>
                    <a:pt x="346" y="69"/>
                  </a:cubicBezTo>
                  <a:cubicBezTo>
                    <a:pt x="348" y="69"/>
                    <a:pt x="352" y="74"/>
                    <a:pt x="353" y="73"/>
                  </a:cubicBezTo>
                  <a:cubicBezTo>
                    <a:pt x="354" y="73"/>
                    <a:pt x="355" y="71"/>
                    <a:pt x="355" y="70"/>
                  </a:cubicBezTo>
                  <a:cubicBezTo>
                    <a:pt x="356" y="70"/>
                    <a:pt x="356" y="66"/>
                    <a:pt x="354" y="64"/>
                  </a:cubicBezTo>
                  <a:cubicBezTo>
                    <a:pt x="352" y="62"/>
                    <a:pt x="345" y="57"/>
                    <a:pt x="342" y="57"/>
                  </a:cubicBezTo>
                  <a:cubicBezTo>
                    <a:pt x="339" y="57"/>
                    <a:pt x="334" y="61"/>
                    <a:pt x="333" y="61"/>
                  </a:cubicBezTo>
                  <a:cubicBezTo>
                    <a:pt x="331" y="61"/>
                    <a:pt x="325" y="61"/>
                    <a:pt x="324" y="61"/>
                  </a:cubicBezTo>
                  <a:cubicBezTo>
                    <a:pt x="323" y="61"/>
                    <a:pt x="320" y="57"/>
                    <a:pt x="320" y="56"/>
                  </a:cubicBezTo>
                  <a:cubicBezTo>
                    <a:pt x="319" y="55"/>
                    <a:pt x="329" y="41"/>
                    <a:pt x="329" y="40"/>
                  </a:cubicBezTo>
                  <a:cubicBezTo>
                    <a:pt x="330" y="40"/>
                    <a:pt x="340" y="43"/>
                    <a:pt x="341" y="42"/>
                  </a:cubicBezTo>
                  <a:cubicBezTo>
                    <a:pt x="342" y="41"/>
                    <a:pt x="349" y="37"/>
                    <a:pt x="350" y="35"/>
                  </a:cubicBezTo>
                  <a:cubicBezTo>
                    <a:pt x="350" y="33"/>
                    <a:pt x="357" y="24"/>
                    <a:pt x="359" y="21"/>
                  </a:cubicBezTo>
                  <a:cubicBezTo>
                    <a:pt x="361" y="18"/>
                    <a:pt x="361" y="15"/>
                    <a:pt x="360" y="14"/>
                  </a:cubicBezTo>
                  <a:cubicBezTo>
                    <a:pt x="360" y="13"/>
                    <a:pt x="354" y="13"/>
                    <a:pt x="354" y="11"/>
                  </a:cubicBezTo>
                  <a:cubicBezTo>
                    <a:pt x="354" y="9"/>
                    <a:pt x="358" y="5"/>
                    <a:pt x="362" y="4"/>
                  </a:cubicBezTo>
                  <a:cubicBezTo>
                    <a:pt x="365" y="3"/>
                    <a:pt x="381" y="0"/>
                    <a:pt x="385" y="3"/>
                  </a:cubicBezTo>
                  <a:cubicBezTo>
                    <a:pt x="390" y="6"/>
                    <a:pt x="399" y="7"/>
                    <a:pt x="400" y="9"/>
                  </a:cubicBezTo>
                  <a:cubicBezTo>
                    <a:pt x="402" y="11"/>
                    <a:pt x="411" y="33"/>
                    <a:pt x="412" y="35"/>
                  </a:cubicBezTo>
                  <a:cubicBezTo>
                    <a:pt x="412" y="38"/>
                    <a:pt x="412" y="40"/>
                    <a:pt x="415" y="42"/>
                  </a:cubicBezTo>
                  <a:cubicBezTo>
                    <a:pt x="418" y="44"/>
                    <a:pt x="432" y="46"/>
                    <a:pt x="434" y="48"/>
                  </a:cubicBezTo>
                  <a:cubicBezTo>
                    <a:pt x="436" y="50"/>
                    <a:pt x="439" y="61"/>
                    <a:pt x="440" y="61"/>
                  </a:cubicBezTo>
                  <a:cubicBezTo>
                    <a:pt x="441" y="61"/>
                    <a:pt x="449" y="61"/>
                    <a:pt x="451" y="60"/>
                  </a:cubicBezTo>
                  <a:cubicBezTo>
                    <a:pt x="453" y="58"/>
                    <a:pt x="464" y="51"/>
                    <a:pt x="466" y="54"/>
                  </a:cubicBezTo>
                  <a:cubicBezTo>
                    <a:pt x="468" y="56"/>
                    <a:pt x="468" y="60"/>
                    <a:pt x="468" y="61"/>
                  </a:cubicBezTo>
                  <a:cubicBezTo>
                    <a:pt x="467" y="63"/>
                    <a:pt x="462" y="69"/>
                    <a:pt x="462" y="71"/>
                  </a:cubicBezTo>
                  <a:cubicBezTo>
                    <a:pt x="461" y="74"/>
                    <a:pt x="457" y="86"/>
                    <a:pt x="456" y="86"/>
                  </a:cubicBezTo>
                  <a:cubicBezTo>
                    <a:pt x="456" y="86"/>
                    <a:pt x="447" y="84"/>
                    <a:pt x="444" y="85"/>
                  </a:cubicBezTo>
                  <a:cubicBezTo>
                    <a:pt x="442" y="86"/>
                    <a:pt x="437" y="87"/>
                    <a:pt x="439" y="89"/>
                  </a:cubicBezTo>
                  <a:cubicBezTo>
                    <a:pt x="440" y="91"/>
                    <a:pt x="439" y="103"/>
                    <a:pt x="437" y="104"/>
                  </a:cubicBezTo>
                  <a:cubicBezTo>
                    <a:pt x="437" y="104"/>
                    <a:pt x="435" y="104"/>
                    <a:pt x="434" y="105"/>
                  </a:cubicBezTo>
                  <a:cubicBezTo>
                    <a:pt x="433" y="105"/>
                    <a:pt x="432" y="105"/>
                    <a:pt x="431" y="105"/>
                  </a:cubicBezTo>
                  <a:cubicBezTo>
                    <a:pt x="428" y="106"/>
                    <a:pt x="426" y="111"/>
                    <a:pt x="425" y="112"/>
                  </a:cubicBezTo>
                  <a:cubicBezTo>
                    <a:pt x="423" y="112"/>
                    <a:pt x="418" y="114"/>
                    <a:pt x="417" y="115"/>
                  </a:cubicBezTo>
                  <a:cubicBezTo>
                    <a:pt x="416" y="116"/>
                    <a:pt x="418" y="119"/>
                    <a:pt x="415" y="119"/>
                  </a:cubicBezTo>
                  <a:cubicBezTo>
                    <a:pt x="413" y="119"/>
                    <a:pt x="408" y="116"/>
                    <a:pt x="405" y="118"/>
                  </a:cubicBezTo>
                  <a:cubicBezTo>
                    <a:pt x="402" y="120"/>
                    <a:pt x="400" y="125"/>
                    <a:pt x="398" y="126"/>
                  </a:cubicBezTo>
                  <a:cubicBezTo>
                    <a:pt x="396" y="127"/>
                    <a:pt x="390" y="130"/>
                    <a:pt x="390" y="131"/>
                  </a:cubicBezTo>
                  <a:cubicBezTo>
                    <a:pt x="388" y="134"/>
                    <a:pt x="388" y="134"/>
                    <a:pt x="388" y="134"/>
                  </a:cubicBezTo>
                  <a:cubicBezTo>
                    <a:pt x="387" y="134"/>
                    <a:pt x="387" y="134"/>
                    <a:pt x="386" y="134"/>
                  </a:cubicBezTo>
                  <a:cubicBezTo>
                    <a:pt x="384" y="134"/>
                    <a:pt x="376" y="139"/>
                    <a:pt x="373" y="141"/>
                  </a:cubicBezTo>
                  <a:cubicBezTo>
                    <a:pt x="371" y="142"/>
                    <a:pt x="367" y="141"/>
                    <a:pt x="366" y="139"/>
                  </a:cubicBezTo>
                  <a:cubicBezTo>
                    <a:pt x="366" y="137"/>
                    <a:pt x="370" y="131"/>
                    <a:pt x="371" y="130"/>
                  </a:cubicBezTo>
                  <a:cubicBezTo>
                    <a:pt x="372" y="129"/>
                    <a:pt x="373" y="127"/>
                    <a:pt x="370" y="125"/>
                  </a:cubicBezTo>
                  <a:cubicBezTo>
                    <a:pt x="367" y="123"/>
                    <a:pt x="362" y="125"/>
                    <a:pt x="361" y="126"/>
                  </a:cubicBezTo>
                  <a:cubicBezTo>
                    <a:pt x="359" y="128"/>
                    <a:pt x="352" y="136"/>
                    <a:pt x="350" y="138"/>
                  </a:cubicBezTo>
                  <a:cubicBezTo>
                    <a:pt x="348" y="140"/>
                    <a:pt x="343" y="140"/>
                    <a:pt x="341" y="140"/>
                  </a:cubicBezTo>
                  <a:cubicBezTo>
                    <a:pt x="339" y="139"/>
                    <a:pt x="335" y="142"/>
                    <a:pt x="335" y="145"/>
                  </a:cubicBezTo>
                  <a:cubicBezTo>
                    <a:pt x="335" y="148"/>
                    <a:pt x="339" y="150"/>
                    <a:pt x="341" y="150"/>
                  </a:cubicBezTo>
                  <a:cubicBezTo>
                    <a:pt x="344" y="150"/>
                    <a:pt x="345" y="149"/>
                    <a:pt x="347" y="149"/>
                  </a:cubicBezTo>
                  <a:cubicBezTo>
                    <a:pt x="348" y="149"/>
                    <a:pt x="347" y="156"/>
                    <a:pt x="348" y="157"/>
                  </a:cubicBezTo>
                  <a:cubicBezTo>
                    <a:pt x="349" y="158"/>
                    <a:pt x="353" y="159"/>
                    <a:pt x="355" y="158"/>
                  </a:cubicBezTo>
                  <a:cubicBezTo>
                    <a:pt x="356" y="156"/>
                    <a:pt x="359" y="153"/>
                    <a:pt x="360" y="152"/>
                  </a:cubicBezTo>
                  <a:cubicBezTo>
                    <a:pt x="362" y="151"/>
                    <a:pt x="374" y="155"/>
                    <a:pt x="375" y="155"/>
                  </a:cubicBezTo>
                  <a:cubicBezTo>
                    <a:pt x="377" y="156"/>
                    <a:pt x="374" y="159"/>
                    <a:pt x="374" y="161"/>
                  </a:cubicBezTo>
                  <a:cubicBezTo>
                    <a:pt x="374" y="162"/>
                    <a:pt x="366" y="162"/>
                    <a:pt x="363" y="164"/>
                  </a:cubicBezTo>
                  <a:cubicBezTo>
                    <a:pt x="359" y="167"/>
                    <a:pt x="348" y="176"/>
                    <a:pt x="350" y="178"/>
                  </a:cubicBezTo>
                  <a:cubicBezTo>
                    <a:pt x="352" y="180"/>
                    <a:pt x="357" y="182"/>
                    <a:pt x="358" y="184"/>
                  </a:cubicBezTo>
                  <a:cubicBezTo>
                    <a:pt x="359" y="186"/>
                    <a:pt x="362" y="193"/>
                    <a:pt x="362" y="195"/>
                  </a:cubicBezTo>
                  <a:cubicBezTo>
                    <a:pt x="363" y="197"/>
                    <a:pt x="369" y="202"/>
                    <a:pt x="369" y="204"/>
                  </a:cubicBezTo>
                  <a:cubicBezTo>
                    <a:pt x="369" y="207"/>
                    <a:pt x="370" y="210"/>
                    <a:pt x="369" y="211"/>
                  </a:cubicBezTo>
                  <a:cubicBezTo>
                    <a:pt x="369" y="212"/>
                    <a:pt x="359" y="216"/>
                    <a:pt x="359" y="217"/>
                  </a:cubicBezTo>
                  <a:cubicBezTo>
                    <a:pt x="359" y="218"/>
                    <a:pt x="372" y="218"/>
                    <a:pt x="372" y="220"/>
                  </a:cubicBezTo>
                  <a:cubicBezTo>
                    <a:pt x="372" y="222"/>
                    <a:pt x="370" y="226"/>
                    <a:pt x="369" y="229"/>
                  </a:cubicBezTo>
                  <a:cubicBezTo>
                    <a:pt x="367" y="231"/>
                    <a:pt x="360" y="239"/>
                    <a:pt x="358" y="242"/>
                  </a:cubicBezTo>
                  <a:cubicBezTo>
                    <a:pt x="357" y="244"/>
                    <a:pt x="353" y="245"/>
                    <a:pt x="353" y="248"/>
                  </a:cubicBezTo>
                  <a:cubicBezTo>
                    <a:pt x="353" y="250"/>
                    <a:pt x="354" y="255"/>
                    <a:pt x="353" y="256"/>
                  </a:cubicBezTo>
                  <a:cubicBezTo>
                    <a:pt x="351" y="257"/>
                    <a:pt x="344" y="262"/>
                    <a:pt x="342" y="264"/>
                  </a:cubicBezTo>
                  <a:cubicBezTo>
                    <a:pt x="340" y="266"/>
                    <a:pt x="331" y="273"/>
                    <a:pt x="330" y="274"/>
                  </a:cubicBezTo>
                  <a:cubicBezTo>
                    <a:pt x="329" y="276"/>
                    <a:pt x="321" y="280"/>
                    <a:pt x="318" y="280"/>
                  </a:cubicBezTo>
                  <a:cubicBezTo>
                    <a:pt x="314" y="280"/>
                    <a:pt x="311" y="282"/>
                    <a:pt x="309" y="280"/>
                  </a:cubicBezTo>
                  <a:cubicBezTo>
                    <a:pt x="307" y="277"/>
                    <a:pt x="305" y="281"/>
                    <a:pt x="304" y="283"/>
                  </a:cubicBezTo>
                  <a:cubicBezTo>
                    <a:pt x="303" y="285"/>
                    <a:pt x="302" y="287"/>
                    <a:pt x="299" y="287"/>
                  </a:cubicBezTo>
                  <a:cubicBezTo>
                    <a:pt x="296" y="287"/>
                    <a:pt x="286" y="288"/>
                    <a:pt x="284" y="289"/>
                  </a:cubicBezTo>
                  <a:cubicBezTo>
                    <a:pt x="283" y="291"/>
                    <a:pt x="281" y="291"/>
                    <a:pt x="282" y="294"/>
                  </a:cubicBezTo>
                  <a:cubicBezTo>
                    <a:pt x="283" y="296"/>
                    <a:pt x="283" y="298"/>
                    <a:pt x="280" y="298"/>
                  </a:cubicBezTo>
                  <a:cubicBezTo>
                    <a:pt x="278" y="298"/>
                    <a:pt x="278" y="298"/>
                    <a:pt x="277" y="297"/>
                  </a:cubicBezTo>
                  <a:cubicBezTo>
                    <a:pt x="277" y="295"/>
                    <a:pt x="277" y="290"/>
                    <a:pt x="276" y="289"/>
                  </a:cubicBezTo>
                  <a:cubicBezTo>
                    <a:pt x="275" y="287"/>
                    <a:pt x="268" y="286"/>
                    <a:pt x="266" y="287"/>
                  </a:cubicBezTo>
                  <a:cubicBezTo>
                    <a:pt x="265" y="287"/>
                    <a:pt x="264" y="288"/>
                    <a:pt x="263" y="289"/>
                  </a:cubicBezTo>
                  <a:cubicBezTo>
                    <a:pt x="263" y="289"/>
                    <a:pt x="254" y="284"/>
                    <a:pt x="253" y="284"/>
                  </a:cubicBezTo>
                  <a:cubicBezTo>
                    <a:pt x="252" y="283"/>
                    <a:pt x="256" y="279"/>
                    <a:pt x="254" y="278"/>
                  </a:cubicBezTo>
                  <a:cubicBezTo>
                    <a:pt x="252" y="277"/>
                    <a:pt x="249" y="277"/>
                    <a:pt x="247" y="277"/>
                  </a:cubicBezTo>
                  <a:cubicBezTo>
                    <a:pt x="246" y="276"/>
                    <a:pt x="243" y="275"/>
                    <a:pt x="242" y="275"/>
                  </a:cubicBezTo>
                  <a:cubicBezTo>
                    <a:pt x="241" y="276"/>
                    <a:pt x="227" y="280"/>
                    <a:pt x="225" y="280"/>
                  </a:cubicBezTo>
                  <a:cubicBezTo>
                    <a:pt x="225" y="280"/>
                    <a:pt x="223" y="281"/>
                    <a:pt x="221" y="281"/>
                  </a:cubicBezTo>
                  <a:cubicBezTo>
                    <a:pt x="219" y="281"/>
                    <a:pt x="217" y="281"/>
                    <a:pt x="216" y="282"/>
                  </a:cubicBezTo>
                  <a:cubicBezTo>
                    <a:pt x="215" y="282"/>
                    <a:pt x="216" y="290"/>
                    <a:pt x="215" y="291"/>
                  </a:cubicBezTo>
                  <a:cubicBezTo>
                    <a:pt x="214" y="291"/>
                    <a:pt x="213" y="289"/>
                    <a:pt x="212" y="289"/>
                  </a:cubicBezTo>
                  <a:cubicBezTo>
                    <a:pt x="211" y="289"/>
                    <a:pt x="211" y="289"/>
                    <a:pt x="210" y="290"/>
                  </a:cubicBezTo>
                  <a:cubicBezTo>
                    <a:pt x="207" y="286"/>
                    <a:pt x="207" y="286"/>
                    <a:pt x="207" y="286"/>
                  </a:cubicBezTo>
                  <a:cubicBezTo>
                    <a:pt x="207" y="286"/>
                    <a:pt x="204" y="286"/>
                    <a:pt x="203" y="286"/>
                  </a:cubicBezTo>
                  <a:cubicBezTo>
                    <a:pt x="201" y="286"/>
                    <a:pt x="199" y="285"/>
                    <a:pt x="197" y="283"/>
                  </a:cubicBezTo>
                  <a:cubicBezTo>
                    <a:pt x="195" y="281"/>
                    <a:pt x="200" y="277"/>
                    <a:pt x="198" y="276"/>
                  </a:cubicBezTo>
                  <a:cubicBezTo>
                    <a:pt x="197" y="275"/>
                    <a:pt x="193" y="272"/>
                    <a:pt x="193" y="271"/>
                  </a:cubicBezTo>
                  <a:cubicBezTo>
                    <a:pt x="193" y="269"/>
                    <a:pt x="192" y="268"/>
                    <a:pt x="190" y="268"/>
                  </a:cubicBezTo>
                  <a:cubicBezTo>
                    <a:pt x="189" y="268"/>
                    <a:pt x="186" y="270"/>
                    <a:pt x="184" y="269"/>
                  </a:cubicBezTo>
                  <a:cubicBezTo>
                    <a:pt x="183" y="268"/>
                    <a:pt x="183" y="265"/>
                    <a:pt x="184" y="263"/>
                  </a:cubicBezTo>
                  <a:cubicBezTo>
                    <a:pt x="185" y="260"/>
                    <a:pt x="192" y="255"/>
                    <a:pt x="192" y="253"/>
                  </a:cubicBezTo>
                  <a:cubicBezTo>
                    <a:pt x="193" y="251"/>
                    <a:pt x="194" y="241"/>
                    <a:pt x="193" y="239"/>
                  </a:cubicBezTo>
                  <a:cubicBezTo>
                    <a:pt x="192" y="238"/>
                    <a:pt x="191" y="239"/>
                    <a:pt x="189" y="238"/>
                  </a:cubicBezTo>
                  <a:cubicBezTo>
                    <a:pt x="188" y="237"/>
                    <a:pt x="188" y="233"/>
                    <a:pt x="185" y="232"/>
                  </a:cubicBezTo>
                  <a:cubicBezTo>
                    <a:pt x="183" y="232"/>
                    <a:pt x="182" y="234"/>
                    <a:pt x="181" y="234"/>
                  </a:cubicBezTo>
                  <a:cubicBezTo>
                    <a:pt x="179" y="234"/>
                    <a:pt x="175" y="234"/>
                    <a:pt x="174" y="233"/>
                  </a:cubicBezTo>
                  <a:cubicBezTo>
                    <a:pt x="173" y="232"/>
                    <a:pt x="175" y="226"/>
                    <a:pt x="173" y="225"/>
                  </a:cubicBezTo>
                  <a:cubicBezTo>
                    <a:pt x="172" y="224"/>
                    <a:pt x="167" y="227"/>
                    <a:pt x="165" y="226"/>
                  </a:cubicBezTo>
                  <a:cubicBezTo>
                    <a:pt x="163" y="225"/>
                    <a:pt x="162" y="225"/>
                    <a:pt x="160" y="226"/>
                  </a:cubicBezTo>
                  <a:cubicBezTo>
                    <a:pt x="158" y="227"/>
                    <a:pt x="154" y="232"/>
                    <a:pt x="151" y="233"/>
                  </a:cubicBezTo>
                  <a:cubicBezTo>
                    <a:pt x="149" y="233"/>
                    <a:pt x="144" y="236"/>
                    <a:pt x="142" y="237"/>
                  </a:cubicBezTo>
                  <a:cubicBezTo>
                    <a:pt x="141" y="237"/>
                    <a:pt x="140" y="238"/>
                    <a:pt x="140" y="238"/>
                  </a:cubicBezTo>
                  <a:cubicBezTo>
                    <a:pt x="138" y="237"/>
                    <a:pt x="138" y="234"/>
                    <a:pt x="137" y="234"/>
                  </a:cubicBezTo>
                  <a:cubicBezTo>
                    <a:pt x="135" y="234"/>
                    <a:pt x="130" y="233"/>
                    <a:pt x="128" y="233"/>
                  </a:cubicBezTo>
                  <a:cubicBezTo>
                    <a:pt x="126" y="233"/>
                    <a:pt x="122" y="234"/>
                    <a:pt x="121" y="236"/>
                  </a:cubicBezTo>
                  <a:cubicBezTo>
                    <a:pt x="120" y="237"/>
                    <a:pt x="120" y="241"/>
                    <a:pt x="118" y="240"/>
                  </a:cubicBezTo>
                  <a:cubicBezTo>
                    <a:pt x="116" y="239"/>
                    <a:pt x="118" y="235"/>
                    <a:pt x="116" y="234"/>
                  </a:cubicBezTo>
                  <a:cubicBezTo>
                    <a:pt x="113" y="234"/>
                    <a:pt x="114" y="237"/>
                    <a:pt x="110" y="237"/>
                  </a:cubicBezTo>
                  <a:cubicBezTo>
                    <a:pt x="105" y="237"/>
                    <a:pt x="101" y="236"/>
                    <a:pt x="97" y="235"/>
                  </a:cubicBezTo>
                  <a:cubicBezTo>
                    <a:pt x="94" y="234"/>
                    <a:pt x="89" y="233"/>
                    <a:pt x="86" y="231"/>
                  </a:cubicBezTo>
                  <a:cubicBezTo>
                    <a:pt x="83" y="229"/>
                    <a:pt x="81" y="225"/>
                    <a:pt x="81" y="225"/>
                  </a:cubicBezTo>
                  <a:cubicBezTo>
                    <a:pt x="75" y="224"/>
                    <a:pt x="75" y="224"/>
                    <a:pt x="75" y="224"/>
                  </a:cubicBezTo>
                  <a:cubicBezTo>
                    <a:pt x="75" y="224"/>
                    <a:pt x="72" y="221"/>
                    <a:pt x="70" y="220"/>
                  </a:cubicBezTo>
                  <a:cubicBezTo>
                    <a:pt x="68" y="219"/>
                    <a:pt x="65" y="215"/>
                    <a:pt x="65" y="215"/>
                  </a:cubicBezTo>
                  <a:cubicBezTo>
                    <a:pt x="60" y="215"/>
                    <a:pt x="60" y="215"/>
                    <a:pt x="60" y="215"/>
                  </a:cubicBezTo>
                  <a:cubicBezTo>
                    <a:pt x="57" y="218"/>
                    <a:pt x="57" y="218"/>
                    <a:pt x="57" y="218"/>
                  </a:cubicBezTo>
                  <a:cubicBezTo>
                    <a:pt x="57" y="218"/>
                    <a:pt x="57" y="217"/>
                    <a:pt x="56" y="217"/>
                  </a:cubicBezTo>
                  <a:cubicBezTo>
                    <a:pt x="53" y="215"/>
                    <a:pt x="41" y="208"/>
                    <a:pt x="41" y="207"/>
                  </a:cubicBezTo>
                  <a:cubicBezTo>
                    <a:pt x="41" y="206"/>
                    <a:pt x="38" y="198"/>
                    <a:pt x="38" y="198"/>
                  </a:cubicBezTo>
                  <a:cubicBezTo>
                    <a:pt x="38" y="198"/>
                    <a:pt x="45" y="197"/>
                    <a:pt x="46" y="196"/>
                  </a:cubicBezTo>
                  <a:cubicBezTo>
                    <a:pt x="46" y="195"/>
                    <a:pt x="41" y="187"/>
                    <a:pt x="41" y="187"/>
                  </a:cubicBezTo>
                  <a:cubicBezTo>
                    <a:pt x="46" y="186"/>
                    <a:pt x="46" y="186"/>
                    <a:pt x="46" y="186"/>
                  </a:cubicBezTo>
                  <a:cubicBezTo>
                    <a:pt x="47" y="186"/>
                    <a:pt x="50" y="180"/>
                    <a:pt x="51" y="179"/>
                  </a:cubicBezTo>
                  <a:cubicBezTo>
                    <a:pt x="52" y="178"/>
                    <a:pt x="52" y="174"/>
                    <a:pt x="52" y="172"/>
                  </a:cubicBezTo>
                  <a:cubicBezTo>
                    <a:pt x="51" y="171"/>
                    <a:pt x="46" y="169"/>
                    <a:pt x="45" y="169"/>
                  </a:cubicBezTo>
                  <a:cubicBezTo>
                    <a:pt x="44" y="169"/>
                    <a:pt x="42" y="169"/>
                    <a:pt x="41" y="169"/>
                  </a:cubicBezTo>
                  <a:cubicBezTo>
                    <a:pt x="35" y="173"/>
                    <a:pt x="35" y="173"/>
                    <a:pt x="35" y="173"/>
                  </a:cubicBezTo>
                  <a:cubicBezTo>
                    <a:pt x="35" y="172"/>
                    <a:pt x="33" y="172"/>
                    <a:pt x="31" y="172"/>
                  </a:cubicBezTo>
                  <a:cubicBezTo>
                    <a:pt x="29" y="172"/>
                    <a:pt x="27" y="172"/>
                    <a:pt x="26" y="171"/>
                  </a:cubicBezTo>
                  <a:cubicBezTo>
                    <a:pt x="23" y="169"/>
                    <a:pt x="21" y="169"/>
                    <a:pt x="19" y="166"/>
                  </a:cubicBezTo>
                  <a:cubicBezTo>
                    <a:pt x="17" y="163"/>
                    <a:pt x="13" y="161"/>
                    <a:pt x="12" y="160"/>
                  </a:cubicBezTo>
                  <a:cubicBezTo>
                    <a:pt x="10" y="160"/>
                    <a:pt x="11" y="160"/>
                    <a:pt x="11" y="156"/>
                  </a:cubicBezTo>
                  <a:cubicBezTo>
                    <a:pt x="11" y="156"/>
                    <a:pt x="11" y="155"/>
                    <a:pt x="11" y="155"/>
                  </a:cubicBezTo>
                  <a:cubicBezTo>
                    <a:pt x="11" y="151"/>
                    <a:pt x="11" y="147"/>
                    <a:pt x="10" y="147"/>
                  </a:cubicBezTo>
                  <a:cubicBezTo>
                    <a:pt x="8" y="146"/>
                    <a:pt x="5" y="146"/>
                    <a:pt x="3" y="145"/>
                  </a:cubicBezTo>
                  <a:cubicBezTo>
                    <a:pt x="1" y="144"/>
                    <a:pt x="0" y="141"/>
                    <a:pt x="1" y="138"/>
                  </a:cubicBezTo>
                  <a:cubicBezTo>
                    <a:pt x="1" y="137"/>
                    <a:pt x="1" y="136"/>
                    <a:pt x="2" y="13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6" name="Freeform 144"/>
            <p:cNvSpPr>
              <a:spLocks/>
            </p:cNvSpPr>
            <p:nvPr>
              <p:custDataLst>
                <p:tags r:id="rId85"/>
              </p:custDataLst>
            </p:nvPr>
          </p:nvSpPr>
          <p:spPr bwMode="auto">
            <a:xfrm>
              <a:off x="5057" y="2979"/>
              <a:ext cx="20" cy="26"/>
            </a:xfrm>
            <a:custGeom>
              <a:avLst/>
              <a:gdLst>
                <a:gd name="T0" fmla="*/ 26458 w 12"/>
                <a:gd name="T1" fmla="*/ 8845 h 14"/>
                <a:gd name="T2" fmla="*/ 26458 w 12"/>
                <a:gd name="T3" fmla="*/ 32430 h 14"/>
                <a:gd name="T4" fmla="*/ 10583 w 12"/>
                <a:gd name="T5" fmla="*/ 41275 h 14"/>
                <a:gd name="T6" fmla="*/ 0 w 12"/>
                <a:gd name="T7" fmla="*/ 26534 h 14"/>
                <a:gd name="T8" fmla="*/ 10583 w 12"/>
                <a:gd name="T9" fmla="*/ 14741 h 14"/>
                <a:gd name="T10" fmla="*/ 26458 w 12"/>
                <a:gd name="T11" fmla="*/ 8845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0" y="3"/>
                  </a:moveTo>
                  <a:cubicBezTo>
                    <a:pt x="12" y="6"/>
                    <a:pt x="10" y="9"/>
                    <a:pt x="10" y="11"/>
                  </a:cubicBezTo>
                  <a:cubicBezTo>
                    <a:pt x="10" y="13"/>
                    <a:pt x="7" y="14"/>
                    <a:pt x="4" y="14"/>
                  </a:cubicBezTo>
                  <a:cubicBezTo>
                    <a:pt x="1" y="14"/>
                    <a:pt x="0" y="11"/>
                    <a:pt x="0" y="9"/>
                  </a:cubicBezTo>
                  <a:cubicBezTo>
                    <a:pt x="0" y="8"/>
                    <a:pt x="2" y="6"/>
                    <a:pt x="4" y="5"/>
                  </a:cubicBezTo>
                  <a:cubicBezTo>
                    <a:pt x="4" y="5"/>
                    <a:pt x="10" y="0"/>
                    <a:pt x="10"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7" name="Freeform 146"/>
            <p:cNvSpPr>
              <a:spLocks/>
            </p:cNvSpPr>
            <p:nvPr>
              <p:custDataLst>
                <p:tags r:id="rId86"/>
              </p:custDataLst>
            </p:nvPr>
          </p:nvSpPr>
          <p:spPr bwMode="auto">
            <a:xfrm>
              <a:off x="4994" y="3253"/>
              <a:ext cx="78" cy="114"/>
            </a:xfrm>
            <a:custGeom>
              <a:avLst/>
              <a:gdLst>
                <a:gd name="T0" fmla="*/ 24227 w 46"/>
                <a:gd name="T1" fmla="*/ 122596 h 62"/>
                <a:gd name="T2" fmla="*/ 43070 w 46"/>
                <a:gd name="T3" fmla="*/ 110920 h 62"/>
                <a:gd name="T4" fmla="*/ 45761 w 46"/>
                <a:gd name="T5" fmla="*/ 84650 h 62"/>
                <a:gd name="T6" fmla="*/ 8076 w 46"/>
                <a:gd name="T7" fmla="*/ 17514 h 62"/>
                <a:gd name="T8" fmla="*/ 5384 w 46"/>
                <a:gd name="T9" fmla="*/ 0 h 62"/>
                <a:gd name="T10" fmla="*/ 34994 w 46"/>
                <a:gd name="T11" fmla="*/ 14595 h 62"/>
                <a:gd name="T12" fmla="*/ 53837 w 46"/>
                <a:gd name="T13" fmla="*/ 52541 h 62"/>
                <a:gd name="T14" fmla="*/ 67296 w 46"/>
                <a:gd name="T15" fmla="*/ 49622 h 62"/>
                <a:gd name="T16" fmla="*/ 75372 w 46"/>
                <a:gd name="T17" fmla="*/ 78812 h 62"/>
                <a:gd name="T18" fmla="*/ 96907 w 46"/>
                <a:gd name="T19" fmla="*/ 81731 h 62"/>
                <a:gd name="T20" fmla="*/ 118441 w 46"/>
                <a:gd name="T21" fmla="*/ 72974 h 62"/>
                <a:gd name="T22" fmla="*/ 118441 w 46"/>
                <a:gd name="T23" fmla="*/ 99244 h 62"/>
                <a:gd name="T24" fmla="*/ 107674 w 46"/>
                <a:gd name="T25" fmla="*/ 116758 h 62"/>
                <a:gd name="T26" fmla="*/ 86139 w 46"/>
                <a:gd name="T27" fmla="*/ 116758 h 62"/>
                <a:gd name="T28" fmla="*/ 91523 w 46"/>
                <a:gd name="T29" fmla="*/ 137191 h 62"/>
                <a:gd name="T30" fmla="*/ 67296 w 46"/>
                <a:gd name="T31" fmla="*/ 175137 h 62"/>
                <a:gd name="T32" fmla="*/ 53837 w 46"/>
                <a:gd name="T33" fmla="*/ 169299 h 62"/>
                <a:gd name="T34" fmla="*/ 45761 w 46"/>
                <a:gd name="T35" fmla="*/ 166380 h 62"/>
                <a:gd name="T36" fmla="*/ 53837 w 46"/>
                <a:gd name="T37" fmla="*/ 145948 h 62"/>
                <a:gd name="T38" fmla="*/ 24227 w 46"/>
                <a:gd name="T39" fmla="*/ 122596 h 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6" h="62">
                  <a:moveTo>
                    <a:pt x="9" y="42"/>
                  </a:moveTo>
                  <a:cubicBezTo>
                    <a:pt x="9" y="39"/>
                    <a:pt x="16" y="39"/>
                    <a:pt x="16" y="38"/>
                  </a:cubicBezTo>
                  <a:cubicBezTo>
                    <a:pt x="16" y="37"/>
                    <a:pt x="18" y="30"/>
                    <a:pt x="17" y="29"/>
                  </a:cubicBezTo>
                  <a:cubicBezTo>
                    <a:pt x="17" y="28"/>
                    <a:pt x="4" y="7"/>
                    <a:pt x="3" y="6"/>
                  </a:cubicBezTo>
                  <a:cubicBezTo>
                    <a:pt x="2" y="4"/>
                    <a:pt x="0" y="0"/>
                    <a:pt x="2" y="0"/>
                  </a:cubicBezTo>
                  <a:cubicBezTo>
                    <a:pt x="5" y="0"/>
                    <a:pt x="11" y="4"/>
                    <a:pt x="13" y="5"/>
                  </a:cubicBezTo>
                  <a:cubicBezTo>
                    <a:pt x="14" y="7"/>
                    <a:pt x="19" y="18"/>
                    <a:pt x="20" y="18"/>
                  </a:cubicBezTo>
                  <a:cubicBezTo>
                    <a:pt x="20" y="18"/>
                    <a:pt x="24" y="15"/>
                    <a:pt x="25" y="17"/>
                  </a:cubicBezTo>
                  <a:cubicBezTo>
                    <a:pt x="27" y="19"/>
                    <a:pt x="26" y="26"/>
                    <a:pt x="28" y="27"/>
                  </a:cubicBezTo>
                  <a:cubicBezTo>
                    <a:pt x="30" y="27"/>
                    <a:pt x="35" y="30"/>
                    <a:pt x="36" y="28"/>
                  </a:cubicBezTo>
                  <a:cubicBezTo>
                    <a:pt x="37" y="27"/>
                    <a:pt x="42" y="24"/>
                    <a:pt x="44" y="25"/>
                  </a:cubicBezTo>
                  <a:cubicBezTo>
                    <a:pt x="46" y="26"/>
                    <a:pt x="45" y="32"/>
                    <a:pt x="44" y="34"/>
                  </a:cubicBezTo>
                  <a:cubicBezTo>
                    <a:pt x="43" y="35"/>
                    <a:pt x="43" y="41"/>
                    <a:pt x="40" y="40"/>
                  </a:cubicBezTo>
                  <a:cubicBezTo>
                    <a:pt x="38" y="39"/>
                    <a:pt x="35" y="38"/>
                    <a:pt x="32" y="40"/>
                  </a:cubicBezTo>
                  <a:cubicBezTo>
                    <a:pt x="30" y="43"/>
                    <a:pt x="35" y="45"/>
                    <a:pt x="34" y="47"/>
                  </a:cubicBezTo>
                  <a:cubicBezTo>
                    <a:pt x="33" y="48"/>
                    <a:pt x="28" y="58"/>
                    <a:pt x="25" y="60"/>
                  </a:cubicBezTo>
                  <a:cubicBezTo>
                    <a:pt x="23" y="62"/>
                    <a:pt x="23" y="61"/>
                    <a:pt x="20" y="58"/>
                  </a:cubicBezTo>
                  <a:cubicBezTo>
                    <a:pt x="19" y="57"/>
                    <a:pt x="17" y="58"/>
                    <a:pt x="17" y="57"/>
                  </a:cubicBezTo>
                  <a:cubicBezTo>
                    <a:pt x="17" y="56"/>
                    <a:pt x="22" y="54"/>
                    <a:pt x="20" y="50"/>
                  </a:cubicBezTo>
                  <a:cubicBezTo>
                    <a:pt x="18" y="46"/>
                    <a:pt x="10" y="45"/>
                    <a:pt x="9" y="4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8" name="Freeform 147"/>
            <p:cNvSpPr>
              <a:spLocks/>
            </p:cNvSpPr>
            <p:nvPr>
              <p:custDataLst>
                <p:tags r:id="rId87"/>
              </p:custDataLst>
            </p:nvPr>
          </p:nvSpPr>
          <p:spPr bwMode="auto">
            <a:xfrm>
              <a:off x="4911" y="3348"/>
              <a:ext cx="106" cy="106"/>
            </a:xfrm>
            <a:custGeom>
              <a:avLst/>
              <a:gdLst>
                <a:gd name="T0" fmla="*/ 29855 w 62"/>
                <a:gd name="T1" fmla="*/ 156670 h 58"/>
                <a:gd name="T2" fmla="*/ 5428 w 62"/>
                <a:gd name="T3" fmla="*/ 150867 h 58"/>
                <a:gd name="T4" fmla="*/ 40712 w 62"/>
                <a:gd name="T5" fmla="*/ 95743 h 58"/>
                <a:gd name="T6" fmla="*/ 54282 w 62"/>
                <a:gd name="T7" fmla="*/ 92841 h 58"/>
                <a:gd name="T8" fmla="*/ 97708 w 62"/>
                <a:gd name="T9" fmla="*/ 60927 h 58"/>
                <a:gd name="T10" fmla="*/ 103136 w 62"/>
                <a:gd name="T11" fmla="*/ 34816 h 58"/>
                <a:gd name="T12" fmla="*/ 119421 w 62"/>
                <a:gd name="T13" fmla="*/ 26112 h 58"/>
                <a:gd name="T14" fmla="*/ 122135 w 62"/>
                <a:gd name="T15" fmla="*/ 2901 h 58"/>
                <a:gd name="T16" fmla="*/ 138420 w 62"/>
                <a:gd name="T17" fmla="*/ 2901 h 58"/>
                <a:gd name="T18" fmla="*/ 143848 w 62"/>
                <a:gd name="T19" fmla="*/ 23210 h 58"/>
                <a:gd name="T20" fmla="*/ 160133 w 62"/>
                <a:gd name="T21" fmla="*/ 11605 h 58"/>
                <a:gd name="T22" fmla="*/ 165561 w 62"/>
                <a:gd name="T23" fmla="*/ 37717 h 58"/>
                <a:gd name="T24" fmla="*/ 135706 w 62"/>
                <a:gd name="T25" fmla="*/ 72532 h 58"/>
                <a:gd name="T26" fmla="*/ 143848 w 62"/>
                <a:gd name="T27" fmla="*/ 92841 h 58"/>
                <a:gd name="T28" fmla="*/ 108565 w 62"/>
                <a:gd name="T29" fmla="*/ 98644 h 58"/>
                <a:gd name="T30" fmla="*/ 86852 w 62"/>
                <a:gd name="T31" fmla="*/ 147966 h 58"/>
                <a:gd name="T32" fmla="*/ 56996 w 62"/>
                <a:gd name="T33" fmla="*/ 168275 h 58"/>
                <a:gd name="T34" fmla="*/ 29855 w 62"/>
                <a:gd name="T35" fmla="*/ 15667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2" h="58">
                  <a:moveTo>
                    <a:pt x="11" y="54"/>
                  </a:moveTo>
                  <a:cubicBezTo>
                    <a:pt x="9" y="54"/>
                    <a:pt x="2" y="55"/>
                    <a:pt x="2" y="52"/>
                  </a:cubicBezTo>
                  <a:cubicBezTo>
                    <a:pt x="0" y="47"/>
                    <a:pt x="13" y="34"/>
                    <a:pt x="15" y="33"/>
                  </a:cubicBezTo>
                  <a:cubicBezTo>
                    <a:pt x="16" y="32"/>
                    <a:pt x="18" y="33"/>
                    <a:pt x="20" y="32"/>
                  </a:cubicBezTo>
                  <a:cubicBezTo>
                    <a:pt x="21" y="32"/>
                    <a:pt x="35" y="23"/>
                    <a:pt x="36" y="21"/>
                  </a:cubicBezTo>
                  <a:cubicBezTo>
                    <a:pt x="37" y="19"/>
                    <a:pt x="38" y="13"/>
                    <a:pt x="38" y="12"/>
                  </a:cubicBezTo>
                  <a:cubicBezTo>
                    <a:pt x="39" y="11"/>
                    <a:pt x="43" y="11"/>
                    <a:pt x="44" y="9"/>
                  </a:cubicBezTo>
                  <a:cubicBezTo>
                    <a:pt x="44" y="8"/>
                    <a:pt x="44" y="2"/>
                    <a:pt x="45" y="1"/>
                  </a:cubicBezTo>
                  <a:cubicBezTo>
                    <a:pt x="46" y="1"/>
                    <a:pt x="49" y="1"/>
                    <a:pt x="51" y="1"/>
                  </a:cubicBezTo>
                  <a:cubicBezTo>
                    <a:pt x="53" y="0"/>
                    <a:pt x="50" y="8"/>
                    <a:pt x="53" y="8"/>
                  </a:cubicBezTo>
                  <a:cubicBezTo>
                    <a:pt x="55" y="8"/>
                    <a:pt x="58" y="4"/>
                    <a:pt x="59" y="4"/>
                  </a:cubicBezTo>
                  <a:cubicBezTo>
                    <a:pt x="60" y="4"/>
                    <a:pt x="61" y="11"/>
                    <a:pt x="61" y="13"/>
                  </a:cubicBezTo>
                  <a:cubicBezTo>
                    <a:pt x="62" y="14"/>
                    <a:pt x="50" y="23"/>
                    <a:pt x="50" y="25"/>
                  </a:cubicBezTo>
                  <a:cubicBezTo>
                    <a:pt x="49" y="26"/>
                    <a:pt x="54" y="31"/>
                    <a:pt x="53" y="32"/>
                  </a:cubicBezTo>
                  <a:cubicBezTo>
                    <a:pt x="51" y="34"/>
                    <a:pt x="43" y="32"/>
                    <a:pt x="40" y="34"/>
                  </a:cubicBezTo>
                  <a:cubicBezTo>
                    <a:pt x="38" y="37"/>
                    <a:pt x="35" y="49"/>
                    <a:pt x="32" y="51"/>
                  </a:cubicBezTo>
                  <a:cubicBezTo>
                    <a:pt x="30" y="54"/>
                    <a:pt x="25" y="58"/>
                    <a:pt x="21" y="58"/>
                  </a:cubicBezTo>
                  <a:cubicBezTo>
                    <a:pt x="17" y="57"/>
                    <a:pt x="12" y="54"/>
                    <a:pt x="11" y="5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19" name="Freeform 148"/>
            <p:cNvSpPr>
              <a:spLocks/>
            </p:cNvSpPr>
            <p:nvPr>
              <p:custDataLst>
                <p:tags r:id="rId88"/>
              </p:custDataLst>
            </p:nvPr>
          </p:nvSpPr>
          <p:spPr bwMode="auto">
            <a:xfrm>
              <a:off x="4870" y="3028"/>
              <a:ext cx="56" cy="45"/>
            </a:xfrm>
            <a:custGeom>
              <a:avLst/>
              <a:gdLst>
                <a:gd name="T0" fmla="*/ 48491 w 33"/>
                <a:gd name="T1" fmla="*/ 20836 h 24"/>
                <a:gd name="T2" fmla="*/ 86206 w 33"/>
                <a:gd name="T3" fmla="*/ 56555 h 24"/>
                <a:gd name="T4" fmla="*/ 75430 w 33"/>
                <a:gd name="T5" fmla="*/ 71438 h 24"/>
                <a:gd name="T6" fmla="*/ 26939 w 33"/>
                <a:gd name="T7" fmla="*/ 38696 h 24"/>
                <a:gd name="T8" fmla="*/ 10776 w 33"/>
                <a:gd name="T9" fmla="*/ 0 h 24"/>
                <a:gd name="T10" fmla="*/ 48491 w 33"/>
                <a:gd name="T11" fmla="*/ 20836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24">
                  <a:moveTo>
                    <a:pt x="18" y="7"/>
                  </a:moveTo>
                  <a:cubicBezTo>
                    <a:pt x="18" y="7"/>
                    <a:pt x="30" y="17"/>
                    <a:pt x="32" y="19"/>
                  </a:cubicBezTo>
                  <a:cubicBezTo>
                    <a:pt x="33" y="21"/>
                    <a:pt x="31" y="24"/>
                    <a:pt x="28" y="24"/>
                  </a:cubicBezTo>
                  <a:cubicBezTo>
                    <a:pt x="26" y="24"/>
                    <a:pt x="14" y="16"/>
                    <a:pt x="10" y="13"/>
                  </a:cubicBezTo>
                  <a:cubicBezTo>
                    <a:pt x="6" y="10"/>
                    <a:pt x="0" y="0"/>
                    <a:pt x="4" y="0"/>
                  </a:cubicBezTo>
                  <a:cubicBezTo>
                    <a:pt x="8" y="0"/>
                    <a:pt x="14" y="5"/>
                    <a:pt x="18"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0" name="Freeform 150"/>
            <p:cNvSpPr>
              <a:spLocks/>
            </p:cNvSpPr>
            <p:nvPr>
              <p:custDataLst>
                <p:tags r:id="rId89"/>
              </p:custDataLst>
            </p:nvPr>
          </p:nvSpPr>
          <p:spPr bwMode="auto">
            <a:xfrm>
              <a:off x="4758" y="2817"/>
              <a:ext cx="28" cy="34"/>
            </a:xfrm>
            <a:custGeom>
              <a:avLst/>
              <a:gdLst>
                <a:gd name="T0" fmla="*/ 11113 w 16"/>
                <a:gd name="T1" fmla="*/ 2999 h 18"/>
                <a:gd name="T2" fmla="*/ 33338 w 16"/>
                <a:gd name="T3" fmla="*/ 26988 h 18"/>
                <a:gd name="T4" fmla="*/ 44450 w 16"/>
                <a:gd name="T5" fmla="*/ 41981 h 18"/>
                <a:gd name="T6" fmla="*/ 33338 w 16"/>
                <a:gd name="T7" fmla="*/ 53975 h 18"/>
                <a:gd name="T8" fmla="*/ 11113 w 16"/>
                <a:gd name="T9" fmla="*/ 35983 h 18"/>
                <a:gd name="T10" fmla="*/ 5556 w 16"/>
                <a:gd name="T11" fmla="*/ 8996 h 18"/>
                <a:gd name="T12" fmla="*/ 11113 w 16"/>
                <a:gd name="T13" fmla="*/ 299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18">
                  <a:moveTo>
                    <a:pt x="4" y="1"/>
                  </a:moveTo>
                  <a:cubicBezTo>
                    <a:pt x="6" y="2"/>
                    <a:pt x="8" y="5"/>
                    <a:pt x="12" y="9"/>
                  </a:cubicBezTo>
                  <a:cubicBezTo>
                    <a:pt x="14" y="12"/>
                    <a:pt x="16" y="10"/>
                    <a:pt x="16" y="14"/>
                  </a:cubicBezTo>
                  <a:cubicBezTo>
                    <a:pt x="16" y="17"/>
                    <a:pt x="14" y="18"/>
                    <a:pt x="12" y="18"/>
                  </a:cubicBezTo>
                  <a:cubicBezTo>
                    <a:pt x="10" y="18"/>
                    <a:pt x="5" y="14"/>
                    <a:pt x="4" y="12"/>
                  </a:cubicBezTo>
                  <a:cubicBezTo>
                    <a:pt x="4" y="9"/>
                    <a:pt x="0" y="4"/>
                    <a:pt x="2" y="3"/>
                  </a:cubicBezTo>
                  <a:cubicBezTo>
                    <a:pt x="2" y="3"/>
                    <a:pt x="2" y="0"/>
                    <a:pt x="4" y="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1" name="Freeform 151"/>
            <p:cNvSpPr>
              <a:spLocks/>
            </p:cNvSpPr>
            <p:nvPr>
              <p:custDataLst>
                <p:tags r:id="rId90"/>
              </p:custDataLst>
            </p:nvPr>
          </p:nvSpPr>
          <p:spPr bwMode="auto">
            <a:xfrm>
              <a:off x="4676" y="2794"/>
              <a:ext cx="52" cy="44"/>
            </a:xfrm>
            <a:custGeom>
              <a:avLst/>
              <a:gdLst>
                <a:gd name="T0" fmla="*/ 30268 w 30"/>
                <a:gd name="T1" fmla="*/ 66940 h 24"/>
                <a:gd name="T2" fmla="*/ 0 w 30"/>
                <a:gd name="T3" fmla="*/ 46567 h 24"/>
                <a:gd name="T4" fmla="*/ 22013 w 30"/>
                <a:gd name="T5" fmla="*/ 43656 h 24"/>
                <a:gd name="T6" fmla="*/ 55033 w 30"/>
                <a:gd name="T7" fmla="*/ 34925 h 24"/>
                <a:gd name="T8" fmla="*/ 66040 w 30"/>
                <a:gd name="T9" fmla="*/ 8731 h 24"/>
                <a:gd name="T10" fmla="*/ 71543 w 30"/>
                <a:gd name="T11" fmla="*/ 0 h 24"/>
                <a:gd name="T12" fmla="*/ 82550 w 30"/>
                <a:gd name="T13" fmla="*/ 11642 h 24"/>
                <a:gd name="T14" fmla="*/ 71543 w 30"/>
                <a:gd name="T15" fmla="*/ 52388 h 24"/>
                <a:gd name="T16" fmla="*/ 30268 w 30"/>
                <a:gd name="T17" fmla="*/ 6694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 h="24">
                  <a:moveTo>
                    <a:pt x="11" y="23"/>
                  </a:moveTo>
                  <a:cubicBezTo>
                    <a:pt x="5" y="22"/>
                    <a:pt x="0" y="18"/>
                    <a:pt x="0" y="16"/>
                  </a:cubicBezTo>
                  <a:cubicBezTo>
                    <a:pt x="2" y="14"/>
                    <a:pt x="8" y="15"/>
                    <a:pt x="8" y="15"/>
                  </a:cubicBezTo>
                  <a:cubicBezTo>
                    <a:pt x="11" y="15"/>
                    <a:pt x="20" y="12"/>
                    <a:pt x="20" y="12"/>
                  </a:cubicBezTo>
                  <a:cubicBezTo>
                    <a:pt x="20" y="12"/>
                    <a:pt x="26" y="7"/>
                    <a:pt x="24" y="3"/>
                  </a:cubicBezTo>
                  <a:cubicBezTo>
                    <a:pt x="22" y="0"/>
                    <a:pt x="25" y="0"/>
                    <a:pt x="26" y="0"/>
                  </a:cubicBezTo>
                  <a:cubicBezTo>
                    <a:pt x="28" y="0"/>
                    <a:pt x="30" y="2"/>
                    <a:pt x="30" y="4"/>
                  </a:cubicBezTo>
                  <a:cubicBezTo>
                    <a:pt x="30" y="7"/>
                    <a:pt x="30" y="17"/>
                    <a:pt x="26" y="18"/>
                  </a:cubicBezTo>
                  <a:cubicBezTo>
                    <a:pt x="22" y="19"/>
                    <a:pt x="17" y="24"/>
                    <a:pt x="11"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2" name="Freeform 152"/>
            <p:cNvSpPr>
              <a:spLocks/>
            </p:cNvSpPr>
            <p:nvPr>
              <p:custDataLst>
                <p:tags r:id="rId91"/>
              </p:custDataLst>
            </p:nvPr>
          </p:nvSpPr>
          <p:spPr bwMode="auto">
            <a:xfrm>
              <a:off x="4580" y="2783"/>
              <a:ext cx="132" cy="118"/>
            </a:xfrm>
            <a:custGeom>
              <a:avLst/>
              <a:gdLst>
                <a:gd name="T0" fmla="*/ 0 w 77"/>
                <a:gd name="T1" fmla="*/ 146348 h 64"/>
                <a:gd name="T2" fmla="*/ 0 w 77"/>
                <a:gd name="T3" fmla="*/ 0 h 64"/>
                <a:gd name="T4" fmla="*/ 38100 w 77"/>
                <a:gd name="T5" fmla="*/ 14635 h 64"/>
                <a:gd name="T6" fmla="*/ 84364 w 77"/>
                <a:gd name="T7" fmla="*/ 38050 h 64"/>
                <a:gd name="T8" fmla="*/ 100693 w 77"/>
                <a:gd name="T9" fmla="*/ 55612 h 64"/>
                <a:gd name="T10" fmla="*/ 103414 w 77"/>
                <a:gd name="T11" fmla="*/ 67320 h 64"/>
                <a:gd name="T12" fmla="*/ 138793 w 77"/>
                <a:gd name="T13" fmla="*/ 79028 h 64"/>
                <a:gd name="T14" fmla="*/ 144236 w 77"/>
                <a:gd name="T15" fmla="*/ 96589 h 64"/>
                <a:gd name="T16" fmla="*/ 125186 w 77"/>
                <a:gd name="T17" fmla="*/ 99516 h 64"/>
                <a:gd name="T18" fmla="*/ 144236 w 77"/>
                <a:gd name="T19" fmla="*/ 122932 h 64"/>
                <a:gd name="T20" fmla="*/ 157843 w 77"/>
                <a:gd name="T21" fmla="*/ 146348 h 64"/>
                <a:gd name="T22" fmla="*/ 174171 w 77"/>
                <a:gd name="T23" fmla="*/ 143421 h 64"/>
                <a:gd name="T24" fmla="*/ 179614 w 77"/>
                <a:gd name="T25" fmla="*/ 155129 h 64"/>
                <a:gd name="T26" fmla="*/ 190500 w 77"/>
                <a:gd name="T27" fmla="*/ 166836 h 64"/>
                <a:gd name="T28" fmla="*/ 209550 w 77"/>
                <a:gd name="T29" fmla="*/ 178544 h 64"/>
                <a:gd name="T30" fmla="*/ 190500 w 77"/>
                <a:gd name="T31" fmla="*/ 184398 h 64"/>
                <a:gd name="T32" fmla="*/ 163286 w 77"/>
                <a:gd name="T33" fmla="*/ 175617 h 64"/>
                <a:gd name="T34" fmla="*/ 136071 w 77"/>
                <a:gd name="T35" fmla="*/ 169763 h 64"/>
                <a:gd name="T36" fmla="*/ 106136 w 77"/>
                <a:gd name="T37" fmla="*/ 125859 h 64"/>
                <a:gd name="T38" fmla="*/ 70757 w 77"/>
                <a:gd name="T39" fmla="*/ 114151 h 64"/>
                <a:gd name="T40" fmla="*/ 48986 w 77"/>
                <a:gd name="T41" fmla="*/ 125859 h 64"/>
                <a:gd name="T42" fmla="*/ 54429 w 77"/>
                <a:gd name="T43" fmla="*/ 143421 h 64"/>
                <a:gd name="T44" fmla="*/ 29936 w 77"/>
                <a:gd name="T45" fmla="*/ 152202 h 64"/>
                <a:gd name="T46" fmla="*/ 0 w 77"/>
                <a:gd name="T47" fmla="*/ 146348 h 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7" h="64">
                  <a:moveTo>
                    <a:pt x="0" y="50"/>
                  </a:moveTo>
                  <a:cubicBezTo>
                    <a:pt x="0" y="0"/>
                    <a:pt x="0" y="0"/>
                    <a:pt x="0" y="0"/>
                  </a:cubicBezTo>
                  <a:cubicBezTo>
                    <a:pt x="6" y="2"/>
                    <a:pt x="12" y="4"/>
                    <a:pt x="14" y="5"/>
                  </a:cubicBezTo>
                  <a:cubicBezTo>
                    <a:pt x="18" y="7"/>
                    <a:pt x="28" y="12"/>
                    <a:pt x="31" y="13"/>
                  </a:cubicBezTo>
                  <a:cubicBezTo>
                    <a:pt x="34" y="13"/>
                    <a:pt x="37" y="17"/>
                    <a:pt x="37" y="19"/>
                  </a:cubicBezTo>
                  <a:cubicBezTo>
                    <a:pt x="37" y="20"/>
                    <a:pt x="34" y="22"/>
                    <a:pt x="38" y="23"/>
                  </a:cubicBezTo>
                  <a:cubicBezTo>
                    <a:pt x="42" y="23"/>
                    <a:pt x="48" y="24"/>
                    <a:pt x="51" y="27"/>
                  </a:cubicBezTo>
                  <a:cubicBezTo>
                    <a:pt x="53" y="30"/>
                    <a:pt x="53" y="32"/>
                    <a:pt x="53" y="33"/>
                  </a:cubicBezTo>
                  <a:cubicBezTo>
                    <a:pt x="53" y="34"/>
                    <a:pt x="46" y="32"/>
                    <a:pt x="46" y="34"/>
                  </a:cubicBezTo>
                  <a:cubicBezTo>
                    <a:pt x="46" y="36"/>
                    <a:pt x="51" y="40"/>
                    <a:pt x="53" y="42"/>
                  </a:cubicBezTo>
                  <a:cubicBezTo>
                    <a:pt x="55" y="44"/>
                    <a:pt x="57" y="50"/>
                    <a:pt x="58" y="50"/>
                  </a:cubicBezTo>
                  <a:cubicBezTo>
                    <a:pt x="60" y="50"/>
                    <a:pt x="63" y="49"/>
                    <a:pt x="64" y="49"/>
                  </a:cubicBezTo>
                  <a:cubicBezTo>
                    <a:pt x="66" y="50"/>
                    <a:pt x="64" y="52"/>
                    <a:pt x="66" y="53"/>
                  </a:cubicBezTo>
                  <a:cubicBezTo>
                    <a:pt x="68" y="54"/>
                    <a:pt x="67" y="57"/>
                    <a:pt x="70" y="57"/>
                  </a:cubicBezTo>
                  <a:cubicBezTo>
                    <a:pt x="74" y="57"/>
                    <a:pt x="76" y="59"/>
                    <a:pt x="77" y="61"/>
                  </a:cubicBezTo>
                  <a:cubicBezTo>
                    <a:pt x="77" y="62"/>
                    <a:pt x="74" y="64"/>
                    <a:pt x="70" y="63"/>
                  </a:cubicBezTo>
                  <a:cubicBezTo>
                    <a:pt x="66" y="63"/>
                    <a:pt x="64" y="60"/>
                    <a:pt x="60" y="60"/>
                  </a:cubicBezTo>
                  <a:cubicBezTo>
                    <a:pt x="56" y="60"/>
                    <a:pt x="53" y="62"/>
                    <a:pt x="50" y="58"/>
                  </a:cubicBezTo>
                  <a:cubicBezTo>
                    <a:pt x="47" y="54"/>
                    <a:pt x="43" y="45"/>
                    <a:pt x="39" y="43"/>
                  </a:cubicBezTo>
                  <a:cubicBezTo>
                    <a:pt x="36" y="41"/>
                    <a:pt x="30" y="39"/>
                    <a:pt x="26" y="39"/>
                  </a:cubicBezTo>
                  <a:cubicBezTo>
                    <a:pt x="23" y="39"/>
                    <a:pt x="19" y="42"/>
                    <a:pt x="18" y="43"/>
                  </a:cubicBezTo>
                  <a:cubicBezTo>
                    <a:pt x="17" y="44"/>
                    <a:pt x="22" y="48"/>
                    <a:pt x="20" y="49"/>
                  </a:cubicBezTo>
                  <a:cubicBezTo>
                    <a:pt x="17" y="50"/>
                    <a:pt x="13" y="52"/>
                    <a:pt x="11" y="52"/>
                  </a:cubicBezTo>
                  <a:cubicBezTo>
                    <a:pt x="8" y="51"/>
                    <a:pt x="3" y="52"/>
                    <a:pt x="0" y="5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3" name="Freeform 154"/>
            <p:cNvSpPr>
              <a:spLocks/>
            </p:cNvSpPr>
            <p:nvPr>
              <p:custDataLst>
                <p:tags r:id="rId92"/>
              </p:custDataLst>
            </p:nvPr>
          </p:nvSpPr>
          <p:spPr bwMode="auto">
            <a:xfrm>
              <a:off x="4626" y="3350"/>
              <a:ext cx="51" cy="51"/>
            </a:xfrm>
            <a:custGeom>
              <a:avLst/>
              <a:gdLst>
                <a:gd name="T0" fmla="*/ 2699 w 30"/>
                <a:gd name="T1" fmla="*/ 20241 h 28"/>
                <a:gd name="T2" fmla="*/ 2699 w 30"/>
                <a:gd name="T3" fmla="*/ 2892 h 28"/>
                <a:gd name="T4" fmla="*/ 16193 w 30"/>
                <a:gd name="T5" fmla="*/ 5783 h 28"/>
                <a:gd name="T6" fmla="*/ 40482 w 30"/>
                <a:gd name="T7" fmla="*/ 14458 h 28"/>
                <a:gd name="T8" fmla="*/ 67469 w 30"/>
                <a:gd name="T9" fmla="*/ 2892 h 28"/>
                <a:gd name="T10" fmla="*/ 78264 w 30"/>
                <a:gd name="T11" fmla="*/ 5783 h 28"/>
                <a:gd name="T12" fmla="*/ 78264 w 30"/>
                <a:gd name="T13" fmla="*/ 40482 h 28"/>
                <a:gd name="T14" fmla="*/ 70168 w 30"/>
                <a:gd name="T15" fmla="*/ 52048 h 28"/>
                <a:gd name="T16" fmla="*/ 67469 w 30"/>
                <a:gd name="T17" fmla="*/ 66505 h 28"/>
                <a:gd name="T18" fmla="*/ 56674 w 30"/>
                <a:gd name="T19" fmla="*/ 66505 h 28"/>
                <a:gd name="T20" fmla="*/ 45879 w 30"/>
                <a:gd name="T21" fmla="*/ 80963 h 28"/>
                <a:gd name="T22" fmla="*/ 29686 w 30"/>
                <a:gd name="T23" fmla="*/ 75180 h 28"/>
                <a:gd name="T24" fmla="*/ 13494 w 30"/>
                <a:gd name="T25" fmla="*/ 49156 h 28"/>
                <a:gd name="T26" fmla="*/ 16193 w 30"/>
                <a:gd name="T27" fmla="*/ 34698 h 28"/>
                <a:gd name="T28" fmla="*/ 2699 w 30"/>
                <a:gd name="T29" fmla="*/ 20241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0" h="28">
                  <a:moveTo>
                    <a:pt x="1" y="7"/>
                  </a:moveTo>
                  <a:cubicBezTo>
                    <a:pt x="1" y="5"/>
                    <a:pt x="0" y="2"/>
                    <a:pt x="1" y="1"/>
                  </a:cubicBezTo>
                  <a:cubicBezTo>
                    <a:pt x="2" y="0"/>
                    <a:pt x="5" y="1"/>
                    <a:pt x="6" y="2"/>
                  </a:cubicBezTo>
                  <a:cubicBezTo>
                    <a:pt x="8" y="3"/>
                    <a:pt x="12" y="5"/>
                    <a:pt x="15" y="5"/>
                  </a:cubicBezTo>
                  <a:cubicBezTo>
                    <a:pt x="18" y="5"/>
                    <a:pt x="24" y="1"/>
                    <a:pt x="25" y="1"/>
                  </a:cubicBezTo>
                  <a:cubicBezTo>
                    <a:pt x="26" y="1"/>
                    <a:pt x="28" y="1"/>
                    <a:pt x="29" y="2"/>
                  </a:cubicBezTo>
                  <a:cubicBezTo>
                    <a:pt x="30" y="3"/>
                    <a:pt x="30" y="13"/>
                    <a:pt x="29" y="14"/>
                  </a:cubicBezTo>
                  <a:cubicBezTo>
                    <a:pt x="28" y="15"/>
                    <a:pt x="26" y="17"/>
                    <a:pt x="26" y="18"/>
                  </a:cubicBezTo>
                  <a:cubicBezTo>
                    <a:pt x="26" y="20"/>
                    <a:pt x="26" y="23"/>
                    <a:pt x="25" y="23"/>
                  </a:cubicBezTo>
                  <a:cubicBezTo>
                    <a:pt x="23" y="24"/>
                    <a:pt x="22" y="22"/>
                    <a:pt x="21" y="23"/>
                  </a:cubicBezTo>
                  <a:cubicBezTo>
                    <a:pt x="20" y="24"/>
                    <a:pt x="19" y="28"/>
                    <a:pt x="17" y="28"/>
                  </a:cubicBezTo>
                  <a:cubicBezTo>
                    <a:pt x="15" y="28"/>
                    <a:pt x="12" y="27"/>
                    <a:pt x="11" y="26"/>
                  </a:cubicBezTo>
                  <a:cubicBezTo>
                    <a:pt x="9" y="24"/>
                    <a:pt x="5" y="18"/>
                    <a:pt x="5" y="17"/>
                  </a:cubicBezTo>
                  <a:cubicBezTo>
                    <a:pt x="5" y="15"/>
                    <a:pt x="8" y="14"/>
                    <a:pt x="6" y="12"/>
                  </a:cubicBezTo>
                  <a:cubicBezTo>
                    <a:pt x="5" y="10"/>
                    <a:pt x="2" y="9"/>
                    <a:pt x="1"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4" name="Freeform 155"/>
            <p:cNvSpPr>
              <a:spLocks/>
            </p:cNvSpPr>
            <p:nvPr>
              <p:custDataLst>
                <p:tags r:id="rId93"/>
              </p:custDataLst>
            </p:nvPr>
          </p:nvSpPr>
          <p:spPr bwMode="auto">
            <a:xfrm>
              <a:off x="4214" y="2894"/>
              <a:ext cx="532" cy="430"/>
            </a:xfrm>
            <a:custGeom>
              <a:avLst/>
              <a:gdLst>
                <a:gd name="T0" fmla="*/ 49038 w 310"/>
                <a:gd name="T1" fmla="*/ 565937 h 234"/>
                <a:gd name="T2" fmla="*/ 38141 w 310"/>
                <a:gd name="T3" fmla="*/ 539682 h 234"/>
                <a:gd name="T4" fmla="*/ 54487 w 310"/>
                <a:gd name="T5" fmla="*/ 522179 h 234"/>
                <a:gd name="T6" fmla="*/ 38141 w 310"/>
                <a:gd name="T7" fmla="*/ 458001 h 234"/>
                <a:gd name="T8" fmla="*/ 5449 w 310"/>
                <a:gd name="T9" fmla="*/ 370485 h 234"/>
                <a:gd name="T10" fmla="*/ 2724 w 310"/>
                <a:gd name="T11" fmla="*/ 315058 h 234"/>
                <a:gd name="T12" fmla="*/ 21795 w 310"/>
                <a:gd name="T13" fmla="*/ 259631 h 234"/>
                <a:gd name="T14" fmla="*/ 79006 w 310"/>
                <a:gd name="T15" fmla="*/ 227542 h 234"/>
                <a:gd name="T16" fmla="*/ 163461 w 310"/>
                <a:gd name="T17" fmla="*/ 210038 h 234"/>
                <a:gd name="T18" fmla="*/ 190705 w 310"/>
                <a:gd name="T19" fmla="*/ 148777 h 234"/>
                <a:gd name="T20" fmla="*/ 223397 w 310"/>
                <a:gd name="T21" fmla="*/ 160446 h 234"/>
                <a:gd name="T22" fmla="*/ 258814 w 310"/>
                <a:gd name="T23" fmla="*/ 87516 h 234"/>
                <a:gd name="T24" fmla="*/ 326923 w 310"/>
                <a:gd name="T25" fmla="*/ 102102 h 234"/>
                <a:gd name="T26" fmla="*/ 340544 w 310"/>
                <a:gd name="T27" fmla="*/ 78764 h 234"/>
                <a:gd name="T28" fmla="*/ 378685 w 310"/>
                <a:gd name="T29" fmla="*/ 37924 h 234"/>
                <a:gd name="T30" fmla="*/ 411378 w 310"/>
                <a:gd name="T31" fmla="*/ 14586 h 234"/>
                <a:gd name="T32" fmla="*/ 482211 w 310"/>
                <a:gd name="T33" fmla="*/ 26255 h 234"/>
                <a:gd name="T34" fmla="*/ 479486 w 310"/>
                <a:gd name="T35" fmla="*/ 70013 h 234"/>
                <a:gd name="T36" fmla="*/ 495833 w 310"/>
                <a:gd name="T37" fmla="*/ 122522 h 234"/>
                <a:gd name="T38" fmla="*/ 542147 w 310"/>
                <a:gd name="T39" fmla="*/ 137108 h 234"/>
                <a:gd name="T40" fmla="*/ 572115 w 310"/>
                <a:gd name="T41" fmla="*/ 163363 h 234"/>
                <a:gd name="T42" fmla="*/ 591185 w 310"/>
                <a:gd name="T43" fmla="*/ 81682 h 234"/>
                <a:gd name="T44" fmla="*/ 593909 w 310"/>
                <a:gd name="T45" fmla="*/ 40841 h 234"/>
                <a:gd name="T46" fmla="*/ 604807 w 310"/>
                <a:gd name="T47" fmla="*/ 0 h 234"/>
                <a:gd name="T48" fmla="*/ 623877 w 310"/>
                <a:gd name="T49" fmla="*/ 32089 h 234"/>
                <a:gd name="T50" fmla="*/ 637499 w 310"/>
                <a:gd name="T51" fmla="*/ 90433 h 234"/>
                <a:gd name="T52" fmla="*/ 670191 w 310"/>
                <a:gd name="T53" fmla="*/ 102102 h 234"/>
                <a:gd name="T54" fmla="*/ 683813 w 310"/>
                <a:gd name="T55" fmla="*/ 151694 h 234"/>
                <a:gd name="T56" fmla="*/ 697435 w 310"/>
                <a:gd name="T57" fmla="*/ 198370 h 234"/>
                <a:gd name="T58" fmla="*/ 746473 w 310"/>
                <a:gd name="T59" fmla="*/ 239210 h 234"/>
                <a:gd name="T60" fmla="*/ 770992 w 310"/>
                <a:gd name="T61" fmla="*/ 262548 h 234"/>
                <a:gd name="T62" fmla="*/ 784614 w 310"/>
                <a:gd name="T63" fmla="*/ 300472 h 234"/>
                <a:gd name="T64" fmla="*/ 817306 w 310"/>
                <a:gd name="T65" fmla="*/ 335478 h 234"/>
                <a:gd name="T66" fmla="*/ 833653 w 310"/>
                <a:gd name="T67" fmla="*/ 382153 h 234"/>
                <a:gd name="T68" fmla="*/ 836377 w 310"/>
                <a:gd name="T69" fmla="*/ 449249 h 234"/>
                <a:gd name="T70" fmla="*/ 809133 w 310"/>
                <a:gd name="T71" fmla="*/ 522179 h 234"/>
                <a:gd name="T72" fmla="*/ 776441 w 310"/>
                <a:gd name="T73" fmla="*/ 595109 h 234"/>
                <a:gd name="T74" fmla="*/ 754646 w 310"/>
                <a:gd name="T75" fmla="*/ 653453 h 234"/>
                <a:gd name="T76" fmla="*/ 691986 w 310"/>
                <a:gd name="T77" fmla="*/ 682625 h 234"/>
                <a:gd name="T78" fmla="*/ 653845 w 310"/>
                <a:gd name="T79" fmla="*/ 665122 h 234"/>
                <a:gd name="T80" fmla="*/ 599358 w 310"/>
                <a:gd name="T81" fmla="*/ 665122 h 234"/>
                <a:gd name="T82" fmla="*/ 553044 w 310"/>
                <a:gd name="T83" fmla="*/ 633033 h 234"/>
                <a:gd name="T84" fmla="*/ 528525 w 310"/>
                <a:gd name="T85" fmla="*/ 592192 h 234"/>
                <a:gd name="T86" fmla="*/ 525800 w 310"/>
                <a:gd name="T87" fmla="*/ 565937 h 234"/>
                <a:gd name="T88" fmla="*/ 509454 w 310"/>
                <a:gd name="T89" fmla="*/ 583440 h 234"/>
                <a:gd name="T90" fmla="*/ 495833 w 310"/>
                <a:gd name="T91" fmla="*/ 571771 h 234"/>
                <a:gd name="T92" fmla="*/ 517627 w 310"/>
                <a:gd name="T93" fmla="*/ 542599 h 234"/>
                <a:gd name="T94" fmla="*/ 501281 w 310"/>
                <a:gd name="T95" fmla="*/ 539682 h 234"/>
                <a:gd name="T96" fmla="*/ 465865 w 310"/>
                <a:gd name="T97" fmla="*/ 577606 h 234"/>
                <a:gd name="T98" fmla="*/ 435897 w 310"/>
                <a:gd name="T99" fmla="*/ 528013 h 234"/>
                <a:gd name="T100" fmla="*/ 419551 w 310"/>
                <a:gd name="T101" fmla="*/ 507593 h 234"/>
                <a:gd name="T102" fmla="*/ 373237 w 310"/>
                <a:gd name="T103" fmla="*/ 490090 h 234"/>
                <a:gd name="T104" fmla="*/ 299679 w 310"/>
                <a:gd name="T105" fmla="*/ 513427 h 234"/>
                <a:gd name="T106" fmla="*/ 231570 w 310"/>
                <a:gd name="T107" fmla="*/ 528013 h 234"/>
                <a:gd name="T108" fmla="*/ 185256 w 310"/>
                <a:gd name="T109" fmla="*/ 554268 h 234"/>
                <a:gd name="T110" fmla="*/ 114423 w 310"/>
                <a:gd name="T111" fmla="*/ 574689 h 234"/>
                <a:gd name="T112" fmla="*/ 59936 w 310"/>
                <a:gd name="T113" fmla="*/ 574689 h 2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0" h="234">
                  <a:moveTo>
                    <a:pt x="22" y="197"/>
                  </a:moveTo>
                  <a:cubicBezTo>
                    <a:pt x="21" y="196"/>
                    <a:pt x="19" y="194"/>
                    <a:pt x="18" y="194"/>
                  </a:cubicBezTo>
                  <a:cubicBezTo>
                    <a:pt x="17" y="194"/>
                    <a:pt x="16" y="194"/>
                    <a:pt x="14" y="193"/>
                  </a:cubicBezTo>
                  <a:cubicBezTo>
                    <a:pt x="13" y="193"/>
                    <a:pt x="14" y="186"/>
                    <a:pt x="14" y="185"/>
                  </a:cubicBezTo>
                  <a:cubicBezTo>
                    <a:pt x="14" y="183"/>
                    <a:pt x="18" y="186"/>
                    <a:pt x="19" y="186"/>
                  </a:cubicBezTo>
                  <a:cubicBezTo>
                    <a:pt x="19" y="185"/>
                    <a:pt x="20" y="181"/>
                    <a:pt x="20" y="179"/>
                  </a:cubicBezTo>
                  <a:cubicBezTo>
                    <a:pt x="20" y="177"/>
                    <a:pt x="20" y="174"/>
                    <a:pt x="20" y="174"/>
                  </a:cubicBezTo>
                  <a:cubicBezTo>
                    <a:pt x="19" y="167"/>
                    <a:pt x="15" y="162"/>
                    <a:pt x="14" y="157"/>
                  </a:cubicBezTo>
                  <a:cubicBezTo>
                    <a:pt x="13" y="152"/>
                    <a:pt x="13" y="146"/>
                    <a:pt x="11" y="142"/>
                  </a:cubicBezTo>
                  <a:cubicBezTo>
                    <a:pt x="8" y="138"/>
                    <a:pt x="3" y="129"/>
                    <a:pt x="2" y="127"/>
                  </a:cubicBezTo>
                  <a:cubicBezTo>
                    <a:pt x="1" y="125"/>
                    <a:pt x="9" y="125"/>
                    <a:pt x="9" y="122"/>
                  </a:cubicBezTo>
                  <a:cubicBezTo>
                    <a:pt x="7" y="118"/>
                    <a:pt x="0" y="110"/>
                    <a:pt x="1" y="108"/>
                  </a:cubicBezTo>
                  <a:cubicBezTo>
                    <a:pt x="2" y="106"/>
                    <a:pt x="7" y="104"/>
                    <a:pt x="6" y="100"/>
                  </a:cubicBezTo>
                  <a:cubicBezTo>
                    <a:pt x="5" y="96"/>
                    <a:pt x="7" y="90"/>
                    <a:pt x="8" y="89"/>
                  </a:cubicBezTo>
                  <a:cubicBezTo>
                    <a:pt x="9" y="88"/>
                    <a:pt x="18" y="86"/>
                    <a:pt x="21" y="83"/>
                  </a:cubicBezTo>
                  <a:cubicBezTo>
                    <a:pt x="23" y="81"/>
                    <a:pt x="27" y="78"/>
                    <a:pt x="29" y="78"/>
                  </a:cubicBezTo>
                  <a:cubicBezTo>
                    <a:pt x="31" y="78"/>
                    <a:pt x="35" y="79"/>
                    <a:pt x="39" y="78"/>
                  </a:cubicBezTo>
                  <a:cubicBezTo>
                    <a:pt x="42" y="78"/>
                    <a:pt x="58" y="74"/>
                    <a:pt x="60" y="72"/>
                  </a:cubicBezTo>
                  <a:cubicBezTo>
                    <a:pt x="61" y="71"/>
                    <a:pt x="69" y="61"/>
                    <a:pt x="69" y="58"/>
                  </a:cubicBezTo>
                  <a:cubicBezTo>
                    <a:pt x="69" y="56"/>
                    <a:pt x="69" y="52"/>
                    <a:pt x="70" y="51"/>
                  </a:cubicBezTo>
                  <a:cubicBezTo>
                    <a:pt x="71" y="50"/>
                    <a:pt x="75" y="46"/>
                    <a:pt x="76" y="45"/>
                  </a:cubicBezTo>
                  <a:cubicBezTo>
                    <a:pt x="77" y="45"/>
                    <a:pt x="81" y="55"/>
                    <a:pt x="82" y="55"/>
                  </a:cubicBezTo>
                  <a:cubicBezTo>
                    <a:pt x="82" y="54"/>
                    <a:pt x="84" y="42"/>
                    <a:pt x="86" y="40"/>
                  </a:cubicBezTo>
                  <a:cubicBezTo>
                    <a:pt x="88" y="37"/>
                    <a:pt x="93" y="31"/>
                    <a:pt x="95" y="30"/>
                  </a:cubicBezTo>
                  <a:cubicBezTo>
                    <a:pt x="97" y="29"/>
                    <a:pt x="105" y="26"/>
                    <a:pt x="107" y="27"/>
                  </a:cubicBezTo>
                  <a:cubicBezTo>
                    <a:pt x="108" y="27"/>
                    <a:pt x="118" y="35"/>
                    <a:pt x="120" y="35"/>
                  </a:cubicBezTo>
                  <a:cubicBezTo>
                    <a:pt x="122" y="36"/>
                    <a:pt x="126" y="36"/>
                    <a:pt x="127" y="35"/>
                  </a:cubicBezTo>
                  <a:cubicBezTo>
                    <a:pt x="128" y="34"/>
                    <a:pt x="125" y="28"/>
                    <a:pt x="125" y="27"/>
                  </a:cubicBezTo>
                  <a:cubicBezTo>
                    <a:pt x="126" y="27"/>
                    <a:pt x="131" y="17"/>
                    <a:pt x="133" y="16"/>
                  </a:cubicBezTo>
                  <a:cubicBezTo>
                    <a:pt x="135" y="15"/>
                    <a:pt x="137" y="13"/>
                    <a:pt x="139" y="13"/>
                  </a:cubicBezTo>
                  <a:cubicBezTo>
                    <a:pt x="140" y="13"/>
                    <a:pt x="146" y="14"/>
                    <a:pt x="147" y="13"/>
                  </a:cubicBezTo>
                  <a:cubicBezTo>
                    <a:pt x="149" y="12"/>
                    <a:pt x="149" y="5"/>
                    <a:pt x="151" y="5"/>
                  </a:cubicBezTo>
                  <a:cubicBezTo>
                    <a:pt x="153" y="5"/>
                    <a:pt x="158" y="9"/>
                    <a:pt x="162" y="11"/>
                  </a:cubicBezTo>
                  <a:cubicBezTo>
                    <a:pt x="167" y="12"/>
                    <a:pt x="175" y="10"/>
                    <a:pt x="177" y="9"/>
                  </a:cubicBezTo>
                  <a:cubicBezTo>
                    <a:pt x="178" y="8"/>
                    <a:pt x="181" y="13"/>
                    <a:pt x="183" y="14"/>
                  </a:cubicBezTo>
                  <a:cubicBezTo>
                    <a:pt x="185" y="15"/>
                    <a:pt x="176" y="23"/>
                    <a:pt x="176" y="24"/>
                  </a:cubicBezTo>
                  <a:cubicBezTo>
                    <a:pt x="175" y="26"/>
                    <a:pt x="171" y="34"/>
                    <a:pt x="170" y="34"/>
                  </a:cubicBezTo>
                  <a:cubicBezTo>
                    <a:pt x="170" y="35"/>
                    <a:pt x="181" y="41"/>
                    <a:pt x="182" y="42"/>
                  </a:cubicBezTo>
                  <a:cubicBezTo>
                    <a:pt x="184" y="44"/>
                    <a:pt x="189" y="46"/>
                    <a:pt x="191" y="47"/>
                  </a:cubicBezTo>
                  <a:cubicBezTo>
                    <a:pt x="192" y="48"/>
                    <a:pt x="198" y="47"/>
                    <a:pt x="199" y="47"/>
                  </a:cubicBezTo>
                  <a:cubicBezTo>
                    <a:pt x="201" y="48"/>
                    <a:pt x="199" y="53"/>
                    <a:pt x="200" y="53"/>
                  </a:cubicBezTo>
                  <a:cubicBezTo>
                    <a:pt x="201" y="54"/>
                    <a:pt x="207" y="58"/>
                    <a:pt x="210" y="56"/>
                  </a:cubicBezTo>
                  <a:cubicBezTo>
                    <a:pt x="213" y="54"/>
                    <a:pt x="216" y="45"/>
                    <a:pt x="216" y="41"/>
                  </a:cubicBezTo>
                  <a:cubicBezTo>
                    <a:pt x="216" y="38"/>
                    <a:pt x="217" y="31"/>
                    <a:pt x="217" y="28"/>
                  </a:cubicBezTo>
                  <a:cubicBezTo>
                    <a:pt x="217" y="26"/>
                    <a:pt x="219" y="20"/>
                    <a:pt x="219" y="19"/>
                  </a:cubicBezTo>
                  <a:cubicBezTo>
                    <a:pt x="220" y="17"/>
                    <a:pt x="217" y="15"/>
                    <a:pt x="218" y="14"/>
                  </a:cubicBezTo>
                  <a:cubicBezTo>
                    <a:pt x="219" y="13"/>
                    <a:pt x="220" y="10"/>
                    <a:pt x="220" y="8"/>
                  </a:cubicBezTo>
                  <a:cubicBezTo>
                    <a:pt x="221" y="6"/>
                    <a:pt x="221" y="1"/>
                    <a:pt x="222" y="0"/>
                  </a:cubicBezTo>
                  <a:cubicBezTo>
                    <a:pt x="222" y="0"/>
                    <a:pt x="226" y="2"/>
                    <a:pt x="226" y="3"/>
                  </a:cubicBezTo>
                  <a:cubicBezTo>
                    <a:pt x="227" y="4"/>
                    <a:pt x="228" y="9"/>
                    <a:pt x="229" y="11"/>
                  </a:cubicBezTo>
                  <a:cubicBezTo>
                    <a:pt x="229" y="13"/>
                    <a:pt x="232" y="20"/>
                    <a:pt x="232" y="22"/>
                  </a:cubicBezTo>
                  <a:cubicBezTo>
                    <a:pt x="233" y="24"/>
                    <a:pt x="232" y="30"/>
                    <a:pt x="234" y="31"/>
                  </a:cubicBezTo>
                  <a:cubicBezTo>
                    <a:pt x="236" y="31"/>
                    <a:pt x="238" y="28"/>
                    <a:pt x="240" y="29"/>
                  </a:cubicBezTo>
                  <a:cubicBezTo>
                    <a:pt x="242" y="30"/>
                    <a:pt x="245" y="34"/>
                    <a:pt x="246" y="35"/>
                  </a:cubicBezTo>
                  <a:cubicBezTo>
                    <a:pt x="247" y="36"/>
                    <a:pt x="246" y="41"/>
                    <a:pt x="246" y="44"/>
                  </a:cubicBezTo>
                  <a:cubicBezTo>
                    <a:pt x="247" y="47"/>
                    <a:pt x="250" y="50"/>
                    <a:pt x="251" y="52"/>
                  </a:cubicBezTo>
                  <a:cubicBezTo>
                    <a:pt x="252" y="54"/>
                    <a:pt x="251" y="59"/>
                    <a:pt x="252" y="61"/>
                  </a:cubicBezTo>
                  <a:cubicBezTo>
                    <a:pt x="252" y="62"/>
                    <a:pt x="253" y="66"/>
                    <a:pt x="256" y="68"/>
                  </a:cubicBezTo>
                  <a:cubicBezTo>
                    <a:pt x="259" y="70"/>
                    <a:pt x="272" y="75"/>
                    <a:pt x="273" y="77"/>
                  </a:cubicBezTo>
                  <a:cubicBezTo>
                    <a:pt x="274" y="78"/>
                    <a:pt x="273" y="81"/>
                    <a:pt x="274" y="82"/>
                  </a:cubicBezTo>
                  <a:cubicBezTo>
                    <a:pt x="275" y="84"/>
                    <a:pt x="278" y="93"/>
                    <a:pt x="279" y="94"/>
                  </a:cubicBezTo>
                  <a:cubicBezTo>
                    <a:pt x="280" y="94"/>
                    <a:pt x="282" y="89"/>
                    <a:pt x="283" y="90"/>
                  </a:cubicBezTo>
                  <a:cubicBezTo>
                    <a:pt x="285" y="91"/>
                    <a:pt x="287" y="93"/>
                    <a:pt x="288" y="95"/>
                  </a:cubicBezTo>
                  <a:cubicBezTo>
                    <a:pt x="288" y="96"/>
                    <a:pt x="287" y="102"/>
                    <a:pt x="288" y="103"/>
                  </a:cubicBezTo>
                  <a:cubicBezTo>
                    <a:pt x="290" y="104"/>
                    <a:pt x="294" y="106"/>
                    <a:pt x="295" y="108"/>
                  </a:cubicBezTo>
                  <a:cubicBezTo>
                    <a:pt x="297" y="109"/>
                    <a:pt x="299" y="114"/>
                    <a:pt x="300" y="115"/>
                  </a:cubicBezTo>
                  <a:cubicBezTo>
                    <a:pt x="302" y="116"/>
                    <a:pt x="306" y="115"/>
                    <a:pt x="306" y="116"/>
                  </a:cubicBezTo>
                  <a:cubicBezTo>
                    <a:pt x="306" y="117"/>
                    <a:pt x="306" y="128"/>
                    <a:pt x="306" y="131"/>
                  </a:cubicBezTo>
                  <a:cubicBezTo>
                    <a:pt x="307" y="133"/>
                    <a:pt x="309" y="141"/>
                    <a:pt x="310" y="143"/>
                  </a:cubicBezTo>
                  <a:cubicBezTo>
                    <a:pt x="310" y="146"/>
                    <a:pt x="307" y="151"/>
                    <a:pt x="307" y="154"/>
                  </a:cubicBezTo>
                  <a:cubicBezTo>
                    <a:pt x="306" y="157"/>
                    <a:pt x="305" y="169"/>
                    <a:pt x="304" y="170"/>
                  </a:cubicBezTo>
                  <a:cubicBezTo>
                    <a:pt x="303" y="172"/>
                    <a:pt x="299" y="178"/>
                    <a:pt x="297" y="179"/>
                  </a:cubicBezTo>
                  <a:cubicBezTo>
                    <a:pt x="295" y="181"/>
                    <a:pt x="292" y="187"/>
                    <a:pt x="290" y="190"/>
                  </a:cubicBezTo>
                  <a:cubicBezTo>
                    <a:pt x="289" y="193"/>
                    <a:pt x="286" y="201"/>
                    <a:pt x="285" y="204"/>
                  </a:cubicBezTo>
                  <a:cubicBezTo>
                    <a:pt x="284" y="206"/>
                    <a:pt x="282" y="220"/>
                    <a:pt x="282" y="221"/>
                  </a:cubicBezTo>
                  <a:cubicBezTo>
                    <a:pt x="281" y="222"/>
                    <a:pt x="278" y="224"/>
                    <a:pt x="277" y="224"/>
                  </a:cubicBezTo>
                  <a:cubicBezTo>
                    <a:pt x="276" y="224"/>
                    <a:pt x="267" y="223"/>
                    <a:pt x="264" y="225"/>
                  </a:cubicBezTo>
                  <a:cubicBezTo>
                    <a:pt x="261" y="227"/>
                    <a:pt x="256" y="234"/>
                    <a:pt x="254" y="234"/>
                  </a:cubicBezTo>
                  <a:cubicBezTo>
                    <a:pt x="252" y="234"/>
                    <a:pt x="249" y="232"/>
                    <a:pt x="247" y="230"/>
                  </a:cubicBezTo>
                  <a:cubicBezTo>
                    <a:pt x="245" y="229"/>
                    <a:pt x="243" y="227"/>
                    <a:pt x="240" y="228"/>
                  </a:cubicBezTo>
                  <a:cubicBezTo>
                    <a:pt x="237" y="228"/>
                    <a:pt x="234" y="233"/>
                    <a:pt x="232" y="233"/>
                  </a:cubicBezTo>
                  <a:cubicBezTo>
                    <a:pt x="230" y="232"/>
                    <a:pt x="223" y="227"/>
                    <a:pt x="220" y="228"/>
                  </a:cubicBezTo>
                  <a:cubicBezTo>
                    <a:pt x="217" y="228"/>
                    <a:pt x="215" y="229"/>
                    <a:pt x="212" y="228"/>
                  </a:cubicBezTo>
                  <a:cubicBezTo>
                    <a:pt x="210" y="226"/>
                    <a:pt x="203" y="219"/>
                    <a:pt x="203" y="217"/>
                  </a:cubicBezTo>
                  <a:cubicBezTo>
                    <a:pt x="203" y="215"/>
                    <a:pt x="206" y="213"/>
                    <a:pt x="203" y="210"/>
                  </a:cubicBezTo>
                  <a:cubicBezTo>
                    <a:pt x="201" y="207"/>
                    <a:pt x="197" y="203"/>
                    <a:pt x="194" y="203"/>
                  </a:cubicBezTo>
                  <a:cubicBezTo>
                    <a:pt x="192" y="203"/>
                    <a:pt x="193" y="201"/>
                    <a:pt x="194" y="200"/>
                  </a:cubicBezTo>
                  <a:cubicBezTo>
                    <a:pt x="194" y="198"/>
                    <a:pt x="194" y="196"/>
                    <a:pt x="193" y="194"/>
                  </a:cubicBezTo>
                  <a:cubicBezTo>
                    <a:pt x="192" y="192"/>
                    <a:pt x="191" y="192"/>
                    <a:pt x="190" y="193"/>
                  </a:cubicBezTo>
                  <a:cubicBezTo>
                    <a:pt x="189" y="194"/>
                    <a:pt x="188" y="200"/>
                    <a:pt x="187" y="200"/>
                  </a:cubicBezTo>
                  <a:cubicBezTo>
                    <a:pt x="186" y="201"/>
                    <a:pt x="182" y="201"/>
                    <a:pt x="181" y="201"/>
                  </a:cubicBezTo>
                  <a:cubicBezTo>
                    <a:pt x="180" y="200"/>
                    <a:pt x="182" y="196"/>
                    <a:pt x="182" y="196"/>
                  </a:cubicBezTo>
                  <a:cubicBezTo>
                    <a:pt x="182" y="195"/>
                    <a:pt x="186" y="189"/>
                    <a:pt x="187" y="188"/>
                  </a:cubicBezTo>
                  <a:cubicBezTo>
                    <a:pt x="188" y="187"/>
                    <a:pt x="189" y="187"/>
                    <a:pt x="190" y="186"/>
                  </a:cubicBezTo>
                  <a:cubicBezTo>
                    <a:pt x="191" y="185"/>
                    <a:pt x="189" y="175"/>
                    <a:pt x="188" y="174"/>
                  </a:cubicBezTo>
                  <a:cubicBezTo>
                    <a:pt x="188" y="174"/>
                    <a:pt x="184" y="184"/>
                    <a:pt x="184" y="185"/>
                  </a:cubicBezTo>
                  <a:cubicBezTo>
                    <a:pt x="183" y="185"/>
                    <a:pt x="177" y="190"/>
                    <a:pt x="176" y="191"/>
                  </a:cubicBezTo>
                  <a:cubicBezTo>
                    <a:pt x="174" y="193"/>
                    <a:pt x="172" y="198"/>
                    <a:pt x="171" y="198"/>
                  </a:cubicBezTo>
                  <a:cubicBezTo>
                    <a:pt x="170" y="198"/>
                    <a:pt x="168" y="187"/>
                    <a:pt x="165" y="185"/>
                  </a:cubicBezTo>
                  <a:cubicBezTo>
                    <a:pt x="163" y="182"/>
                    <a:pt x="161" y="182"/>
                    <a:pt x="160" y="181"/>
                  </a:cubicBezTo>
                  <a:cubicBezTo>
                    <a:pt x="159" y="179"/>
                    <a:pt x="161" y="176"/>
                    <a:pt x="160" y="176"/>
                  </a:cubicBezTo>
                  <a:cubicBezTo>
                    <a:pt x="159" y="175"/>
                    <a:pt x="156" y="174"/>
                    <a:pt x="154" y="174"/>
                  </a:cubicBezTo>
                  <a:cubicBezTo>
                    <a:pt x="152" y="174"/>
                    <a:pt x="147" y="174"/>
                    <a:pt x="146" y="173"/>
                  </a:cubicBezTo>
                  <a:cubicBezTo>
                    <a:pt x="144" y="172"/>
                    <a:pt x="140" y="168"/>
                    <a:pt x="137" y="168"/>
                  </a:cubicBezTo>
                  <a:cubicBezTo>
                    <a:pt x="134" y="169"/>
                    <a:pt x="125" y="169"/>
                    <a:pt x="122" y="170"/>
                  </a:cubicBezTo>
                  <a:cubicBezTo>
                    <a:pt x="120" y="171"/>
                    <a:pt x="112" y="176"/>
                    <a:pt x="110" y="176"/>
                  </a:cubicBezTo>
                  <a:cubicBezTo>
                    <a:pt x="108" y="176"/>
                    <a:pt x="102" y="175"/>
                    <a:pt x="99" y="176"/>
                  </a:cubicBezTo>
                  <a:cubicBezTo>
                    <a:pt x="96" y="176"/>
                    <a:pt x="86" y="180"/>
                    <a:pt x="85" y="181"/>
                  </a:cubicBezTo>
                  <a:cubicBezTo>
                    <a:pt x="84" y="183"/>
                    <a:pt x="82" y="189"/>
                    <a:pt x="79" y="189"/>
                  </a:cubicBezTo>
                  <a:cubicBezTo>
                    <a:pt x="77" y="190"/>
                    <a:pt x="71" y="190"/>
                    <a:pt x="68" y="190"/>
                  </a:cubicBezTo>
                  <a:cubicBezTo>
                    <a:pt x="65" y="189"/>
                    <a:pt x="55" y="188"/>
                    <a:pt x="52" y="189"/>
                  </a:cubicBezTo>
                  <a:cubicBezTo>
                    <a:pt x="50" y="191"/>
                    <a:pt x="45" y="195"/>
                    <a:pt x="42" y="197"/>
                  </a:cubicBezTo>
                  <a:cubicBezTo>
                    <a:pt x="38" y="198"/>
                    <a:pt x="36" y="200"/>
                    <a:pt x="32" y="200"/>
                  </a:cubicBezTo>
                  <a:cubicBezTo>
                    <a:pt x="27" y="199"/>
                    <a:pt x="23" y="198"/>
                    <a:pt x="22" y="19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5" name="Freeform 157"/>
            <p:cNvSpPr>
              <a:spLocks/>
            </p:cNvSpPr>
            <p:nvPr>
              <p:custDataLst>
                <p:tags r:id="rId94"/>
              </p:custDataLst>
            </p:nvPr>
          </p:nvSpPr>
          <p:spPr bwMode="auto">
            <a:xfrm>
              <a:off x="4361" y="2568"/>
              <a:ext cx="22" cy="35"/>
            </a:xfrm>
            <a:custGeom>
              <a:avLst/>
              <a:gdLst>
                <a:gd name="T0" fmla="*/ 8060 w 13"/>
                <a:gd name="T1" fmla="*/ 52639 h 19"/>
                <a:gd name="T2" fmla="*/ 0 w 13"/>
                <a:gd name="T3" fmla="*/ 43866 h 19"/>
                <a:gd name="T4" fmla="*/ 2687 w 13"/>
                <a:gd name="T5" fmla="*/ 32168 h 19"/>
                <a:gd name="T6" fmla="*/ 8060 w 13"/>
                <a:gd name="T7" fmla="*/ 23395 h 19"/>
                <a:gd name="T8" fmla="*/ 2687 w 13"/>
                <a:gd name="T9" fmla="*/ 5849 h 19"/>
                <a:gd name="T10" fmla="*/ 10746 w 13"/>
                <a:gd name="T11" fmla="*/ 5849 h 19"/>
                <a:gd name="T12" fmla="*/ 21492 w 13"/>
                <a:gd name="T13" fmla="*/ 2924 h 19"/>
                <a:gd name="T14" fmla="*/ 26865 w 13"/>
                <a:gd name="T15" fmla="*/ 17546 h 19"/>
                <a:gd name="T16" fmla="*/ 32238 w 13"/>
                <a:gd name="T17" fmla="*/ 38017 h 19"/>
                <a:gd name="T18" fmla="*/ 18806 w 13"/>
                <a:gd name="T19" fmla="*/ 35092 h 19"/>
                <a:gd name="T20" fmla="*/ 18806 w 13"/>
                <a:gd name="T21" fmla="*/ 46790 h 19"/>
                <a:gd name="T22" fmla="*/ 8060 w 13"/>
                <a:gd name="T23" fmla="*/ 5263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3" y="18"/>
                  </a:moveTo>
                  <a:cubicBezTo>
                    <a:pt x="3" y="18"/>
                    <a:pt x="0" y="16"/>
                    <a:pt x="0" y="15"/>
                  </a:cubicBezTo>
                  <a:cubicBezTo>
                    <a:pt x="0" y="13"/>
                    <a:pt x="0" y="12"/>
                    <a:pt x="1" y="11"/>
                  </a:cubicBezTo>
                  <a:cubicBezTo>
                    <a:pt x="2" y="9"/>
                    <a:pt x="3" y="9"/>
                    <a:pt x="3" y="8"/>
                  </a:cubicBezTo>
                  <a:cubicBezTo>
                    <a:pt x="3" y="7"/>
                    <a:pt x="1" y="4"/>
                    <a:pt x="1" y="2"/>
                  </a:cubicBezTo>
                  <a:cubicBezTo>
                    <a:pt x="1" y="1"/>
                    <a:pt x="3" y="2"/>
                    <a:pt x="4" y="2"/>
                  </a:cubicBezTo>
                  <a:cubicBezTo>
                    <a:pt x="4" y="2"/>
                    <a:pt x="7" y="0"/>
                    <a:pt x="8" y="1"/>
                  </a:cubicBezTo>
                  <a:cubicBezTo>
                    <a:pt x="10" y="2"/>
                    <a:pt x="11" y="4"/>
                    <a:pt x="10" y="6"/>
                  </a:cubicBezTo>
                  <a:cubicBezTo>
                    <a:pt x="10" y="8"/>
                    <a:pt x="13" y="12"/>
                    <a:pt x="12" y="13"/>
                  </a:cubicBezTo>
                  <a:cubicBezTo>
                    <a:pt x="12" y="14"/>
                    <a:pt x="8" y="12"/>
                    <a:pt x="7" y="12"/>
                  </a:cubicBezTo>
                  <a:cubicBezTo>
                    <a:pt x="6" y="12"/>
                    <a:pt x="7" y="16"/>
                    <a:pt x="7" y="16"/>
                  </a:cubicBezTo>
                  <a:cubicBezTo>
                    <a:pt x="6" y="17"/>
                    <a:pt x="4" y="19"/>
                    <a:pt x="3"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6" name="Freeform 158"/>
            <p:cNvSpPr>
              <a:spLocks/>
            </p:cNvSpPr>
            <p:nvPr>
              <p:custDataLst>
                <p:tags r:id="rId95"/>
              </p:custDataLst>
            </p:nvPr>
          </p:nvSpPr>
          <p:spPr bwMode="auto">
            <a:xfrm>
              <a:off x="4336" y="2590"/>
              <a:ext cx="18" cy="29"/>
            </a:xfrm>
            <a:custGeom>
              <a:avLst/>
              <a:gdLst>
                <a:gd name="T0" fmla="*/ 0 w 10"/>
                <a:gd name="T1" fmla="*/ 34529 h 16"/>
                <a:gd name="T2" fmla="*/ 2858 w 10"/>
                <a:gd name="T3" fmla="*/ 25896 h 16"/>
                <a:gd name="T4" fmla="*/ 8573 w 10"/>
                <a:gd name="T5" fmla="*/ 8632 h 16"/>
                <a:gd name="T6" fmla="*/ 20003 w 10"/>
                <a:gd name="T7" fmla="*/ 2877 h 16"/>
                <a:gd name="T8" fmla="*/ 28575 w 10"/>
                <a:gd name="T9" fmla="*/ 2877 h 16"/>
                <a:gd name="T10" fmla="*/ 22860 w 10"/>
                <a:gd name="T11" fmla="*/ 25896 h 16"/>
                <a:gd name="T12" fmla="*/ 20003 w 10"/>
                <a:gd name="T13" fmla="*/ 37406 h 16"/>
                <a:gd name="T14" fmla="*/ 14288 w 10"/>
                <a:gd name="T15" fmla="*/ 46038 h 16"/>
                <a:gd name="T16" fmla="*/ 0 w 10"/>
                <a:gd name="T17" fmla="*/ 34529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6">
                  <a:moveTo>
                    <a:pt x="0" y="12"/>
                  </a:moveTo>
                  <a:cubicBezTo>
                    <a:pt x="0" y="11"/>
                    <a:pt x="0" y="9"/>
                    <a:pt x="1" y="9"/>
                  </a:cubicBezTo>
                  <a:cubicBezTo>
                    <a:pt x="3" y="8"/>
                    <a:pt x="3" y="4"/>
                    <a:pt x="3" y="3"/>
                  </a:cubicBezTo>
                  <a:cubicBezTo>
                    <a:pt x="3" y="2"/>
                    <a:pt x="6" y="1"/>
                    <a:pt x="7" y="1"/>
                  </a:cubicBezTo>
                  <a:cubicBezTo>
                    <a:pt x="8" y="1"/>
                    <a:pt x="10" y="0"/>
                    <a:pt x="10" y="1"/>
                  </a:cubicBezTo>
                  <a:cubicBezTo>
                    <a:pt x="10" y="3"/>
                    <a:pt x="8" y="7"/>
                    <a:pt x="8" y="9"/>
                  </a:cubicBezTo>
                  <a:cubicBezTo>
                    <a:pt x="8" y="11"/>
                    <a:pt x="6" y="13"/>
                    <a:pt x="7" y="13"/>
                  </a:cubicBezTo>
                  <a:cubicBezTo>
                    <a:pt x="8" y="14"/>
                    <a:pt x="5" y="16"/>
                    <a:pt x="5" y="16"/>
                  </a:cubicBezTo>
                  <a:cubicBezTo>
                    <a:pt x="4" y="16"/>
                    <a:pt x="0" y="13"/>
                    <a:pt x="0"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7" name="Freeform 159"/>
            <p:cNvSpPr>
              <a:spLocks/>
            </p:cNvSpPr>
            <p:nvPr>
              <p:custDataLst>
                <p:tags r:id="rId96"/>
              </p:custDataLst>
            </p:nvPr>
          </p:nvSpPr>
          <p:spPr bwMode="auto">
            <a:xfrm>
              <a:off x="4329" y="2601"/>
              <a:ext cx="62" cy="67"/>
            </a:xfrm>
            <a:custGeom>
              <a:avLst/>
              <a:gdLst>
                <a:gd name="T0" fmla="*/ 2734 w 36"/>
                <a:gd name="T1" fmla="*/ 77616 h 37"/>
                <a:gd name="T2" fmla="*/ 2734 w 36"/>
                <a:gd name="T3" fmla="*/ 63243 h 37"/>
                <a:gd name="T4" fmla="*/ 10936 w 36"/>
                <a:gd name="T5" fmla="*/ 48869 h 37"/>
                <a:gd name="T6" fmla="*/ 32808 w 36"/>
                <a:gd name="T7" fmla="*/ 37371 h 37"/>
                <a:gd name="T8" fmla="*/ 46478 w 36"/>
                <a:gd name="T9" fmla="*/ 48869 h 37"/>
                <a:gd name="T10" fmla="*/ 60149 w 36"/>
                <a:gd name="T11" fmla="*/ 37371 h 37"/>
                <a:gd name="T12" fmla="*/ 71085 w 36"/>
                <a:gd name="T13" fmla="*/ 28747 h 37"/>
                <a:gd name="T14" fmla="*/ 76553 w 36"/>
                <a:gd name="T15" fmla="*/ 5749 h 37"/>
                <a:gd name="T16" fmla="*/ 87489 w 36"/>
                <a:gd name="T17" fmla="*/ 14373 h 37"/>
                <a:gd name="T18" fmla="*/ 92957 w 36"/>
                <a:gd name="T19" fmla="*/ 45995 h 37"/>
                <a:gd name="T20" fmla="*/ 95691 w 36"/>
                <a:gd name="T21" fmla="*/ 71867 h 37"/>
                <a:gd name="T22" fmla="*/ 87489 w 36"/>
                <a:gd name="T23" fmla="*/ 80491 h 37"/>
                <a:gd name="T24" fmla="*/ 76553 w 36"/>
                <a:gd name="T25" fmla="*/ 68992 h 37"/>
                <a:gd name="T26" fmla="*/ 71085 w 36"/>
                <a:gd name="T27" fmla="*/ 83366 h 37"/>
                <a:gd name="T28" fmla="*/ 79287 w 36"/>
                <a:gd name="T29" fmla="*/ 97739 h 37"/>
                <a:gd name="T30" fmla="*/ 68351 w 36"/>
                <a:gd name="T31" fmla="*/ 106363 h 37"/>
                <a:gd name="T32" fmla="*/ 46478 w 36"/>
                <a:gd name="T33" fmla="*/ 91990 h 37"/>
                <a:gd name="T34" fmla="*/ 46478 w 36"/>
                <a:gd name="T35" fmla="*/ 71867 h 37"/>
                <a:gd name="T36" fmla="*/ 32808 w 36"/>
                <a:gd name="T37" fmla="*/ 60368 h 37"/>
                <a:gd name="T38" fmla="*/ 21872 w 36"/>
                <a:gd name="T39" fmla="*/ 68992 h 37"/>
                <a:gd name="T40" fmla="*/ 13670 w 36"/>
                <a:gd name="T41" fmla="*/ 68992 h 37"/>
                <a:gd name="T42" fmla="*/ 2734 w 36"/>
                <a:gd name="T43" fmla="*/ 77616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6" h="37">
                  <a:moveTo>
                    <a:pt x="1" y="27"/>
                  </a:moveTo>
                  <a:cubicBezTo>
                    <a:pt x="0" y="26"/>
                    <a:pt x="1" y="22"/>
                    <a:pt x="1" y="22"/>
                  </a:cubicBezTo>
                  <a:cubicBezTo>
                    <a:pt x="2" y="20"/>
                    <a:pt x="3" y="17"/>
                    <a:pt x="4" y="17"/>
                  </a:cubicBezTo>
                  <a:cubicBezTo>
                    <a:pt x="6" y="17"/>
                    <a:pt x="11" y="13"/>
                    <a:pt x="12" y="13"/>
                  </a:cubicBezTo>
                  <a:cubicBezTo>
                    <a:pt x="14" y="13"/>
                    <a:pt x="15" y="18"/>
                    <a:pt x="17" y="17"/>
                  </a:cubicBezTo>
                  <a:cubicBezTo>
                    <a:pt x="19" y="17"/>
                    <a:pt x="21" y="14"/>
                    <a:pt x="22" y="13"/>
                  </a:cubicBezTo>
                  <a:cubicBezTo>
                    <a:pt x="23" y="12"/>
                    <a:pt x="26" y="11"/>
                    <a:pt x="26" y="10"/>
                  </a:cubicBezTo>
                  <a:cubicBezTo>
                    <a:pt x="26" y="9"/>
                    <a:pt x="27" y="4"/>
                    <a:pt x="28" y="2"/>
                  </a:cubicBezTo>
                  <a:cubicBezTo>
                    <a:pt x="29" y="0"/>
                    <a:pt x="31" y="3"/>
                    <a:pt x="32" y="5"/>
                  </a:cubicBezTo>
                  <a:cubicBezTo>
                    <a:pt x="32" y="7"/>
                    <a:pt x="34" y="14"/>
                    <a:pt x="34" y="16"/>
                  </a:cubicBezTo>
                  <a:cubicBezTo>
                    <a:pt x="34" y="19"/>
                    <a:pt x="36" y="24"/>
                    <a:pt x="35" y="25"/>
                  </a:cubicBezTo>
                  <a:cubicBezTo>
                    <a:pt x="34" y="26"/>
                    <a:pt x="34" y="29"/>
                    <a:pt x="32" y="28"/>
                  </a:cubicBezTo>
                  <a:cubicBezTo>
                    <a:pt x="31" y="28"/>
                    <a:pt x="28" y="23"/>
                    <a:pt x="28" y="24"/>
                  </a:cubicBezTo>
                  <a:cubicBezTo>
                    <a:pt x="27" y="25"/>
                    <a:pt x="26" y="29"/>
                    <a:pt x="26" y="29"/>
                  </a:cubicBezTo>
                  <a:cubicBezTo>
                    <a:pt x="27" y="30"/>
                    <a:pt x="29" y="34"/>
                    <a:pt x="29" y="34"/>
                  </a:cubicBezTo>
                  <a:cubicBezTo>
                    <a:pt x="28" y="35"/>
                    <a:pt x="26" y="37"/>
                    <a:pt x="25" y="37"/>
                  </a:cubicBezTo>
                  <a:cubicBezTo>
                    <a:pt x="24" y="37"/>
                    <a:pt x="17" y="34"/>
                    <a:pt x="17" y="32"/>
                  </a:cubicBezTo>
                  <a:cubicBezTo>
                    <a:pt x="16" y="30"/>
                    <a:pt x="16" y="26"/>
                    <a:pt x="17" y="25"/>
                  </a:cubicBezTo>
                  <a:cubicBezTo>
                    <a:pt x="17" y="24"/>
                    <a:pt x="13" y="21"/>
                    <a:pt x="12" y="21"/>
                  </a:cubicBezTo>
                  <a:cubicBezTo>
                    <a:pt x="11" y="21"/>
                    <a:pt x="8" y="24"/>
                    <a:pt x="8" y="24"/>
                  </a:cubicBezTo>
                  <a:cubicBezTo>
                    <a:pt x="7" y="24"/>
                    <a:pt x="5" y="23"/>
                    <a:pt x="5" y="24"/>
                  </a:cubicBezTo>
                  <a:cubicBezTo>
                    <a:pt x="4" y="25"/>
                    <a:pt x="2" y="28"/>
                    <a:pt x="1" y="2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8" name="Freeform 160"/>
            <p:cNvSpPr>
              <a:spLocks/>
            </p:cNvSpPr>
            <p:nvPr>
              <p:custDataLst>
                <p:tags r:id="rId97"/>
              </p:custDataLst>
            </p:nvPr>
          </p:nvSpPr>
          <p:spPr bwMode="auto">
            <a:xfrm>
              <a:off x="4328" y="2571"/>
              <a:ext cx="21" cy="30"/>
            </a:xfrm>
            <a:custGeom>
              <a:avLst/>
              <a:gdLst>
                <a:gd name="T0" fmla="*/ 2778 w 12"/>
                <a:gd name="T1" fmla="*/ 32742 h 16"/>
                <a:gd name="T2" fmla="*/ 2778 w 12"/>
                <a:gd name="T3" fmla="*/ 0 h 16"/>
                <a:gd name="T4" fmla="*/ 16669 w 12"/>
                <a:gd name="T5" fmla="*/ 2977 h 16"/>
                <a:gd name="T6" fmla="*/ 30560 w 12"/>
                <a:gd name="T7" fmla="*/ 5953 h 16"/>
                <a:gd name="T8" fmla="*/ 30560 w 12"/>
                <a:gd name="T9" fmla="*/ 17859 h 16"/>
                <a:gd name="T10" fmla="*/ 19447 w 12"/>
                <a:gd name="T11" fmla="*/ 20836 h 16"/>
                <a:gd name="T12" fmla="*/ 2778 w 12"/>
                <a:gd name="T13" fmla="*/ 32742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6">
                  <a:moveTo>
                    <a:pt x="1" y="11"/>
                  </a:moveTo>
                  <a:cubicBezTo>
                    <a:pt x="1" y="10"/>
                    <a:pt x="0" y="1"/>
                    <a:pt x="1" y="0"/>
                  </a:cubicBezTo>
                  <a:cubicBezTo>
                    <a:pt x="2" y="0"/>
                    <a:pt x="4" y="0"/>
                    <a:pt x="6" y="1"/>
                  </a:cubicBezTo>
                  <a:cubicBezTo>
                    <a:pt x="9" y="2"/>
                    <a:pt x="10" y="1"/>
                    <a:pt x="11" y="2"/>
                  </a:cubicBezTo>
                  <a:cubicBezTo>
                    <a:pt x="12" y="2"/>
                    <a:pt x="11" y="5"/>
                    <a:pt x="11" y="6"/>
                  </a:cubicBezTo>
                  <a:cubicBezTo>
                    <a:pt x="11" y="6"/>
                    <a:pt x="9" y="7"/>
                    <a:pt x="7" y="7"/>
                  </a:cubicBezTo>
                  <a:cubicBezTo>
                    <a:pt x="7" y="7"/>
                    <a:pt x="0" y="16"/>
                    <a:pt x="1"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29" name="Freeform 161"/>
            <p:cNvSpPr>
              <a:spLocks/>
            </p:cNvSpPr>
            <p:nvPr>
              <p:custDataLst>
                <p:tags r:id="rId98"/>
              </p:custDataLst>
            </p:nvPr>
          </p:nvSpPr>
          <p:spPr bwMode="auto">
            <a:xfrm>
              <a:off x="4302" y="2484"/>
              <a:ext cx="59" cy="82"/>
            </a:xfrm>
            <a:custGeom>
              <a:avLst/>
              <a:gdLst>
                <a:gd name="T0" fmla="*/ 0 w 34"/>
                <a:gd name="T1" fmla="*/ 54963 h 45"/>
                <a:gd name="T2" fmla="*/ 13774 w 34"/>
                <a:gd name="T3" fmla="*/ 52070 h 45"/>
                <a:gd name="T4" fmla="*/ 11019 w 34"/>
                <a:gd name="T5" fmla="*/ 20249 h 45"/>
                <a:gd name="T6" fmla="*/ 16529 w 34"/>
                <a:gd name="T7" fmla="*/ 2893 h 45"/>
                <a:gd name="T8" fmla="*/ 35812 w 34"/>
                <a:gd name="T9" fmla="*/ 5786 h 45"/>
                <a:gd name="T10" fmla="*/ 49586 w 34"/>
                <a:gd name="T11" fmla="*/ 2893 h 45"/>
                <a:gd name="T12" fmla="*/ 55096 w 34"/>
                <a:gd name="T13" fmla="*/ 40499 h 45"/>
                <a:gd name="T14" fmla="*/ 35812 w 34"/>
                <a:gd name="T15" fmla="*/ 57856 h 45"/>
                <a:gd name="T16" fmla="*/ 35812 w 34"/>
                <a:gd name="T17" fmla="*/ 83891 h 45"/>
                <a:gd name="T18" fmla="*/ 46832 w 34"/>
                <a:gd name="T19" fmla="*/ 95462 h 45"/>
                <a:gd name="T20" fmla="*/ 63360 w 34"/>
                <a:gd name="T21" fmla="*/ 92569 h 45"/>
                <a:gd name="T22" fmla="*/ 90908 w 34"/>
                <a:gd name="T23" fmla="*/ 104140 h 45"/>
                <a:gd name="T24" fmla="*/ 88153 w 34"/>
                <a:gd name="T25" fmla="*/ 115711 h 45"/>
                <a:gd name="T26" fmla="*/ 82644 w 34"/>
                <a:gd name="T27" fmla="*/ 127282 h 45"/>
                <a:gd name="T28" fmla="*/ 57851 w 34"/>
                <a:gd name="T29" fmla="*/ 109926 h 45"/>
                <a:gd name="T30" fmla="*/ 33058 w 34"/>
                <a:gd name="T31" fmla="*/ 112818 h 45"/>
                <a:gd name="T32" fmla="*/ 13774 w 34"/>
                <a:gd name="T33" fmla="*/ 107033 h 45"/>
                <a:gd name="T34" fmla="*/ 19284 w 34"/>
                <a:gd name="T35" fmla="*/ 86783 h 45"/>
                <a:gd name="T36" fmla="*/ 5510 w 34"/>
                <a:gd name="T37" fmla="*/ 83891 h 45"/>
                <a:gd name="T38" fmla="*/ 0 w 34"/>
                <a:gd name="T39" fmla="*/ 54963 h 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45">
                  <a:moveTo>
                    <a:pt x="0" y="19"/>
                  </a:moveTo>
                  <a:cubicBezTo>
                    <a:pt x="0" y="16"/>
                    <a:pt x="5" y="20"/>
                    <a:pt x="5" y="18"/>
                  </a:cubicBezTo>
                  <a:cubicBezTo>
                    <a:pt x="5" y="16"/>
                    <a:pt x="4" y="10"/>
                    <a:pt x="4" y="7"/>
                  </a:cubicBezTo>
                  <a:cubicBezTo>
                    <a:pt x="4" y="5"/>
                    <a:pt x="5" y="1"/>
                    <a:pt x="6" y="1"/>
                  </a:cubicBezTo>
                  <a:cubicBezTo>
                    <a:pt x="7" y="0"/>
                    <a:pt x="12" y="2"/>
                    <a:pt x="13" y="2"/>
                  </a:cubicBezTo>
                  <a:cubicBezTo>
                    <a:pt x="15" y="2"/>
                    <a:pt x="18" y="0"/>
                    <a:pt x="18" y="1"/>
                  </a:cubicBezTo>
                  <a:cubicBezTo>
                    <a:pt x="19" y="2"/>
                    <a:pt x="21" y="13"/>
                    <a:pt x="20" y="14"/>
                  </a:cubicBezTo>
                  <a:cubicBezTo>
                    <a:pt x="19" y="16"/>
                    <a:pt x="14" y="18"/>
                    <a:pt x="13" y="20"/>
                  </a:cubicBezTo>
                  <a:cubicBezTo>
                    <a:pt x="12" y="22"/>
                    <a:pt x="13" y="27"/>
                    <a:pt x="13" y="29"/>
                  </a:cubicBezTo>
                  <a:cubicBezTo>
                    <a:pt x="13" y="31"/>
                    <a:pt x="16" y="33"/>
                    <a:pt x="17" y="33"/>
                  </a:cubicBezTo>
                  <a:cubicBezTo>
                    <a:pt x="18" y="33"/>
                    <a:pt x="22" y="31"/>
                    <a:pt x="23" y="32"/>
                  </a:cubicBezTo>
                  <a:cubicBezTo>
                    <a:pt x="25" y="33"/>
                    <a:pt x="33" y="35"/>
                    <a:pt x="33" y="36"/>
                  </a:cubicBezTo>
                  <a:cubicBezTo>
                    <a:pt x="34" y="37"/>
                    <a:pt x="32" y="39"/>
                    <a:pt x="32" y="40"/>
                  </a:cubicBezTo>
                  <a:cubicBezTo>
                    <a:pt x="32" y="41"/>
                    <a:pt x="32" y="45"/>
                    <a:pt x="30" y="44"/>
                  </a:cubicBezTo>
                  <a:cubicBezTo>
                    <a:pt x="28" y="43"/>
                    <a:pt x="23" y="38"/>
                    <a:pt x="21" y="38"/>
                  </a:cubicBezTo>
                  <a:cubicBezTo>
                    <a:pt x="20" y="39"/>
                    <a:pt x="15" y="39"/>
                    <a:pt x="12" y="39"/>
                  </a:cubicBezTo>
                  <a:cubicBezTo>
                    <a:pt x="9" y="39"/>
                    <a:pt x="5" y="38"/>
                    <a:pt x="5" y="37"/>
                  </a:cubicBezTo>
                  <a:cubicBezTo>
                    <a:pt x="4" y="35"/>
                    <a:pt x="10" y="32"/>
                    <a:pt x="7" y="30"/>
                  </a:cubicBezTo>
                  <a:cubicBezTo>
                    <a:pt x="4" y="28"/>
                    <a:pt x="2" y="31"/>
                    <a:pt x="2" y="29"/>
                  </a:cubicBezTo>
                  <a:cubicBezTo>
                    <a:pt x="1" y="27"/>
                    <a:pt x="0" y="23"/>
                    <a:pt x="0" y="1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0" name="Freeform 162"/>
            <p:cNvSpPr>
              <a:spLocks/>
            </p:cNvSpPr>
            <p:nvPr>
              <p:custDataLst>
                <p:tags r:id="rId99"/>
              </p:custDataLst>
            </p:nvPr>
          </p:nvSpPr>
          <p:spPr bwMode="auto">
            <a:xfrm>
              <a:off x="4302" y="2559"/>
              <a:ext cx="19" cy="22"/>
            </a:xfrm>
            <a:custGeom>
              <a:avLst/>
              <a:gdLst>
                <a:gd name="T0" fmla="*/ 8226 w 11"/>
                <a:gd name="T1" fmla="*/ 5821 h 12"/>
                <a:gd name="T2" fmla="*/ 27421 w 11"/>
                <a:gd name="T3" fmla="*/ 14552 h 12"/>
                <a:gd name="T4" fmla="*/ 24679 w 11"/>
                <a:gd name="T5" fmla="*/ 34925 h 12"/>
                <a:gd name="T6" fmla="*/ 8226 w 11"/>
                <a:gd name="T7" fmla="*/ 582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2">
                  <a:moveTo>
                    <a:pt x="3" y="2"/>
                  </a:moveTo>
                  <a:cubicBezTo>
                    <a:pt x="4" y="0"/>
                    <a:pt x="10" y="4"/>
                    <a:pt x="10" y="5"/>
                  </a:cubicBezTo>
                  <a:cubicBezTo>
                    <a:pt x="9" y="5"/>
                    <a:pt x="11" y="11"/>
                    <a:pt x="9" y="12"/>
                  </a:cubicBezTo>
                  <a:cubicBezTo>
                    <a:pt x="8" y="12"/>
                    <a:pt x="0" y="4"/>
                    <a:pt x="3"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1" name="Freeform 163"/>
            <p:cNvSpPr>
              <a:spLocks/>
            </p:cNvSpPr>
            <p:nvPr>
              <p:custDataLst>
                <p:tags r:id="rId100"/>
              </p:custDataLst>
            </p:nvPr>
          </p:nvSpPr>
          <p:spPr bwMode="auto">
            <a:xfrm>
              <a:off x="4264" y="2584"/>
              <a:ext cx="38" cy="50"/>
            </a:xfrm>
            <a:custGeom>
              <a:avLst/>
              <a:gdLst>
                <a:gd name="T0" fmla="*/ 21936 w 22"/>
                <a:gd name="T1" fmla="*/ 67616 h 27"/>
                <a:gd name="T2" fmla="*/ 5484 w 22"/>
                <a:gd name="T3" fmla="*/ 76435 h 27"/>
                <a:gd name="T4" fmla="*/ 16452 w 22"/>
                <a:gd name="T5" fmla="*/ 49977 h 27"/>
                <a:gd name="T6" fmla="*/ 35647 w 22"/>
                <a:gd name="T7" fmla="*/ 29398 h 27"/>
                <a:gd name="T8" fmla="*/ 46615 w 22"/>
                <a:gd name="T9" fmla="*/ 14699 h 27"/>
                <a:gd name="T10" fmla="*/ 52099 w 22"/>
                <a:gd name="T11" fmla="*/ 0 h 27"/>
                <a:gd name="T12" fmla="*/ 60325 w 22"/>
                <a:gd name="T13" fmla="*/ 8819 h 27"/>
                <a:gd name="T14" fmla="*/ 60325 w 22"/>
                <a:gd name="T15" fmla="*/ 29398 h 27"/>
                <a:gd name="T16" fmla="*/ 41131 w 22"/>
                <a:gd name="T17" fmla="*/ 47037 h 27"/>
                <a:gd name="T18" fmla="*/ 21936 w 22"/>
                <a:gd name="T19" fmla="*/ 67616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27">
                  <a:moveTo>
                    <a:pt x="8" y="23"/>
                  </a:moveTo>
                  <a:cubicBezTo>
                    <a:pt x="7" y="24"/>
                    <a:pt x="3" y="27"/>
                    <a:pt x="2" y="26"/>
                  </a:cubicBezTo>
                  <a:cubicBezTo>
                    <a:pt x="0" y="25"/>
                    <a:pt x="3" y="19"/>
                    <a:pt x="6" y="17"/>
                  </a:cubicBezTo>
                  <a:cubicBezTo>
                    <a:pt x="9" y="16"/>
                    <a:pt x="10" y="12"/>
                    <a:pt x="13" y="10"/>
                  </a:cubicBezTo>
                  <a:cubicBezTo>
                    <a:pt x="16" y="8"/>
                    <a:pt x="17" y="7"/>
                    <a:pt x="17" y="5"/>
                  </a:cubicBezTo>
                  <a:cubicBezTo>
                    <a:pt x="17" y="4"/>
                    <a:pt x="17" y="0"/>
                    <a:pt x="19" y="0"/>
                  </a:cubicBezTo>
                  <a:cubicBezTo>
                    <a:pt x="21" y="0"/>
                    <a:pt x="22" y="1"/>
                    <a:pt x="22" y="3"/>
                  </a:cubicBezTo>
                  <a:cubicBezTo>
                    <a:pt x="22" y="4"/>
                    <a:pt x="22" y="9"/>
                    <a:pt x="22" y="10"/>
                  </a:cubicBezTo>
                  <a:cubicBezTo>
                    <a:pt x="20" y="11"/>
                    <a:pt x="16" y="14"/>
                    <a:pt x="15" y="16"/>
                  </a:cubicBezTo>
                  <a:cubicBezTo>
                    <a:pt x="13" y="17"/>
                    <a:pt x="10" y="22"/>
                    <a:pt x="8"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2" name="Freeform 164"/>
            <p:cNvSpPr>
              <a:spLocks/>
            </p:cNvSpPr>
            <p:nvPr>
              <p:custDataLst>
                <p:tags r:id="rId101"/>
              </p:custDataLst>
            </p:nvPr>
          </p:nvSpPr>
          <p:spPr bwMode="auto">
            <a:xfrm>
              <a:off x="4074" y="2415"/>
              <a:ext cx="94" cy="217"/>
            </a:xfrm>
            <a:custGeom>
              <a:avLst/>
              <a:gdLst>
                <a:gd name="T0" fmla="*/ 5426 w 55"/>
                <a:gd name="T1" fmla="*/ 29194 h 118"/>
                <a:gd name="T2" fmla="*/ 0 w 55"/>
                <a:gd name="T3" fmla="*/ 17516 h 118"/>
                <a:gd name="T4" fmla="*/ 10853 w 55"/>
                <a:gd name="T5" fmla="*/ 14597 h 118"/>
                <a:gd name="T6" fmla="*/ 56977 w 55"/>
                <a:gd name="T7" fmla="*/ 0 h 118"/>
                <a:gd name="T8" fmla="*/ 70543 w 55"/>
                <a:gd name="T9" fmla="*/ 5839 h 118"/>
                <a:gd name="T10" fmla="*/ 89535 w 55"/>
                <a:gd name="T11" fmla="*/ 8758 h 118"/>
                <a:gd name="T12" fmla="*/ 86822 w 55"/>
                <a:gd name="T13" fmla="*/ 26275 h 118"/>
                <a:gd name="T14" fmla="*/ 113954 w 55"/>
                <a:gd name="T15" fmla="*/ 40871 h 118"/>
                <a:gd name="T16" fmla="*/ 100388 w 55"/>
                <a:gd name="T17" fmla="*/ 52549 h 118"/>
                <a:gd name="T18" fmla="*/ 86822 w 55"/>
                <a:gd name="T19" fmla="*/ 64227 h 118"/>
                <a:gd name="T20" fmla="*/ 70543 w 55"/>
                <a:gd name="T21" fmla="*/ 87582 h 118"/>
                <a:gd name="T22" fmla="*/ 78682 w 55"/>
                <a:gd name="T23" fmla="*/ 110937 h 118"/>
                <a:gd name="T24" fmla="*/ 89535 w 55"/>
                <a:gd name="T25" fmla="*/ 125534 h 118"/>
                <a:gd name="T26" fmla="*/ 103101 w 55"/>
                <a:gd name="T27" fmla="*/ 143050 h 118"/>
                <a:gd name="T28" fmla="*/ 130233 w 55"/>
                <a:gd name="T29" fmla="*/ 169325 h 118"/>
                <a:gd name="T30" fmla="*/ 146512 w 55"/>
                <a:gd name="T31" fmla="*/ 210196 h 118"/>
                <a:gd name="T32" fmla="*/ 146512 w 55"/>
                <a:gd name="T33" fmla="*/ 256906 h 118"/>
                <a:gd name="T34" fmla="*/ 135659 w 55"/>
                <a:gd name="T35" fmla="*/ 280261 h 118"/>
                <a:gd name="T36" fmla="*/ 94961 w 55"/>
                <a:gd name="T37" fmla="*/ 297778 h 118"/>
                <a:gd name="T38" fmla="*/ 84109 w 55"/>
                <a:gd name="T39" fmla="*/ 321133 h 118"/>
                <a:gd name="T40" fmla="*/ 65116 w 55"/>
                <a:gd name="T41" fmla="*/ 332810 h 118"/>
                <a:gd name="T42" fmla="*/ 46124 w 55"/>
                <a:gd name="T43" fmla="*/ 341569 h 118"/>
                <a:gd name="T44" fmla="*/ 48837 w 55"/>
                <a:gd name="T45" fmla="*/ 303617 h 118"/>
                <a:gd name="T46" fmla="*/ 40698 w 55"/>
                <a:gd name="T47" fmla="*/ 297778 h 118"/>
                <a:gd name="T48" fmla="*/ 54264 w 55"/>
                <a:gd name="T49" fmla="*/ 286100 h 118"/>
                <a:gd name="T50" fmla="*/ 75969 w 55"/>
                <a:gd name="T51" fmla="*/ 280261 h 118"/>
                <a:gd name="T52" fmla="*/ 78682 w 55"/>
                <a:gd name="T53" fmla="*/ 262745 h 118"/>
                <a:gd name="T54" fmla="*/ 103101 w 55"/>
                <a:gd name="T55" fmla="*/ 248148 h 118"/>
                <a:gd name="T56" fmla="*/ 103101 w 55"/>
                <a:gd name="T57" fmla="*/ 216035 h 118"/>
                <a:gd name="T58" fmla="*/ 103101 w 55"/>
                <a:gd name="T59" fmla="*/ 181002 h 118"/>
                <a:gd name="T60" fmla="*/ 86822 w 55"/>
                <a:gd name="T61" fmla="*/ 157647 h 118"/>
                <a:gd name="T62" fmla="*/ 70543 w 55"/>
                <a:gd name="T63" fmla="*/ 134292 h 118"/>
                <a:gd name="T64" fmla="*/ 48837 w 55"/>
                <a:gd name="T65" fmla="*/ 108017 h 118"/>
                <a:gd name="T66" fmla="*/ 29845 w 55"/>
                <a:gd name="T67" fmla="*/ 96340 h 118"/>
                <a:gd name="T68" fmla="*/ 35271 w 55"/>
                <a:gd name="T69" fmla="*/ 81743 h 118"/>
                <a:gd name="T70" fmla="*/ 48837 w 55"/>
                <a:gd name="T71" fmla="*/ 78824 h 118"/>
                <a:gd name="T72" fmla="*/ 54264 w 55"/>
                <a:gd name="T73" fmla="*/ 67146 h 118"/>
                <a:gd name="T74" fmla="*/ 37985 w 55"/>
                <a:gd name="T75" fmla="*/ 52549 h 118"/>
                <a:gd name="T76" fmla="*/ 27132 w 55"/>
                <a:gd name="T77" fmla="*/ 58388 h 118"/>
                <a:gd name="T78" fmla="*/ 8140 w 55"/>
                <a:gd name="T79" fmla="*/ 49630 h 118"/>
                <a:gd name="T80" fmla="*/ 5426 w 55"/>
                <a:gd name="T81" fmla="*/ 29194 h 1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5" h="118">
                  <a:moveTo>
                    <a:pt x="2" y="10"/>
                  </a:moveTo>
                  <a:cubicBezTo>
                    <a:pt x="0" y="6"/>
                    <a:pt x="0" y="6"/>
                    <a:pt x="0" y="6"/>
                  </a:cubicBezTo>
                  <a:cubicBezTo>
                    <a:pt x="2" y="6"/>
                    <a:pt x="4" y="5"/>
                    <a:pt x="4" y="5"/>
                  </a:cubicBezTo>
                  <a:cubicBezTo>
                    <a:pt x="6" y="5"/>
                    <a:pt x="20" y="1"/>
                    <a:pt x="21" y="0"/>
                  </a:cubicBezTo>
                  <a:cubicBezTo>
                    <a:pt x="22" y="0"/>
                    <a:pt x="25" y="1"/>
                    <a:pt x="26" y="2"/>
                  </a:cubicBezTo>
                  <a:cubicBezTo>
                    <a:pt x="28" y="2"/>
                    <a:pt x="31" y="2"/>
                    <a:pt x="33" y="3"/>
                  </a:cubicBezTo>
                  <a:cubicBezTo>
                    <a:pt x="35" y="4"/>
                    <a:pt x="31" y="8"/>
                    <a:pt x="32" y="9"/>
                  </a:cubicBezTo>
                  <a:cubicBezTo>
                    <a:pt x="33" y="9"/>
                    <a:pt x="42" y="14"/>
                    <a:pt x="42" y="14"/>
                  </a:cubicBezTo>
                  <a:cubicBezTo>
                    <a:pt x="40" y="16"/>
                    <a:pt x="38" y="18"/>
                    <a:pt x="37" y="18"/>
                  </a:cubicBezTo>
                  <a:cubicBezTo>
                    <a:pt x="35" y="19"/>
                    <a:pt x="34" y="20"/>
                    <a:pt x="32" y="22"/>
                  </a:cubicBezTo>
                  <a:cubicBezTo>
                    <a:pt x="31" y="25"/>
                    <a:pt x="27" y="27"/>
                    <a:pt x="26" y="30"/>
                  </a:cubicBezTo>
                  <a:cubicBezTo>
                    <a:pt x="26" y="33"/>
                    <a:pt x="28" y="38"/>
                    <a:pt x="29" y="38"/>
                  </a:cubicBezTo>
                  <a:cubicBezTo>
                    <a:pt x="29" y="38"/>
                    <a:pt x="33" y="42"/>
                    <a:pt x="33" y="43"/>
                  </a:cubicBezTo>
                  <a:cubicBezTo>
                    <a:pt x="33" y="44"/>
                    <a:pt x="37" y="48"/>
                    <a:pt x="38" y="49"/>
                  </a:cubicBezTo>
                  <a:cubicBezTo>
                    <a:pt x="39" y="50"/>
                    <a:pt x="46" y="55"/>
                    <a:pt x="48" y="58"/>
                  </a:cubicBezTo>
                  <a:cubicBezTo>
                    <a:pt x="49" y="61"/>
                    <a:pt x="53" y="70"/>
                    <a:pt x="54" y="72"/>
                  </a:cubicBezTo>
                  <a:cubicBezTo>
                    <a:pt x="54" y="75"/>
                    <a:pt x="55" y="85"/>
                    <a:pt x="54" y="88"/>
                  </a:cubicBezTo>
                  <a:cubicBezTo>
                    <a:pt x="53" y="90"/>
                    <a:pt x="51" y="95"/>
                    <a:pt x="50" y="96"/>
                  </a:cubicBezTo>
                  <a:cubicBezTo>
                    <a:pt x="48" y="97"/>
                    <a:pt x="36" y="101"/>
                    <a:pt x="35" y="102"/>
                  </a:cubicBezTo>
                  <a:cubicBezTo>
                    <a:pt x="33" y="104"/>
                    <a:pt x="33" y="110"/>
                    <a:pt x="31" y="110"/>
                  </a:cubicBezTo>
                  <a:cubicBezTo>
                    <a:pt x="29" y="110"/>
                    <a:pt x="25" y="112"/>
                    <a:pt x="24" y="114"/>
                  </a:cubicBezTo>
                  <a:cubicBezTo>
                    <a:pt x="23" y="116"/>
                    <a:pt x="18" y="118"/>
                    <a:pt x="17" y="117"/>
                  </a:cubicBezTo>
                  <a:cubicBezTo>
                    <a:pt x="15" y="116"/>
                    <a:pt x="19" y="105"/>
                    <a:pt x="18" y="104"/>
                  </a:cubicBezTo>
                  <a:cubicBezTo>
                    <a:pt x="17" y="104"/>
                    <a:pt x="16" y="103"/>
                    <a:pt x="15" y="102"/>
                  </a:cubicBezTo>
                  <a:cubicBezTo>
                    <a:pt x="20" y="98"/>
                    <a:pt x="20" y="98"/>
                    <a:pt x="20" y="98"/>
                  </a:cubicBezTo>
                  <a:cubicBezTo>
                    <a:pt x="22" y="97"/>
                    <a:pt x="27" y="98"/>
                    <a:pt x="28" y="96"/>
                  </a:cubicBezTo>
                  <a:cubicBezTo>
                    <a:pt x="30" y="95"/>
                    <a:pt x="27" y="90"/>
                    <a:pt x="29" y="90"/>
                  </a:cubicBezTo>
                  <a:cubicBezTo>
                    <a:pt x="31" y="90"/>
                    <a:pt x="36" y="87"/>
                    <a:pt x="38" y="85"/>
                  </a:cubicBezTo>
                  <a:cubicBezTo>
                    <a:pt x="40" y="83"/>
                    <a:pt x="37" y="75"/>
                    <a:pt x="38" y="74"/>
                  </a:cubicBezTo>
                  <a:cubicBezTo>
                    <a:pt x="39" y="72"/>
                    <a:pt x="39" y="65"/>
                    <a:pt x="38" y="62"/>
                  </a:cubicBezTo>
                  <a:cubicBezTo>
                    <a:pt x="37" y="60"/>
                    <a:pt x="33" y="56"/>
                    <a:pt x="32" y="54"/>
                  </a:cubicBezTo>
                  <a:cubicBezTo>
                    <a:pt x="31" y="53"/>
                    <a:pt x="27" y="49"/>
                    <a:pt x="26" y="46"/>
                  </a:cubicBezTo>
                  <a:cubicBezTo>
                    <a:pt x="24" y="44"/>
                    <a:pt x="21" y="38"/>
                    <a:pt x="18" y="37"/>
                  </a:cubicBezTo>
                  <a:cubicBezTo>
                    <a:pt x="16" y="36"/>
                    <a:pt x="12" y="33"/>
                    <a:pt x="11" y="33"/>
                  </a:cubicBezTo>
                  <a:cubicBezTo>
                    <a:pt x="10" y="32"/>
                    <a:pt x="13" y="28"/>
                    <a:pt x="13" y="28"/>
                  </a:cubicBezTo>
                  <a:cubicBezTo>
                    <a:pt x="13" y="28"/>
                    <a:pt x="18" y="29"/>
                    <a:pt x="18" y="27"/>
                  </a:cubicBezTo>
                  <a:cubicBezTo>
                    <a:pt x="19" y="26"/>
                    <a:pt x="20" y="23"/>
                    <a:pt x="20" y="23"/>
                  </a:cubicBezTo>
                  <a:cubicBezTo>
                    <a:pt x="20" y="23"/>
                    <a:pt x="16" y="19"/>
                    <a:pt x="14" y="18"/>
                  </a:cubicBezTo>
                  <a:cubicBezTo>
                    <a:pt x="12" y="17"/>
                    <a:pt x="11" y="19"/>
                    <a:pt x="10" y="20"/>
                  </a:cubicBezTo>
                  <a:cubicBezTo>
                    <a:pt x="8" y="21"/>
                    <a:pt x="4" y="20"/>
                    <a:pt x="3" y="17"/>
                  </a:cubicBezTo>
                  <a:cubicBezTo>
                    <a:pt x="3" y="15"/>
                    <a:pt x="4" y="11"/>
                    <a:pt x="2"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3" name="Freeform 166"/>
            <p:cNvSpPr>
              <a:spLocks/>
            </p:cNvSpPr>
            <p:nvPr>
              <p:custDataLst>
                <p:tags r:id="rId102"/>
              </p:custDataLst>
            </p:nvPr>
          </p:nvSpPr>
          <p:spPr bwMode="auto">
            <a:xfrm>
              <a:off x="4167" y="2645"/>
              <a:ext cx="128" cy="93"/>
            </a:xfrm>
            <a:custGeom>
              <a:avLst/>
              <a:gdLst>
                <a:gd name="T0" fmla="*/ 8128 w 75"/>
                <a:gd name="T1" fmla="*/ 136059 h 51"/>
                <a:gd name="T2" fmla="*/ 0 w 75"/>
                <a:gd name="T3" fmla="*/ 115795 h 51"/>
                <a:gd name="T4" fmla="*/ 29803 w 75"/>
                <a:gd name="T5" fmla="*/ 127374 h 51"/>
                <a:gd name="T6" fmla="*/ 37931 w 75"/>
                <a:gd name="T7" fmla="*/ 101320 h 51"/>
                <a:gd name="T8" fmla="*/ 67733 w 75"/>
                <a:gd name="T9" fmla="*/ 92636 h 51"/>
                <a:gd name="T10" fmla="*/ 83989 w 75"/>
                <a:gd name="T11" fmla="*/ 78161 h 51"/>
                <a:gd name="T12" fmla="*/ 94827 w 75"/>
                <a:gd name="T13" fmla="*/ 57897 h 51"/>
                <a:gd name="T14" fmla="*/ 127339 w 75"/>
                <a:gd name="T15" fmla="*/ 40528 h 51"/>
                <a:gd name="T16" fmla="*/ 149013 w 75"/>
                <a:gd name="T17" fmla="*/ 5790 h 51"/>
                <a:gd name="T18" fmla="*/ 159851 w 75"/>
                <a:gd name="T19" fmla="*/ 0 h 51"/>
                <a:gd name="T20" fmla="*/ 162560 w 75"/>
                <a:gd name="T21" fmla="*/ 5790 h 51"/>
                <a:gd name="T22" fmla="*/ 165269 w 75"/>
                <a:gd name="T23" fmla="*/ 26054 h 51"/>
                <a:gd name="T24" fmla="*/ 186944 w 75"/>
                <a:gd name="T25" fmla="*/ 34738 h 51"/>
                <a:gd name="T26" fmla="*/ 203200 w 75"/>
                <a:gd name="T27" fmla="*/ 43423 h 51"/>
                <a:gd name="T28" fmla="*/ 192363 w 75"/>
                <a:gd name="T29" fmla="*/ 63687 h 51"/>
                <a:gd name="T30" fmla="*/ 173397 w 75"/>
                <a:gd name="T31" fmla="*/ 69477 h 51"/>
                <a:gd name="T32" fmla="*/ 173397 w 75"/>
                <a:gd name="T33" fmla="*/ 72372 h 51"/>
                <a:gd name="T34" fmla="*/ 159851 w 75"/>
                <a:gd name="T35" fmla="*/ 63687 h 51"/>
                <a:gd name="T36" fmla="*/ 130048 w 75"/>
                <a:gd name="T37" fmla="*/ 66582 h 51"/>
                <a:gd name="T38" fmla="*/ 119211 w 75"/>
                <a:gd name="T39" fmla="*/ 101320 h 51"/>
                <a:gd name="T40" fmla="*/ 97536 w 75"/>
                <a:gd name="T41" fmla="*/ 130269 h 51"/>
                <a:gd name="T42" fmla="*/ 67733 w 75"/>
                <a:gd name="T43" fmla="*/ 127374 h 51"/>
                <a:gd name="T44" fmla="*/ 56896 w 75"/>
                <a:gd name="T45" fmla="*/ 141848 h 51"/>
                <a:gd name="T46" fmla="*/ 24384 w 75"/>
                <a:gd name="T47" fmla="*/ 147638 h 51"/>
                <a:gd name="T48" fmla="*/ 8128 w 75"/>
                <a:gd name="T49" fmla="*/ 136059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5" h="51">
                  <a:moveTo>
                    <a:pt x="3" y="47"/>
                  </a:moveTo>
                  <a:cubicBezTo>
                    <a:pt x="0" y="40"/>
                    <a:pt x="0" y="40"/>
                    <a:pt x="0" y="40"/>
                  </a:cubicBezTo>
                  <a:cubicBezTo>
                    <a:pt x="3" y="38"/>
                    <a:pt x="10" y="44"/>
                    <a:pt x="11" y="44"/>
                  </a:cubicBezTo>
                  <a:cubicBezTo>
                    <a:pt x="12" y="44"/>
                    <a:pt x="13" y="36"/>
                    <a:pt x="14" y="35"/>
                  </a:cubicBezTo>
                  <a:cubicBezTo>
                    <a:pt x="15" y="33"/>
                    <a:pt x="23" y="32"/>
                    <a:pt x="25" y="32"/>
                  </a:cubicBezTo>
                  <a:cubicBezTo>
                    <a:pt x="27" y="32"/>
                    <a:pt x="29" y="29"/>
                    <a:pt x="31" y="27"/>
                  </a:cubicBezTo>
                  <a:cubicBezTo>
                    <a:pt x="33" y="25"/>
                    <a:pt x="33" y="20"/>
                    <a:pt x="35" y="20"/>
                  </a:cubicBezTo>
                  <a:cubicBezTo>
                    <a:pt x="39" y="20"/>
                    <a:pt x="45" y="15"/>
                    <a:pt x="47" y="14"/>
                  </a:cubicBezTo>
                  <a:cubicBezTo>
                    <a:pt x="49" y="13"/>
                    <a:pt x="54" y="3"/>
                    <a:pt x="55" y="2"/>
                  </a:cubicBezTo>
                  <a:cubicBezTo>
                    <a:pt x="56" y="1"/>
                    <a:pt x="57" y="0"/>
                    <a:pt x="59" y="0"/>
                  </a:cubicBezTo>
                  <a:cubicBezTo>
                    <a:pt x="61" y="0"/>
                    <a:pt x="60" y="2"/>
                    <a:pt x="60" y="2"/>
                  </a:cubicBezTo>
                  <a:cubicBezTo>
                    <a:pt x="60" y="2"/>
                    <a:pt x="61" y="8"/>
                    <a:pt x="61" y="9"/>
                  </a:cubicBezTo>
                  <a:cubicBezTo>
                    <a:pt x="61" y="11"/>
                    <a:pt x="67" y="11"/>
                    <a:pt x="69" y="12"/>
                  </a:cubicBezTo>
                  <a:cubicBezTo>
                    <a:pt x="70" y="13"/>
                    <a:pt x="74" y="13"/>
                    <a:pt x="75" y="15"/>
                  </a:cubicBezTo>
                  <a:cubicBezTo>
                    <a:pt x="75" y="17"/>
                    <a:pt x="73" y="21"/>
                    <a:pt x="71" y="22"/>
                  </a:cubicBezTo>
                  <a:cubicBezTo>
                    <a:pt x="71" y="22"/>
                    <a:pt x="64" y="24"/>
                    <a:pt x="64" y="24"/>
                  </a:cubicBezTo>
                  <a:cubicBezTo>
                    <a:pt x="64" y="24"/>
                    <a:pt x="64" y="25"/>
                    <a:pt x="64" y="25"/>
                  </a:cubicBezTo>
                  <a:cubicBezTo>
                    <a:pt x="59" y="22"/>
                    <a:pt x="59" y="22"/>
                    <a:pt x="59" y="22"/>
                  </a:cubicBezTo>
                  <a:cubicBezTo>
                    <a:pt x="56" y="22"/>
                    <a:pt x="50" y="22"/>
                    <a:pt x="48" y="23"/>
                  </a:cubicBezTo>
                  <a:cubicBezTo>
                    <a:pt x="46" y="24"/>
                    <a:pt x="44" y="32"/>
                    <a:pt x="44" y="35"/>
                  </a:cubicBezTo>
                  <a:cubicBezTo>
                    <a:pt x="44" y="37"/>
                    <a:pt x="38" y="45"/>
                    <a:pt x="36" y="45"/>
                  </a:cubicBezTo>
                  <a:cubicBezTo>
                    <a:pt x="33" y="46"/>
                    <a:pt x="28" y="44"/>
                    <a:pt x="25" y="44"/>
                  </a:cubicBezTo>
                  <a:cubicBezTo>
                    <a:pt x="22" y="43"/>
                    <a:pt x="22" y="47"/>
                    <a:pt x="21" y="49"/>
                  </a:cubicBezTo>
                  <a:cubicBezTo>
                    <a:pt x="21" y="50"/>
                    <a:pt x="11" y="51"/>
                    <a:pt x="9" y="51"/>
                  </a:cubicBezTo>
                  <a:cubicBezTo>
                    <a:pt x="6" y="51"/>
                    <a:pt x="4" y="49"/>
                    <a:pt x="3" y="4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4" name="Freeform 167"/>
            <p:cNvSpPr>
              <a:spLocks/>
            </p:cNvSpPr>
            <p:nvPr>
              <p:custDataLst>
                <p:tags r:id="rId103"/>
              </p:custDataLst>
            </p:nvPr>
          </p:nvSpPr>
          <p:spPr bwMode="auto">
            <a:xfrm>
              <a:off x="4045" y="2658"/>
              <a:ext cx="57" cy="73"/>
            </a:xfrm>
            <a:custGeom>
              <a:avLst/>
              <a:gdLst>
                <a:gd name="T0" fmla="*/ 16452 w 33"/>
                <a:gd name="T1" fmla="*/ 57944 h 40"/>
                <a:gd name="T2" fmla="*/ 0 w 33"/>
                <a:gd name="T3" fmla="*/ 0 h 40"/>
                <a:gd name="T4" fmla="*/ 16452 w 33"/>
                <a:gd name="T5" fmla="*/ 0 h 40"/>
                <a:gd name="T6" fmla="*/ 24679 w 33"/>
                <a:gd name="T7" fmla="*/ 14486 h 40"/>
                <a:gd name="T8" fmla="*/ 43873 w 33"/>
                <a:gd name="T9" fmla="*/ 0 h 40"/>
                <a:gd name="T10" fmla="*/ 57583 w 33"/>
                <a:gd name="T11" fmla="*/ 11589 h 40"/>
                <a:gd name="T12" fmla="*/ 71294 w 33"/>
                <a:gd name="T13" fmla="*/ 34766 h 40"/>
                <a:gd name="T14" fmla="*/ 71294 w 33"/>
                <a:gd name="T15" fmla="*/ 69533 h 40"/>
                <a:gd name="T16" fmla="*/ 87746 w 33"/>
                <a:gd name="T17" fmla="*/ 98505 h 40"/>
                <a:gd name="T18" fmla="*/ 87746 w 33"/>
                <a:gd name="T19" fmla="*/ 112991 h 40"/>
                <a:gd name="T20" fmla="*/ 68552 w 33"/>
                <a:gd name="T21" fmla="*/ 110094 h 40"/>
                <a:gd name="T22" fmla="*/ 24679 w 33"/>
                <a:gd name="T23" fmla="*/ 78224 h 40"/>
                <a:gd name="T24" fmla="*/ 16452 w 33"/>
                <a:gd name="T25" fmla="*/ 5794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40">
                  <a:moveTo>
                    <a:pt x="6" y="20"/>
                  </a:moveTo>
                  <a:cubicBezTo>
                    <a:pt x="4" y="17"/>
                    <a:pt x="2" y="3"/>
                    <a:pt x="0" y="0"/>
                  </a:cubicBezTo>
                  <a:cubicBezTo>
                    <a:pt x="6" y="0"/>
                    <a:pt x="6" y="0"/>
                    <a:pt x="6" y="0"/>
                  </a:cubicBezTo>
                  <a:cubicBezTo>
                    <a:pt x="6" y="0"/>
                    <a:pt x="7" y="5"/>
                    <a:pt x="9" y="5"/>
                  </a:cubicBezTo>
                  <a:cubicBezTo>
                    <a:pt x="10" y="5"/>
                    <a:pt x="16" y="0"/>
                    <a:pt x="16" y="0"/>
                  </a:cubicBezTo>
                  <a:cubicBezTo>
                    <a:pt x="18" y="1"/>
                    <a:pt x="20" y="3"/>
                    <a:pt x="21" y="4"/>
                  </a:cubicBezTo>
                  <a:cubicBezTo>
                    <a:pt x="23" y="6"/>
                    <a:pt x="26" y="9"/>
                    <a:pt x="26" y="12"/>
                  </a:cubicBezTo>
                  <a:cubicBezTo>
                    <a:pt x="26" y="15"/>
                    <a:pt x="25" y="21"/>
                    <a:pt x="26" y="24"/>
                  </a:cubicBezTo>
                  <a:cubicBezTo>
                    <a:pt x="26" y="28"/>
                    <a:pt x="31" y="33"/>
                    <a:pt x="32" y="34"/>
                  </a:cubicBezTo>
                  <a:cubicBezTo>
                    <a:pt x="32" y="36"/>
                    <a:pt x="33" y="38"/>
                    <a:pt x="32" y="39"/>
                  </a:cubicBezTo>
                  <a:cubicBezTo>
                    <a:pt x="30" y="40"/>
                    <a:pt x="27" y="38"/>
                    <a:pt x="25" y="38"/>
                  </a:cubicBezTo>
                  <a:cubicBezTo>
                    <a:pt x="23" y="37"/>
                    <a:pt x="12" y="29"/>
                    <a:pt x="9" y="27"/>
                  </a:cubicBezTo>
                  <a:cubicBezTo>
                    <a:pt x="7" y="24"/>
                    <a:pt x="9" y="23"/>
                    <a:pt x="6" y="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5" name="Freeform 168"/>
            <p:cNvSpPr>
              <a:spLocks/>
            </p:cNvSpPr>
            <p:nvPr>
              <p:custDataLst>
                <p:tags r:id="rId104"/>
              </p:custDataLst>
            </p:nvPr>
          </p:nvSpPr>
          <p:spPr bwMode="auto">
            <a:xfrm>
              <a:off x="4008" y="2458"/>
              <a:ext cx="105" cy="208"/>
            </a:xfrm>
            <a:custGeom>
              <a:avLst/>
              <a:gdLst>
                <a:gd name="T0" fmla="*/ 16396 w 61"/>
                <a:gd name="T1" fmla="*/ 272270 h 114"/>
                <a:gd name="T2" fmla="*/ 16396 w 61"/>
                <a:gd name="T3" fmla="*/ 225926 h 114"/>
                <a:gd name="T4" fmla="*/ 16396 w 61"/>
                <a:gd name="T5" fmla="*/ 220133 h 114"/>
                <a:gd name="T6" fmla="*/ 35524 w 61"/>
                <a:gd name="T7" fmla="*/ 188272 h 114"/>
                <a:gd name="T8" fmla="*/ 35524 w 61"/>
                <a:gd name="T9" fmla="*/ 162204 h 114"/>
                <a:gd name="T10" fmla="*/ 27326 w 61"/>
                <a:gd name="T11" fmla="*/ 136135 h 114"/>
                <a:gd name="T12" fmla="*/ 24593 w 61"/>
                <a:gd name="T13" fmla="*/ 115860 h 114"/>
                <a:gd name="T14" fmla="*/ 27326 w 61"/>
                <a:gd name="T15" fmla="*/ 81102 h 114"/>
                <a:gd name="T16" fmla="*/ 2733 w 61"/>
                <a:gd name="T17" fmla="*/ 46344 h 114"/>
                <a:gd name="T18" fmla="*/ 10930 w 61"/>
                <a:gd name="T19" fmla="*/ 17379 h 114"/>
                <a:gd name="T20" fmla="*/ 27326 w 61"/>
                <a:gd name="T21" fmla="*/ 14482 h 114"/>
                <a:gd name="T22" fmla="*/ 43721 w 61"/>
                <a:gd name="T23" fmla="*/ 2896 h 114"/>
                <a:gd name="T24" fmla="*/ 57384 w 61"/>
                <a:gd name="T25" fmla="*/ 0 h 114"/>
                <a:gd name="T26" fmla="*/ 62850 w 61"/>
                <a:gd name="T27" fmla="*/ 2896 h 114"/>
                <a:gd name="T28" fmla="*/ 60117 w 61"/>
                <a:gd name="T29" fmla="*/ 20275 h 114"/>
                <a:gd name="T30" fmla="*/ 71047 w 61"/>
                <a:gd name="T31" fmla="*/ 20275 h 114"/>
                <a:gd name="T32" fmla="*/ 79245 w 61"/>
                <a:gd name="T33" fmla="*/ 31861 h 114"/>
                <a:gd name="T34" fmla="*/ 73780 w 61"/>
                <a:gd name="T35" fmla="*/ 69516 h 114"/>
                <a:gd name="T36" fmla="*/ 90175 w 61"/>
                <a:gd name="T37" fmla="*/ 57930 h 114"/>
                <a:gd name="T38" fmla="*/ 112036 w 61"/>
                <a:gd name="T39" fmla="*/ 57930 h 114"/>
                <a:gd name="T40" fmla="*/ 125699 w 61"/>
                <a:gd name="T41" fmla="*/ 46344 h 114"/>
                <a:gd name="T42" fmla="*/ 150292 w 61"/>
                <a:gd name="T43" fmla="*/ 66619 h 114"/>
                <a:gd name="T44" fmla="*/ 153025 w 61"/>
                <a:gd name="T45" fmla="*/ 92688 h 114"/>
                <a:gd name="T46" fmla="*/ 166688 w 61"/>
                <a:gd name="T47" fmla="*/ 110067 h 114"/>
                <a:gd name="T48" fmla="*/ 161223 w 61"/>
                <a:gd name="T49" fmla="*/ 139032 h 114"/>
                <a:gd name="T50" fmla="*/ 125699 w 61"/>
                <a:gd name="T51" fmla="*/ 139032 h 114"/>
                <a:gd name="T52" fmla="*/ 103838 w 61"/>
                <a:gd name="T53" fmla="*/ 159307 h 114"/>
                <a:gd name="T54" fmla="*/ 114769 w 61"/>
                <a:gd name="T55" fmla="*/ 185375 h 114"/>
                <a:gd name="T56" fmla="*/ 106571 w 61"/>
                <a:gd name="T57" fmla="*/ 194065 h 114"/>
                <a:gd name="T58" fmla="*/ 90175 w 61"/>
                <a:gd name="T59" fmla="*/ 182479 h 114"/>
                <a:gd name="T60" fmla="*/ 73780 w 61"/>
                <a:gd name="T61" fmla="*/ 173789 h 114"/>
                <a:gd name="T62" fmla="*/ 73780 w 61"/>
                <a:gd name="T63" fmla="*/ 156411 h 114"/>
                <a:gd name="T64" fmla="*/ 54652 w 61"/>
                <a:gd name="T65" fmla="*/ 156411 h 114"/>
                <a:gd name="T66" fmla="*/ 49187 w 61"/>
                <a:gd name="T67" fmla="*/ 191168 h 114"/>
                <a:gd name="T68" fmla="*/ 38256 w 61"/>
                <a:gd name="T69" fmla="*/ 231719 h 114"/>
                <a:gd name="T70" fmla="*/ 40989 w 61"/>
                <a:gd name="T71" fmla="*/ 249098 h 114"/>
                <a:gd name="T72" fmla="*/ 54652 w 61"/>
                <a:gd name="T73" fmla="*/ 249098 h 114"/>
                <a:gd name="T74" fmla="*/ 60117 w 61"/>
                <a:gd name="T75" fmla="*/ 269374 h 114"/>
                <a:gd name="T76" fmla="*/ 71047 w 61"/>
                <a:gd name="T77" fmla="*/ 298339 h 114"/>
                <a:gd name="T78" fmla="*/ 90175 w 61"/>
                <a:gd name="T79" fmla="*/ 301235 h 114"/>
                <a:gd name="T80" fmla="*/ 101106 w 61"/>
                <a:gd name="T81" fmla="*/ 315718 h 114"/>
                <a:gd name="T82" fmla="*/ 81978 w 61"/>
                <a:gd name="T83" fmla="*/ 330200 h 114"/>
                <a:gd name="T84" fmla="*/ 73780 w 61"/>
                <a:gd name="T85" fmla="*/ 315718 h 114"/>
                <a:gd name="T86" fmla="*/ 57384 w 61"/>
                <a:gd name="T87" fmla="*/ 315718 h 114"/>
                <a:gd name="T88" fmla="*/ 24593 w 61"/>
                <a:gd name="T89" fmla="*/ 275167 h 114"/>
                <a:gd name="T90" fmla="*/ 16396 w 61"/>
                <a:gd name="T91" fmla="*/ 272270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1" h="114">
                  <a:moveTo>
                    <a:pt x="6" y="94"/>
                  </a:moveTo>
                  <a:cubicBezTo>
                    <a:pt x="6" y="90"/>
                    <a:pt x="6" y="83"/>
                    <a:pt x="6" y="78"/>
                  </a:cubicBezTo>
                  <a:cubicBezTo>
                    <a:pt x="6" y="77"/>
                    <a:pt x="6" y="76"/>
                    <a:pt x="6" y="76"/>
                  </a:cubicBezTo>
                  <a:cubicBezTo>
                    <a:pt x="13" y="65"/>
                    <a:pt x="13" y="65"/>
                    <a:pt x="13" y="65"/>
                  </a:cubicBezTo>
                  <a:cubicBezTo>
                    <a:pt x="13" y="64"/>
                    <a:pt x="13" y="57"/>
                    <a:pt x="13" y="56"/>
                  </a:cubicBezTo>
                  <a:cubicBezTo>
                    <a:pt x="13" y="55"/>
                    <a:pt x="12" y="49"/>
                    <a:pt x="10" y="47"/>
                  </a:cubicBezTo>
                  <a:cubicBezTo>
                    <a:pt x="9" y="45"/>
                    <a:pt x="9" y="41"/>
                    <a:pt x="9" y="40"/>
                  </a:cubicBezTo>
                  <a:cubicBezTo>
                    <a:pt x="10" y="38"/>
                    <a:pt x="10" y="31"/>
                    <a:pt x="10" y="28"/>
                  </a:cubicBezTo>
                  <a:cubicBezTo>
                    <a:pt x="10" y="25"/>
                    <a:pt x="0" y="17"/>
                    <a:pt x="1" y="16"/>
                  </a:cubicBezTo>
                  <a:cubicBezTo>
                    <a:pt x="2" y="14"/>
                    <a:pt x="3" y="8"/>
                    <a:pt x="4" y="6"/>
                  </a:cubicBezTo>
                  <a:cubicBezTo>
                    <a:pt x="5" y="5"/>
                    <a:pt x="9" y="5"/>
                    <a:pt x="10" y="5"/>
                  </a:cubicBezTo>
                  <a:cubicBezTo>
                    <a:pt x="11" y="5"/>
                    <a:pt x="14" y="3"/>
                    <a:pt x="16" y="1"/>
                  </a:cubicBezTo>
                  <a:cubicBezTo>
                    <a:pt x="17" y="0"/>
                    <a:pt x="19" y="0"/>
                    <a:pt x="21" y="0"/>
                  </a:cubicBezTo>
                  <a:cubicBezTo>
                    <a:pt x="21" y="0"/>
                    <a:pt x="22" y="1"/>
                    <a:pt x="23" y="1"/>
                  </a:cubicBezTo>
                  <a:cubicBezTo>
                    <a:pt x="24" y="1"/>
                    <a:pt x="22" y="5"/>
                    <a:pt x="22" y="7"/>
                  </a:cubicBezTo>
                  <a:cubicBezTo>
                    <a:pt x="21" y="9"/>
                    <a:pt x="23" y="8"/>
                    <a:pt x="26" y="7"/>
                  </a:cubicBezTo>
                  <a:cubicBezTo>
                    <a:pt x="29" y="6"/>
                    <a:pt x="29" y="8"/>
                    <a:pt x="29" y="11"/>
                  </a:cubicBezTo>
                  <a:cubicBezTo>
                    <a:pt x="30" y="13"/>
                    <a:pt x="26" y="22"/>
                    <a:pt x="27" y="24"/>
                  </a:cubicBezTo>
                  <a:cubicBezTo>
                    <a:pt x="27" y="26"/>
                    <a:pt x="32" y="21"/>
                    <a:pt x="33" y="20"/>
                  </a:cubicBezTo>
                  <a:cubicBezTo>
                    <a:pt x="35" y="19"/>
                    <a:pt x="38" y="20"/>
                    <a:pt x="41" y="20"/>
                  </a:cubicBezTo>
                  <a:cubicBezTo>
                    <a:pt x="43" y="20"/>
                    <a:pt x="44" y="16"/>
                    <a:pt x="46" y="16"/>
                  </a:cubicBezTo>
                  <a:cubicBezTo>
                    <a:pt x="48" y="16"/>
                    <a:pt x="53" y="21"/>
                    <a:pt x="55" y="23"/>
                  </a:cubicBezTo>
                  <a:cubicBezTo>
                    <a:pt x="56" y="24"/>
                    <a:pt x="55" y="29"/>
                    <a:pt x="56" y="32"/>
                  </a:cubicBezTo>
                  <a:cubicBezTo>
                    <a:pt x="58" y="35"/>
                    <a:pt x="61" y="35"/>
                    <a:pt x="61" y="38"/>
                  </a:cubicBezTo>
                  <a:cubicBezTo>
                    <a:pt x="61" y="42"/>
                    <a:pt x="61" y="47"/>
                    <a:pt x="59" y="48"/>
                  </a:cubicBezTo>
                  <a:cubicBezTo>
                    <a:pt x="56" y="49"/>
                    <a:pt x="48" y="48"/>
                    <a:pt x="46" y="48"/>
                  </a:cubicBezTo>
                  <a:cubicBezTo>
                    <a:pt x="44" y="49"/>
                    <a:pt x="39" y="53"/>
                    <a:pt x="38" y="55"/>
                  </a:cubicBezTo>
                  <a:cubicBezTo>
                    <a:pt x="37" y="56"/>
                    <a:pt x="42" y="64"/>
                    <a:pt x="42" y="64"/>
                  </a:cubicBezTo>
                  <a:cubicBezTo>
                    <a:pt x="39" y="67"/>
                    <a:pt x="39" y="67"/>
                    <a:pt x="39" y="67"/>
                  </a:cubicBezTo>
                  <a:cubicBezTo>
                    <a:pt x="37" y="65"/>
                    <a:pt x="35" y="64"/>
                    <a:pt x="33" y="63"/>
                  </a:cubicBezTo>
                  <a:cubicBezTo>
                    <a:pt x="31" y="62"/>
                    <a:pt x="26" y="61"/>
                    <a:pt x="27" y="60"/>
                  </a:cubicBezTo>
                  <a:cubicBezTo>
                    <a:pt x="27" y="58"/>
                    <a:pt x="28" y="56"/>
                    <a:pt x="27" y="54"/>
                  </a:cubicBezTo>
                  <a:cubicBezTo>
                    <a:pt x="27" y="53"/>
                    <a:pt x="20" y="53"/>
                    <a:pt x="20" y="54"/>
                  </a:cubicBezTo>
                  <a:cubicBezTo>
                    <a:pt x="19" y="55"/>
                    <a:pt x="19" y="65"/>
                    <a:pt x="18" y="66"/>
                  </a:cubicBezTo>
                  <a:cubicBezTo>
                    <a:pt x="17" y="68"/>
                    <a:pt x="14" y="77"/>
                    <a:pt x="14" y="80"/>
                  </a:cubicBezTo>
                  <a:cubicBezTo>
                    <a:pt x="14" y="83"/>
                    <a:pt x="15" y="86"/>
                    <a:pt x="15" y="86"/>
                  </a:cubicBezTo>
                  <a:cubicBezTo>
                    <a:pt x="15" y="86"/>
                    <a:pt x="20" y="84"/>
                    <a:pt x="20" y="86"/>
                  </a:cubicBezTo>
                  <a:cubicBezTo>
                    <a:pt x="20" y="87"/>
                    <a:pt x="21" y="90"/>
                    <a:pt x="22" y="93"/>
                  </a:cubicBezTo>
                  <a:cubicBezTo>
                    <a:pt x="23" y="96"/>
                    <a:pt x="23" y="102"/>
                    <a:pt x="26" y="103"/>
                  </a:cubicBezTo>
                  <a:cubicBezTo>
                    <a:pt x="28" y="105"/>
                    <a:pt x="31" y="103"/>
                    <a:pt x="33" y="104"/>
                  </a:cubicBezTo>
                  <a:cubicBezTo>
                    <a:pt x="33" y="105"/>
                    <a:pt x="35" y="107"/>
                    <a:pt x="37" y="109"/>
                  </a:cubicBezTo>
                  <a:cubicBezTo>
                    <a:pt x="37" y="109"/>
                    <a:pt x="31" y="114"/>
                    <a:pt x="30" y="114"/>
                  </a:cubicBezTo>
                  <a:cubicBezTo>
                    <a:pt x="28" y="114"/>
                    <a:pt x="27" y="109"/>
                    <a:pt x="27" y="109"/>
                  </a:cubicBezTo>
                  <a:cubicBezTo>
                    <a:pt x="21" y="109"/>
                    <a:pt x="21" y="109"/>
                    <a:pt x="21" y="109"/>
                  </a:cubicBezTo>
                  <a:cubicBezTo>
                    <a:pt x="18" y="106"/>
                    <a:pt x="10" y="95"/>
                    <a:pt x="9" y="95"/>
                  </a:cubicBezTo>
                  <a:cubicBezTo>
                    <a:pt x="8" y="95"/>
                    <a:pt x="6" y="97"/>
                    <a:pt x="6" y="9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6" name="Freeform 170"/>
            <p:cNvSpPr>
              <a:spLocks/>
            </p:cNvSpPr>
            <p:nvPr>
              <p:custDataLst>
                <p:tags r:id="rId105"/>
              </p:custDataLst>
            </p:nvPr>
          </p:nvSpPr>
          <p:spPr bwMode="auto">
            <a:xfrm>
              <a:off x="4446" y="2751"/>
              <a:ext cx="134" cy="123"/>
            </a:xfrm>
            <a:custGeom>
              <a:avLst/>
              <a:gdLst>
                <a:gd name="T0" fmla="*/ 0 w 78"/>
                <a:gd name="T1" fmla="*/ 20401 h 67"/>
                <a:gd name="T2" fmla="*/ 10909 w 78"/>
                <a:gd name="T3" fmla="*/ 11657 h 67"/>
                <a:gd name="T4" fmla="*/ 24545 w 78"/>
                <a:gd name="T5" fmla="*/ 5829 h 67"/>
                <a:gd name="T6" fmla="*/ 38181 w 78"/>
                <a:gd name="T7" fmla="*/ 0 h 67"/>
                <a:gd name="T8" fmla="*/ 54545 w 78"/>
                <a:gd name="T9" fmla="*/ 8743 h 67"/>
                <a:gd name="T10" fmla="*/ 68181 w 78"/>
                <a:gd name="T11" fmla="*/ 11657 h 67"/>
                <a:gd name="T12" fmla="*/ 70908 w 78"/>
                <a:gd name="T13" fmla="*/ 37887 h 67"/>
                <a:gd name="T14" fmla="*/ 87272 w 78"/>
                <a:gd name="T15" fmla="*/ 64116 h 67"/>
                <a:gd name="T16" fmla="*/ 103635 w 78"/>
                <a:gd name="T17" fmla="*/ 61202 h 67"/>
                <a:gd name="T18" fmla="*/ 125453 w 78"/>
                <a:gd name="T19" fmla="*/ 37887 h 67"/>
                <a:gd name="T20" fmla="*/ 147271 w 78"/>
                <a:gd name="T21" fmla="*/ 26229 h 67"/>
                <a:gd name="T22" fmla="*/ 188180 w 78"/>
                <a:gd name="T23" fmla="*/ 40801 h 67"/>
                <a:gd name="T24" fmla="*/ 212725 w 78"/>
                <a:gd name="T25" fmla="*/ 49544 h 67"/>
                <a:gd name="T26" fmla="*/ 212725 w 78"/>
                <a:gd name="T27" fmla="*/ 195263 h 67"/>
                <a:gd name="T28" fmla="*/ 182725 w 78"/>
                <a:gd name="T29" fmla="*/ 174862 h 67"/>
                <a:gd name="T30" fmla="*/ 163635 w 78"/>
                <a:gd name="T31" fmla="*/ 180691 h 67"/>
                <a:gd name="T32" fmla="*/ 141817 w 78"/>
                <a:gd name="T33" fmla="*/ 180691 h 67"/>
                <a:gd name="T34" fmla="*/ 158180 w 78"/>
                <a:gd name="T35" fmla="*/ 154462 h 67"/>
                <a:gd name="T36" fmla="*/ 171816 w 78"/>
                <a:gd name="T37" fmla="*/ 148633 h 67"/>
                <a:gd name="T38" fmla="*/ 152726 w 78"/>
                <a:gd name="T39" fmla="*/ 125318 h 67"/>
                <a:gd name="T40" fmla="*/ 136362 w 78"/>
                <a:gd name="T41" fmla="*/ 104917 h 67"/>
                <a:gd name="T42" fmla="*/ 87272 w 78"/>
                <a:gd name="T43" fmla="*/ 87431 h 67"/>
                <a:gd name="T44" fmla="*/ 62727 w 78"/>
                <a:gd name="T45" fmla="*/ 72859 h 67"/>
                <a:gd name="T46" fmla="*/ 49090 w 78"/>
                <a:gd name="T47" fmla="*/ 87431 h 67"/>
                <a:gd name="T48" fmla="*/ 38181 w 78"/>
                <a:gd name="T49" fmla="*/ 81602 h 67"/>
                <a:gd name="T50" fmla="*/ 35454 w 78"/>
                <a:gd name="T51" fmla="*/ 67031 h 67"/>
                <a:gd name="T52" fmla="*/ 21818 w 78"/>
                <a:gd name="T53" fmla="*/ 58287 h 67"/>
                <a:gd name="T54" fmla="*/ 54545 w 78"/>
                <a:gd name="T55" fmla="*/ 49544 h 67"/>
                <a:gd name="T56" fmla="*/ 32727 w 78"/>
                <a:gd name="T57" fmla="*/ 37887 h 67"/>
                <a:gd name="T58" fmla="*/ 19091 w 78"/>
                <a:gd name="T59" fmla="*/ 37887 h 67"/>
                <a:gd name="T60" fmla="*/ 13636 w 78"/>
                <a:gd name="T61" fmla="*/ 29144 h 67"/>
                <a:gd name="T62" fmla="*/ 0 w 78"/>
                <a:gd name="T63" fmla="*/ 20401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8" h="67">
                  <a:moveTo>
                    <a:pt x="0" y="7"/>
                  </a:moveTo>
                  <a:cubicBezTo>
                    <a:pt x="0" y="5"/>
                    <a:pt x="3" y="4"/>
                    <a:pt x="4" y="4"/>
                  </a:cubicBezTo>
                  <a:cubicBezTo>
                    <a:pt x="5" y="4"/>
                    <a:pt x="7" y="3"/>
                    <a:pt x="9" y="2"/>
                  </a:cubicBezTo>
                  <a:cubicBezTo>
                    <a:pt x="11" y="1"/>
                    <a:pt x="12" y="0"/>
                    <a:pt x="14" y="0"/>
                  </a:cubicBezTo>
                  <a:cubicBezTo>
                    <a:pt x="17" y="1"/>
                    <a:pt x="19" y="4"/>
                    <a:pt x="20" y="3"/>
                  </a:cubicBezTo>
                  <a:cubicBezTo>
                    <a:pt x="22" y="3"/>
                    <a:pt x="24" y="3"/>
                    <a:pt x="25" y="4"/>
                  </a:cubicBezTo>
                  <a:cubicBezTo>
                    <a:pt x="26" y="5"/>
                    <a:pt x="26" y="11"/>
                    <a:pt x="26" y="13"/>
                  </a:cubicBezTo>
                  <a:cubicBezTo>
                    <a:pt x="26" y="15"/>
                    <a:pt x="30" y="21"/>
                    <a:pt x="32" y="22"/>
                  </a:cubicBezTo>
                  <a:cubicBezTo>
                    <a:pt x="34" y="23"/>
                    <a:pt x="36" y="23"/>
                    <a:pt x="38" y="21"/>
                  </a:cubicBezTo>
                  <a:cubicBezTo>
                    <a:pt x="39" y="18"/>
                    <a:pt x="45" y="15"/>
                    <a:pt x="46" y="13"/>
                  </a:cubicBezTo>
                  <a:cubicBezTo>
                    <a:pt x="47" y="12"/>
                    <a:pt x="52" y="8"/>
                    <a:pt x="54" y="9"/>
                  </a:cubicBezTo>
                  <a:cubicBezTo>
                    <a:pt x="57" y="10"/>
                    <a:pt x="65" y="13"/>
                    <a:pt x="69" y="14"/>
                  </a:cubicBezTo>
                  <a:cubicBezTo>
                    <a:pt x="71" y="15"/>
                    <a:pt x="74" y="16"/>
                    <a:pt x="78" y="17"/>
                  </a:cubicBezTo>
                  <a:cubicBezTo>
                    <a:pt x="78" y="67"/>
                    <a:pt x="78" y="67"/>
                    <a:pt x="78" y="67"/>
                  </a:cubicBezTo>
                  <a:cubicBezTo>
                    <a:pt x="75" y="64"/>
                    <a:pt x="70" y="60"/>
                    <a:pt x="67" y="60"/>
                  </a:cubicBezTo>
                  <a:cubicBezTo>
                    <a:pt x="65" y="60"/>
                    <a:pt x="63" y="62"/>
                    <a:pt x="60" y="62"/>
                  </a:cubicBezTo>
                  <a:cubicBezTo>
                    <a:pt x="57" y="62"/>
                    <a:pt x="52" y="64"/>
                    <a:pt x="52" y="62"/>
                  </a:cubicBezTo>
                  <a:cubicBezTo>
                    <a:pt x="52" y="60"/>
                    <a:pt x="56" y="54"/>
                    <a:pt x="58" y="53"/>
                  </a:cubicBezTo>
                  <a:cubicBezTo>
                    <a:pt x="60" y="53"/>
                    <a:pt x="64" y="52"/>
                    <a:pt x="63" y="51"/>
                  </a:cubicBezTo>
                  <a:cubicBezTo>
                    <a:pt x="63" y="50"/>
                    <a:pt x="57" y="45"/>
                    <a:pt x="56" y="43"/>
                  </a:cubicBezTo>
                  <a:cubicBezTo>
                    <a:pt x="55" y="40"/>
                    <a:pt x="54" y="38"/>
                    <a:pt x="50" y="36"/>
                  </a:cubicBezTo>
                  <a:cubicBezTo>
                    <a:pt x="47" y="35"/>
                    <a:pt x="35" y="31"/>
                    <a:pt x="32" y="30"/>
                  </a:cubicBezTo>
                  <a:cubicBezTo>
                    <a:pt x="29" y="29"/>
                    <a:pt x="24" y="26"/>
                    <a:pt x="23" y="25"/>
                  </a:cubicBezTo>
                  <a:cubicBezTo>
                    <a:pt x="21" y="25"/>
                    <a:pt x="20" y="30"/>
                    <a:pt x="18" y="30"/>
                  </a:cubicBezTo>
                  <a:cubicBezTo>
                    <a:pt x="17" y="30"/>
                    <a:pt x="14" y="29"/>
                    <a:pt x="14" y="28"/>
                  </a:cubicBezTo>
                  <a:cubicBezTo>
                    <a:pt x="14" y="27"/>
                    <a:pt x="14" y="25"/>
                    <a:pt x="13" y="23"/>
                  </a:cubicBezTo>
                  <a:cubicBezTo>
                    <a:pt x="12" y="22"/>
                    <a:pt x="8" y="21"/>
                    <a:pt x="8" y="20"/>
                  </a:cubicBezTo>
                  <a:cubicBezTo>
                    <a:pt x="9" y="18"/>
                    <a:pt x="20" y="18"/>
                    <a:pt x="20" y="17"/>
                  </a:cubicBezTo>
                  <a:cubicBezTo>
                    <a:pt x="20" y="16"/>
                    <a:pt x="15" y="14"/>
                    <a:pt x="12" y="13"/>
                  </a:cubicBezTo>
                  <a:cubicBezTo>
                    <a:pt x="10" y="13"/>
                    <a:pt x="8" y="15"/>
                    <a:pt x="7" y="13"/>
                  </a:cubicBezTo>
                  <a:cubicBezTo>
                    <a:pt x="7" y="11"/>
                    <a:pt x="7" y="11"/>
                    <a:pt x="5" y="10"/>
                  </a:cubicBezTo>
                  <a:cubicBezTo>
                    <a:pt x="3" y="9"/>
                    <a:pt x="0" y="7"/>
                    <a:pt x="0"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7" name="Freeform 171"/>
            <p:cNvSpPr>
              <a:spLocks/>
            </p:cNvSpPr>
            <p:nvPr>
              <p:custDataLst>
                <p:tags r:id="rId106"/>
              </p:custDataLst>
            </p:nvPr>
          </p:nvSpPr>
          <p:spPr bwMode="auto">
            <a:xfrm>
              <a:off x="4409" y="2786"/>
              <a:ext cx="40" cy="16"/>
            </a:xfrm>
            <a:custGeom>
              <a:avLst/>
              <a:gdLst>
                <a:gd name="T0" fmla="*/ 2761 w 23"/>
                <a:gd name="T1" fmla="*/ 2822 h 9"/>
                <a:gd name="T2" fmla="*/ 24848 w 23"/>
                <a:gd name="T3" fmla="*/ 0 h 9"/>
                <a:gd name="T4" fmla="*/ 52457 w 23"/>
                <a:gd name="T5" fmla="*/ 5644 h 9"/>
                <a:gd name="T6" fmla="*/ 60739 w 23"/>
                <a:gd name="T7" fmla="*/ 25400 h 9"/>
                <a:gd name="T8" fmla="*/ 44174 w 23"/>
                <a:gd name="T9" fmla="*/ 16933 h 9"/>
                <a:gd name="T10" fmla="*/ 30370 w 23"/>
                <a:gd name="T11" fmla="*/ 11289 h 9"/>
                <a:gd name="T12" fmla="*/ 11043 w 23"/>
                <a:gd name="T13" fmla="*/ 16933 h 9"/>
                <a:gd name="T14" fmla="*/ 2761 w 23"/>
                <a:gd name="T15" fmla="*/ 2822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9">
                  <a:moveTo>
                    <a:pt x="1" y="1"/>
                  </a:moveTo>
                  <a:cubicBezTo>
                    <a:pt x="1" y="0"/>
                    <a:pt x="7" y="0"/>
                    <a:pt x="9" y="0"/>
                  </a:cubicBezTo>
                  <a:cubicBezTo>
                    <a:pt x="11" y="0"/>
                    <a:pt x="17" y="0"/>
                    <a:pt x="19" y="2"/>
                  </a:cubicBezTo>
                  <a:cubicBezTo>
                    <a:pt x="20" y="4"/>
                    <a:pt x="23" y="8"/>
                    <a:pt x="22" y="9"/>
                  </a:cubicBezTo>
                  <a:cubicBezTo>
                    <a:pt x="21" y="9"/>
                    <a:pt x="18" y="7"/>
                    <a:pt x="16" y="6"/>
                  </a:cubicBezTo>
                  <a:cubicBezTo>
                    <a:pt x="15" y="5"/>
                    <a:pt x="13" y="4"/>
                    <a:pt x="11" y="4"/>
                  </a:cubicBezTo>
                  <a:cubicBezTo>
                    <a:pt x="10" y="4"/>
                    <a:pt x="4" y="6"/>
                    <a:pt x="4" y="6"/>
                  </a:cubicBezTo>
                  <a:cubicBezTo>
                    <a:pt x="2" y="5"/>
                    <a:pt x="0" y="2"/>
                    <a:pt x="1" y="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8" name="Freeform 172"/>
            <p:cNvSpPr>
              <a:spLocks/>
            </p:cNvSpPr>
            <p:nvPr>
              <p:custDataLst>
                <p:tags r:id="rId107"/>
              </p:custDataLst>
            </p:nvPr>
          </p:nvSpPr>
          <p:spPr bwMode="auto">
            <a:xfrm>
              <a:off x="4399" y="2714"/>
              <a:ext cx="23" cy="50"/>
            </a:xfrm>
            <a:custGeom>
              <a:avLst/>
              <a:gdLst>
                <a:gd name="T0" fmla="*/ 14043 w 13"/>
                <a:gd name="T1" fmla="*/ 67616 h 27"/>
                <a:gd name="T2" fmla="*/ 2809 w 13"/>
                <a:gd name="T3" fmla="*/ 41157 h 27"/>
                <a:gd name="T4" fmla="*/ 5617 w 13"/>
                <a:gd name="T5" fmla="*/ 14699 h 27"/>
                <a:gd name="T6" fmla="*/ 16852 w 13"/>
                <a:gd name="T7" fmla="*/ 0 h 27"/>
                <a:gd name="T8" fmla="*/ 16852 w 13"/>
                <a:gd name="T9" fmla="*/ 11759 h 27"/>
                <a:gd name="T10" fmla="*/ 30896 w 13"/>
                <a:gd name="T11" fmla="*/ 14699 h 27"/>
                <a:gd name="T12" fmla="*/ 25278 w 13"/>
                <a:gd name="T13" fmla="*/ 26458 h 27"/>
                <a:gd name="T14" fmla="*/ 33704 w 13"/>
                <a:gd name="T15" fmla="*/ 44097 h 27"/>
                <a:gd name="T16" fmla="*/ 19661 w 13"/>
                <a:gd name="T17" fmla="*/ 47037 h 27"/>
                <a:gd name="T18" fmla="*/ 25278 w 13"/>
                <a:gd name="T19" fmla="*/ 76435 h 27"/>
                <a:gd name="T20" fmla="*/ 14043 w 13"/>
                <a:gd name="T21" fmla="*/ 6761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7">
                  <a:moveTo>
                    <a:pt x="5" y="23"/>
                  </a:moveTo>
                  <a:cubicBezTo>
                    <a:pt x="3" y="22"/>
                    <a:pt x="1" y="17"/>
                    <a:pt x="1" y="14"/>
                  </a:cubicBezTo>
                  <a:cubicBezTo>
                    <a:pt x="1" y="11"/>
                    <a:pt x="0" y="8"/>
                    <a:pt x="2" y="5"/>
                  </a:cubicBezTo>
                  <a:cubicBezTo>
                    <a:pt x="3" y="2"/>
                    <a:pt x="5" y="0"/>
                    <a:pt x="6" y="0"/>
                  </a:cubicBezTo>
                  <a:cubicBezTo>
                    <a:pt x="6" y="0"/>
                    <a:pt x="7" y="2"/>
                    <a:pt x="6" y="4"/>
                  </a:cubicBezTo>
                  <a:cubicBezTo>
                    <a:pt x="6" y="6"/>
                    <a:pt x="10" y="4"/>
                    <a:pt x="11" y="5"/>
                  </a:cubicBezTo>
                  <a:cubicBezTo>
                    <a:pt x="13" y="6"/>
                    <a:pt x="10" y="8"/>
                    <a:pt x="9" y="9"/>
                  </a:cubicBezTo>
                  <a:cubicBezTo>
                    <a:pt x="9" y="11"/>
                    <a:pt x="13" y="13"/>
                    <a:pt x="12" y="15"/>
                  </a:cubicBezTo>
                  <a:cubicBezTo>
                    <a:pt x="11" y="17"/>
                    <a:pt x="8" y="16"/>
                    <a:pt x="7" y="16"/>
                  </a:cubicBezTo>
                  <a:cubicBezTo>
                    <a:pt x="5" y="17"/>
                    <a:pt x="10" y="25"/>
                    <a:pt x="9" y="26"/>
                  </a:cubicBezTo>
                  <a:cubicBezTo>
                    <a:pt x="7" y="27"/>
                    <a:pt x="6" y="24"/>
                    <a:pt x="5"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39" name="Freeform 173"/>
            <p:cNvSpPr>
              <a:spLocks/>
            </p:cNvSpPr>
            <p:nvPr>
              <p:custDataLst>
                <p:tags r:id="rId108"/>
              </p:custDataLst>
            </p:nvPr>
          </p:nvSpPr>
          <p:spPr bwMode="auto">
            <a:xfrm>
              <a:off x="4384" y="2790"/>
              <a:ext cx="17" cy="12"/>
            </a:xfrm>
            <a:custGeom>
              <a:avLst/>
              <a:gdLst>
                <a:gd name="T0" fmla="*/ 26988 w 10"/>
                <a:gd name="T1" fmla="*/ 16329 h 7"/>
                <a:gd name="T2" fmla="*/ 10795 w 10"/>
                <a:gd name="T3" fmla="*/ 19050 h 7"/>
                <a:gd name="T4" fmla="*/ 0 w 10"/>
                <a:gd name="T5" fmla="*/ 5443 h 7"/>
                <a:gd name="T6" fmla="*/ 13494 w 10"/>
                <a:gd name="T7" fmla="*/ 0 h 7"/>
                <a:gd name="T8" fmla="*/ 24289 w 10"/>
                <a:gd name="T9" fmla="*/ 2721 h 7"/>
                <a:gd name="T10" fmla="*/ 26988 w 10"/>
                <a:gd name="T11" fmla="*/ 16329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7">
                  <a:moveTo>
                    <a:pt x="10" y="6"/>
                  </a:moveTo>
                  <a:cubicBezTo>
                    <a:pt x="10" y="7"/>
                    <a:pt x="6" y="7"/>
                    <a:pt x="4" y="7"/>
                  </a:cubicBezTo>
                  <a:cubicBezTo>
                    <a:pt x="2" y="7"/>
                    <a:pt x="0" y="4"/>
                    <a:pt x="0" y="2"/>
                  </a:cubicBezTo>
                  <a:cubicBezTo>
                    <a:pt x="0" y="0"/>
                    <a:pt x="2" y="0"/>
                    <a:pt x="5" y="0"/>
                  </a:cubicBezTo>
                  <a:cubicBezTo>
                    <a:pt x="5" y="0"/>
                    <a:pt x="8" y="0"/>
                    <a:pt x="9" y="1"/>
                  </a:cubicBezTo>
                  <a:cubicBezTo>
                    <a:pt x="10" y="2"/>
                    <a:pt x="10" y="4"/>
                    <a:pt x="10"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0" name="Freeform 174"/>
            <p:cNvSpPr>
              <a:spLocks/>
            </p:cNvSpPr>
            <p:nvPr>
              <p:custDataLst>
                <p:tags r:id="rId109"/>
              </p:custDataLst>
            </p:nvPr>
          </p:nvSpPr>
          <p:spPr bwMode="auto">
            <a:xfrm>
              <a:off x="4346" y="2861"/>
              <a:ext cx="55" cy="35"/>
            </a:xfrm>
            <a:custGeom>
              <a:avLst/>
              <a:gdLst>
                <a:gd name="T0" fmla="*/ 0 w 32"/>
                <a:gd name="T1" fmla="*/ 52639 h 19"/>
                <a:gd name="T2" fmla="*/ 21828 w 32"/>
                <a:gd name="T3" fmla="*/ 26319 h 19"/>
                <a:gd name="T4" fmla="*/ 54571 w 32"/>
                <a:gd name="T5" fmla="*/ 8773 h 19"/>
                <a:gd name="T6" fmla="*/ 87313 w 32"/>
                <a:gd name="T7" fmla="*/ 8773 h 19"/>
                <a:gd name="T8" fmla="*/ 60028 w 32"/>
                <a:gd name="T9" fmla="*/ 29244 h 19"/>
                <a:gd name="T10" fmla="*/ 35471 w 32"/>
                <a:gd name="T11" fmla="*/ 43866 h 19"/>
                <a:gd name="T12" fmla="*/ 13643 w 32"/>
                <a:gd name="T13" fmla="*/ 55563 h 19"/>
                <a:gd name="T14" fmla="*/ 0 w 32"/>
                <a:gd name="T15" fmla="*/ 5263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19">
                  <a:moveTo>
                    <a:pt x="0" y="18"/>
                  </a:moveTo>
                  <a:cubicBezTo>
                    <a:pt x="0" y="17"/>
                    <a:pt x="5" y="12"/>
                    <a:pt x="8" y="9"/>
                  </a:cubicBezTo>
                  <a:cubicBezTo>
                    <a:pt x="10" y="7"/>
                    <a:pt x="16" y="3"/>
                    <a:pt x="20" y="3"/>
                  </a:cubicBezTo>
                  <a:cubicBezTo>
                    <a:pt x="23" y="3"/>
                    <a:pt x="32" y="0"/>
                    <a:pt x="32" y="3"/>
                  </a:cubicBezTo>
                  <a:cubicBezTo>
                    <a:pt x="32" y="5"/>
                    <a:pt x="25" y="9"/>
                    <a:pt x="22" y="10"/>
                  </a:cubicBezTo>
                  <a:cubicBezTo>
                    <a:pt x="20" y="10"/>
                    <a:pt x="17" y="12"/>
                    <a:pt x="13" y="15"/>
                  </a:cubicBezTo>
                  <a:cubicBezTo>
                    <a:pt x="10" y="18"/>
                    <a:pt x="6" y="19"/>
                    <a:pt x="5" y="19"/>
                  </a:cubicBezTo>
                  <a:cubicBezTo>
                    <a:pt x="3" y="19"/>
                    <a:pt x="0" y="18"/>
                    <a:pt x="0"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1" name="Freeform 175"/>
            <p:cNvSpPr>
              <a:spLocks/>
            </p:cNvSpPr>
            <p:nvPr>
              <p:custDataLst>
                <p:tags r:id="rId110"/>
              </p:custDataLst>
            </p:nvPr>
          </p:nvSpPr>
          <p:spPr bwMode="auto">
            <a:xfrm>
              <a:off x="4303" y="2858"/>
              <a:ext cx="61" cy="18"/>
            </a:xfrm>
            <a:custGeom>
              <a:avLst/>
              <a:gdLst>
                <a:gd name="T0" fmla="*/ 0 w 35"/>
                <a:gd name="T1" fmla="*/ 17145 h 10"/>
                <a:gd name="T2" fmla="*/ 16601 w 35"/>
                <a:gd name="T3" fmla="*/ 11430 h 10"/>
                <a:gd name="T4" fmla="*/ 44269 w 35"/>
                <a:gd name="T5" fmla="*/ 11430 h 10"/>
                <a:gd name="T6" fmla="*/ 74704 w 35"/>
                <a:gd name="T7" fmla="*/ 2858 h 10"/>
                <a:gd name="T8" fmla="*/ 94071 w 35"/>
                <a:gd name="T9" fmla="*/ 2858 h 10"/>
                <a:gd name="T10" fmla="*/ 83004 w 35"/>
                <a:gd name="T11" fmla="*/ 14288 h 10"/>
                <a:gd name="T12" fmla="*/ 33202 w 35"/>
                <a:gd name="T13" fmla="*/ 22860 h 10"/>
                <a:gd name="T14" fmla="*/ 11067 w 35"/>
                <a:gd name="T15" fmla="*/ 28575 h 10"/>
                <a:gd name="T16" fmla="*/ 0 w 35"/>
                <a:gd name="T17" fmla="*/ 17145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 h="10">
                  <a:moveTo>
                    <a:pt x="0" y="6"/>
                  </a:moveTo>
                  <a:cubicBezTo>
                    <a:pt x="0" y="5"/>
                    <a:pt x="3" y="5"/>
                    <a:pt x="6" y="4"/>
                  </a:cubicBezTo>
                  <a:cubicBezTo>
                    <a:pt x="8" y="4"/>
                    <a:pt x="13" y="4"/>
                    <a:pt x="16" y="4"/>
                  </a:cubicBezTo>
                  <a:cubicBezTo>
                    <a:pt x="19" y="4"/>
                    <a:pt x="24" y="1"/>
                    <a:pt x="27" y="1"/>
                  </a:cubicBezTo>
                  <a:cubicBezTo>
                    <a:pt x="29" y="1"/>
                    <a:pt x="35" y="0"/>
                    <a:pt x="34" y="1"/>
                  </a:cubicBezTo>
                  <a:cubicBezTo>
                    <a:pt x="34" y="2"/>
                    <a:pt x="32" y="5"/>
                    <a:pt x="30" y="5"/>
                  </a:cubicBezTo>
                  <a:cubicBezTo>
                    <a:pt x="28" y="5"/>
                    <a:pt x="17" y="10"/>
                    <a:pt x="12" y="8"/>
                  </a:cubicBezTo>
                  <a:cubicBezTo>
                    <a:pt x="7" y="6"/>
                    <a:pt x="6" y="10"/>
                    <a:pt x="4" y="10"/>
                  </a:cubicBezTo>
                  <a:cubicBezTo>
                    <a:pt x="1" y="10"/>
                    <a:pt x="1" y="9"/>
                    <a:pt x="0"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2" name="Freeform 176"/>
            <p:cNvSpPr>
              <a:spLocks/>
            </p:cNvSpPr>
            <p:nvPr>
              <p:custDataLst>
                <p:tags r:id="rId111"/>
              </p:custDataLst>
            </p:nvPr>
          </p:nvSpPr>
          <p:spPr bwMode="auto">
            <a:xfrm>
              <a:off x="4286" y="2718"/>
              <a:ext cx="90" cy="111"/>
            </a:xfrm>
            <a:custGeom>
              <a:avLst/>
              <a:gdLst>
                <a:gd name="T0" fmla="*/ 19233 w 52"/>
                <a:gd name="T1" fmla="*/ 126286 h 60"/>
                <a:gd name="T2" fmla="*/ 0 w 52"/>
                <a:gd name="T3" fmla="*/ 117475 h 60"/>
                <a:gd name="T4" fmla="*/ 10990 w 52"/>
                <a:gd name="T5" fmla="*/ 96917 h 60"/>
                <a:gd name="T6" fmla="*/ 19233 w 52"/>
                <a:gd name="T7" fmla="*/ 67548 h 60"/>
                <a:gd name="T8" fmla="*/ 24728 w 52"/>
                <a:gd name="T9" fmla="*/ 38179 h 60"/>
                <a:gd name="T10" fmla="*/ 46709 w 52"/>
                <a:gd name="T11" fmla="*/ 17621 h 60"/>
                <a:gd name="T12" fmla="*/ 74185 w 52"/>
                <a:gd name="T13" fmla="*/ 20558 h 60"/>
                <a:gd name="T14" fmla="*/ 118147 w 52"/>
                <a:gd name="T15" fmla="*/ 20558 h 60"/>
                <a:gd name="T16" fmla="*/ 134632 w 52"/>
                <a:gd name="T17" fmla="*/ 2937 h 60"/>
                <a:gd name="T18" fmla="*/ 140127 w 52"/>
                <a:gd name="T19" fmla="*/ 14684 h 60"/>
                <a:gd name="T20" fmla="*/ 123642 w 52"/>
                <a:gd name="T21" fmla="*/ 41116 h 60"/>
                <a:gd name="T22" fmla="*/ 90671 w 52"/>
                <a:gd name="T23" fmla="*/ 38179 h 60"/>
                <a:gd name="T24" fmla="*/ 52204 w 52"/>
                <a:gd name="T25" fmla="*/ 38179 h 60"/>
                <a:gd name="T26" fmla="*/ 38466 w 52"/>
                <a:gd name="T27" fmla="*/ 49927 h 60"/>
                <a:gd name="T28" fmla="*/ 35719 w 52"/>
                <a:gd name="T29" fmla="*/ 64611 h 60"/>
                <a:gd name="T30" fmla="*/ 46709 w 52"/>
                <a:gd name="T31" fmla="*/ 76359 h 60"/>
                <a:gd name="T32" fmla="*/ 63195 w 52"/>
                <a:gd name="T33" fmla="*/ 64611 h 60"/>
                <a:gd name="T34" fmla="*/ 96166 w 52"/>
                <a:gd name="T35" fmla="*/ 61675 h 60"/>
                <a:gd name="T36" fmla="*/ 98913 w 52"/>
                <a:gd name="T37" fmla="*/ 73422 h 60"/>
                <a:gd name="T38" fmla="*/ 76933 w 52"/>
                <a:gd name="T39" fmla="*/ 82233 h 60"/>
                <a:gd name="T40" fmla="*/ 60447 w 52"/>
                <a:gd name="T41" fmla="*/ 91043 h 60"/>
                <a:gd name="T42" fmla="*/ 79680 w 52"/>
                <a:gd name="T43" fmla="*/ 117475 h 60"/>
                <a:gd name="T44" fmla="*/ 79680 w 52"/>
                <a:gd name="T45" fmla="*/ 132160 h 60"/>
                <a:gd name="T46" fmla="*/ 93418 w 52"/>
                <a:gd name="T47" fmla="*/ 146844 h 60"/>
                <a:gd name="T48" fmla="*/ 90671 w 52"/>
                <a:gd name="T49" fmla="*/ 161529 h 60"/>
                <a:gd name="T50" fmla="*/ 82428 w 52"/>
                <a:gd name="T51" fmla="*/ 170339 h 60"/>
                <a:gd name="T52" fmla="*/ 74185 w 52"/>
                <a:gd name="T53" fmla="*/ 152718 h 60"/>
                <a:gd name="T54" fmla="*/ 60447 w 52"/>
                <a:gd name="T55" fmla="*/ 152718 h 60"/>
                <a:gd name="T56" fmla="*/ 60447 w 52"/>
                <a:gd name="T57" fmla="*/ 135097 h 60"/>
                <a:gd name="T58" fmla="*/ 49457 w 52"/>
                <a:gd name="T59" fmla="*/ 105728 h 60"/>
                <a:gd name="T60" fmla="*/ 30224 w 52"/>
                <a:gd name="T61" fmla="*/ 114538 h 60"/>
                <a:gd name="T62" fmla="*/ 38466 w 52"/>
                <a:gd name="T63" fmla="*/ 149781 h 60"/>
                <a:gd name="T64" fmla="*/ 35719 w 52"/>
                <a:gd name="T65" fmla="*/ 173276 h 60"/>
                <a:gd name="T66" fmla="*/ 16486 w 52"/>
                <a:gd name="T67" fmla="*/ 170339 h 60"/>
                <a:gd name="T68" fmla="*/ 19233 w 52"/>
                <a:gd name="T69" fmla="*/ 149781 h 60"/>
                <a:gd name="T70" fmla="*/ 19233 w 52"/>
                <a:gd name="T71" fmla="*/ 126286 h 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60">
                  <a:moveTo>
                    <a:pt x="7" y="43"/>
                  </a:moveTo>
                  <a:cubicBezTo>
                    <a:pt x="6" y="42"/>
                    <a:pt x="0" y="42"/>
                    <a:pt x="0" y="40"/>
                  </a:cubicBezTo>
                  <a:cubicBezTo>
                    <a:pt x="0" y="38"/>
                    <a:pt x="4" y="36"/>
                    <a:pt x="4" y="33"/>
                  </a:cubicBezTo>
                  <a:cubicBezTo>
                    <a:pt x="4" y="31"/>
                    <a:pt x="5" y="24"/>
                    <a:pt x="7" y="23"/>
                  </a:cubicBezTo>
                  <a:cubicBezTo>
                    <a:pt x="8" y="21"/>
                    <a:pt x="8" y="15"/>
                    <a:pt x="9" y="13"/>
                  </a:cubicBezTo>
                  <a:cubicBezTo>
                    <a:pt x="11" y="11"/>
                    <a:pt x="15" y="6"/>
                    <a:pt x="17" y="6"/>
                  </a:cubicBezTo>
                  <a:cubicBezTo>
                    <a:pt x="18" y="6"/>
                    <a:pt x="25" y="7"/>
                    <a:pt x="27" y="7"/>
                  </a:cubicBezTo>
                  <a:cubicBezTo>
                    <a:pt x="29" y="7"/>
                    <a:pt x="41" y="9"/>
                    <a:pt x="43" y="7"/>
                  </a:cubicBezTo>
                  <a:cubicBezTo>
                    <a:pt x="45" y="5"/>
                    <a:pt x="47" y="0"/>
                    <a:pt x="49" y="1"/>
                  </a:cubicBezTo>
                  <a:cubicBezTo>
                    <a:pt x="51" y="2"/>
                    <a:pt x="52" y="3"/>
                    <a:pt x="51" y="5"/>
                  </a:cubicBezTo>
                  <a:cubicBezTo>
                    <a:pt x="50" y="6"/>
                    <a:pt x="45" y="13"/>
                    <a:pt x="45" y="14"/>
                  </a:cubicBezTo>
                  <a:cubicBezTo>
                    <a:pt x="43" y="14"/>
                    <a:pt x="37" y="13"/>
                    <a:pt x="33" y="13"/>
                  </a:cubicBezTo>
                  <a:cubicBezTo>
                    <a:pt x="30" y="13"/>
                    <a:pt x="21" y="13"/>
                    <a:pt x="19" y="13"/>
                  </a:cubicBezTo>
                  <a:cubicBezTo>
                    <a:pt x="17" y="13"/>
                    <a:pt x="14" y="15"/>
                    <a:pt x="14" y="17"/>
                  </a:cubicBezTo>
                  <a:cubicBezTo>
                    <a:pt x="14" y="18"/>
                    <a:pt x="12" y="21"/>
                    <a:pt x="13" y="22"/>
                  </a:cubicBezTo>
                  <a:cubicBezTo>
                    <a:pt x="15" y="24"/>
                    <a:pt x="15" y="26"/>
                    <a:pt x="17" y="26"/>
                  </a:cubicBezTo>
                  <a:cubicBezTo>
                    <a:pt x="20" y="27"/>
                    <a:pt x="21" y="22"/>
                    <a:pt x="23" y="22"/>
                  </a:cubicBezTo>
                  <a:cubicBezTo>
                    <a:pt x="25" y="22"/>
                    <a:pt x="32" y="19"/>
                    <a:pt x="35" y="21"/>
                  </a:cubicBezTo>
                  <a:cubicBezTo>
                    <a:pt x="37" y="23"/>
                    <a:pt x="37" y="23"/>
                    <a:pt x="36" y="25"/>
                  </a:cubicBezTo>
                  <a:cubicBezTo>
                    <a:pt x="35" y="26"/>
                    <a:pt x="30" y="28"/>
                    <a:pt x="28" y="28"/>
                  </a:cubicBezTo>
                  <a:cubicBezTo>
                    <a:pt x="26" y="28"/>
                    <a:pt x="22" y="30"/>
                    <a:pt x="22" y="31"/>
                  </a:cubicBezTo>
                  <a:cubicBezTo>
                    <a:pt x="22" y="33"/>
                    <a:pt x="29" y="38"/>
                    <a:pt x="29" y="40"/>
                  </a:cubicBezTo>
                  <a:cubicBezTo>
                    <a:pt x="29" y="42"/>
                    <a:pt x="28" y="44"/>
                    <a:pt x="29" y="45"/>
                  </a:cubicBezTo>
                  <a:cubicBezTo>
                    <a:pt x="30" y="46"/>
                    <a:pt x="34" y="50"/>
                    <a:pt x="34" y="50"/>
                  </a:cubicBezTo>
                  <a:cubicBezTo>
                    <a:pt x="34" y="50"/>
                    <a:pt x="34" y="53"/>
                    <a:pt x="33" y="55"/>
                  </a:cubicBezTo>
                  <a:cubicBezTo>
                    <a:pt x="32" y="57"/>
                    <a:pt x="32" y="59"/>
                    <a:pt x="30" y="58"/>
                  </a:cubicBezTo>
                  <a:cubicBezTo>
                    <a:pt x="29" y="57"/>
                    <a:pt x="29" y="52"/>
                    <a:pt x="27" y="52"/>
                  </a:cubicBezTo>
                  <a:cubicBezTo>
                    <a:pt x="26" y="52"/>
                    <a:pt x="23" y="54"/>
                    <a:pt x="22" y="52"/>
                  </a:cubicBezTo>
                  <a:cubicBezTo>
                    <a:pt x="22" y="50"/>
                    <a:pt x="24" y="49"/>
                    <a:pt x="22" y="46"/>
                  </a:cubicBezTo>
                  <a:cubicBezTo>
                    <a:pt x="21" y="44"/>
                    <a:pt x="18" y="36"/>
                    <a:pt x="18" y="36"/>
                  </a:cubicBezTo>
                  <a:cubicBezTo>
                    <a:pt x="17" y="35"/>
                    <a:pt x="11" y="37"/>
                    <a:pt x="11" y="39"/>
                  </a:cubicBezTo>
                  <a:cubicBezTo>
                    <a:pt x="12" y="40"/>
                    <a:pt x="15" y="48"/>
                    <a:pt x="14" y="51"/>
                  </a:cubicBezTo>
                  <a:cubicBezTo>
                    <a:pt x="13" y="55"/>
                    <a:pt x="15" y="58"/>
                    <a:pt x="13" y="59"/>
                  </a:cubicBezTo>
                  <a:cubicBezTo>
                    <a:pt x="12" y="59"/>
                    <a:pt x="6" y="60"/>
                    <a:pt x="6" y="58"/>
                  </a:cubicBezTo>
                  <a:cubicBezTo>
                    <a:pt x="5" y="55"/>
                    <a:pt x="7" y="51"/>
                    <a:pt x="7" y="51"/>
                  </a:cubicBezTo>
                  <a:cubicBezTo>
                    <a:pt x="7" y="48"/>
                    <a:pt x="7" y="44"/>
                    <a:pt x="7" y="4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3" name="Freeform 177"/>
            <p:cNvSpPr>
              <a:spLocks/>
            </p:cNvSpPr>
            <p:nvPr>
              <p:custDataLst>
                <p:tags r:id="rId112"/>
              </p:custDataLst>
            </p:nvPr>
          </p:nvSpPr>
          <p:spPr bwMode="auto">
            <a:xfrm>
              <a:off x="4157" y="2685"/>
              <a:ext cx="135" cy="121"/>
            </a:xfrm>
            <a:custGeom>
              <a:avLst/>
              <a:gdLst>
                <a:gd name="T0" fmla="*/ 13738 w 78"/>
                <a:gd name="T1" fmla="*/ 52388 h 66"/>
                <a:gd name="T2" fmla="*/ 21981 w 78"/>
                <a:gd name="T3" fmla="*/ 72761 h 66"/>
                <a:gd name="T4" fmla="*/ 38466 w 78"/>
                <a:gd name="T5" fmla="*/ 84402 h 66"/>
                <a:gd name="T6" fmla="*/ 71438 w 78"/>
                <a:gd name="T7" fmla="*/ 78581 h 66"/>
                <a:gd name="T8" fmla="*/ 82428 w 78"/>
                <a:gd name="T9" fmla="*/ 64029 h 66"/>
                <a:gd name="T10" fmla="*/ 112652 w 78"/>
                <a:gd name="T11" fmla="*/ 66940 h 66"/>
                <a:gd name="T12" fmla="*/ 134633 w 78"/>
                <a:gd name="T13" fmla="*/ 37836 h 66"/>
                <a:gd name="T14" fmla="*/ 145623 w 78"/>
                <a:gd name="T15" fmla="*/ 2910 h 66"/>
                <a:gd name="T16" fmla="*/ 175847 w 78"/>
                <a:gd name="T17" fmla="*/ 0 h 66"/>
                <a:gd name="T18" fmla="*/ 189585 w 78"/>
                <a:gd name="T19" fmla="*/ 8731 h 66"/>
                <a:gd name="T20" fmla="*/ 181342 w 78"/>
                <a:gd name="T21" fmla="*/ 20373 h 66"/>
                <a:gd name="T22" fmla="*/ 192332 w 78"/>
                <a:gd name="T23" fmla="*/ 37836 h 66"/>
                <a:gd name="T24" fmla="*/ 192332 w 78"/>
                <a:gd name="T25" fmla="*/ 52388 h 66"/>
                <a:gd name="T26" fmla="*/ 214313 w 78"/>
                <a:gd name="T27" fmla="*/ 75671 h 66"/>
                <a:gd name="T28" fmla="*/ 186837 w 78"/>
                <a:gd name="T29" fmla="*/ 81492 h 66"/>
                <a:gd name="T30" fmla="*/ 181342 w 78"/>
                <a:gd name="T31" fmla="*/ 113507 h 66"/>
                <a:gd name="T32" fmla="*/ 162109 w 78"/>
                <a:gd name="T33" fmla="*/ 133880 h 66"/>
                <a:gd name="T34" fmla="*/ 164856 w 78"/>
                <a:gd name="T35" fmla="*/ 151342 h 66"/>
                <a:gd name="T36" fmla="*/ 153866 w 78"/>
                <a:gd name="T37" fmla="*/ 180446 h 66"/>
                <a:gd name="T38" fmla="*/ 120895 w 78"/>
                <a:gd name="T39" fmla="*/ 192088 h 66"/>
                <a:gd name="T40" fmla="*/ 115399 w 78"/>
                <a:gd name="T41" fmla="*/ 174625 h 66"/>
                <a:gd name="T42" fmla="*/ 90671 w 78"/>
                <a:gd name="T43" fmla="*/ 168805 h 66"/>
                <a:gd name="T44" fmla="*/ 63195 w 78"/>
                <a:gd name="T45" fmla="*/ 180446 h 66"/>
                <a:gd name="T46" fmla="*/ 57700 w 78"/>
                <a:gd name="T47" fmla="*/ 162984 h 66"/>
                <a:gd name="T48" fmla="*/ 27476 w 78"/>
                <a:gd name="T49" fmla="*/ 162984 h 66"/>
                <a:gd name="T50" fmla="*/ 24728 w 78"/>
                <a:gd name="T51" fmla="*/ 128059 h 66"/>
                <a:gd name="T52" fmla="*/ 5495 w 78"/>
                <a:gd name="T53" fmla="*/ 104775 h 66"/>
                <a:gd name="T54" fmla="*/ 0 w 78"/>
                <a:gd name="T55" fmla="*/ 78581 h 66"/>
                <a:gd name="T56" fmla="*/ 13738 w 78"/>
                <a:gd name="T57" fmla="*/ 52388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8" h="66">
                  <a:moveTo>
                    <a:pt x="5" y="18"/>
                  </a:moveTo>
                  <a:cubicBezTo>
                    <a:pt x="8" y="25"/>
                    <a:pt x="8" y="25"/>
                    <a:pt x="8" y="25"/>
                  </a:cubicBezTo>
                  <a:cubicBezTo>
                    <a:pt x="9" y="27"/>
                    <a:pt x="11" y="29"/>
                    <a:pt x="14" y="29"/>
                  </a:cubicBezTo>
                  <a:cubicBezTo>
                    <a:pt x="16" y="29"/>
                    <a:pt x="26" y="28"/>
                    <a:pt x="26" y="27"/>
                  </a:cubicBezTo>
                  <a:cubicBezTo>
                    <a:pt x="27" y="25"/>
                    <a:pt x="27" y="21"/>
                    <a:pt x="30" y="22"/>
                  </a:cubicBezTo>
                  <a:cubicBezTo>
                    <a:pt x="33" y="22"/>
                    <a:pt x="38" y="24"/>
                    <a:pt x="41" y="23"/>
                  </a:cubicBezTo>
                  <a:cubicBezTo>
                    <a:pt x="43" y="23"/>
                    <a:pt x="49" y="15"/>
                    <a:pt x="49" y="13"/>
                  </a:cubicBezTo>
                  <a:cubicBezTo>
                    <a:pt x="49" y="10"/>
                    <a:pt x="51" y="2"/>
                    <a:pt x="53" y="1"/>
                  </a:cubicBezTo>
                  <a:cubicBezTo>
                    <a:pt x="55" y="0"/>
                    <a:pt x="61" y="0"/>
                    <a:pt x="64" y="0"/>
                  </a:cubicBezTo>
                  <a:cubicBezTo>
                    <a:pt x="69" y="3"/>
                    <a:pt x="69" y="3"/>
                    <a:pt x="69" y="3"/>
                  </a:cubicBezTo>
                  <a:cubicBezTo>
                    <a:pt x="68" y="4"/>
                    <a:pt x="67" y="6"/>
                    <a:pt x="66" y="7"/>
                  </a:cubicBezTo>
                  <a:cubicBezTo>
                    <a:pt x="63" y="9"/>
                    <a:pt x="68" y="12"/>
                    <a:pt x="70" y="13"/>
                  </a:cubicBezTo>
                  <a:cubicBezTo>
                    <a:pt x="71" y="15"/>
                    <a:pt x="70" y="17"/>
                    <a:pt x="70" y="18"/>
                  </a:cubicBezTo>
                  <a:cubicBezTo>
                    <a:pt x="69" y="20"/>
                    <a:pt x="78" y="24"/>
                    <a:pt x="78" y="26"/>
                  </a:cubicBezTo>
                  <a:cubicBezTo>
                    <a:pt x="78" y="28"/>
                    <a:pt x="70" y="27"/>
                    <a:pt x="68" y="28"/>
                  </a:cubicBezTo>
                  <a:cubicBezTo>
                    <a:pt x="66" y="28"/>
                    <a:pt x="66" y="37"/>
                    <a:pt x="66" y="39"/>
                  </a:cubicBezTo>
                  <a:cubicBezTo>
                    <a:pt x="66" y="42"/>
                    <a:pt x="60" y="44"/>
                    <a:pt x="59" y="46"/>
                  </a:cubicBezTo>
                  <a:cubicBezTo>
                    <a:pt x="58" y="47"/>
                    <a:pt x="60" y="50"/>
                    <a:pt x="60" y="52"/>
                  </a:cubicBezTo>
                  <a:cubicBezTo>
                    <a:pt x="60" y="54"/>
                    <a:pt x="56" y="61"/>
                    <a:pt x="56" y="62"/>
                  </a:cubicBezTo>
                  <a:cubicBezTo>
                    <a:pt x="55" y="63"/>
                    <a:pt x="45" y="66"/>
                    <a:pt x="44" y="66"/>
                  </a:cubicBezTo>
                  <a:cubicBezTo>
                    <a:pt x="43" y="66"/>
                    <a:pt x="43" y="62"/>
                    <a:pt x="42" y="60"/>
                  </a:cubicBezTo>
                  <a:cubicBezTo>
                    <a:pt x="42" y="59"/>
                    <a:pt x="34" y="59"/>
                    <a:pt x="33" y="58"/>
                  </a:cubicBezTo>
                  <a:cubicBezTo>
                    <a:pt x="32" y="57"/>
                    <a:pt x="25" y="62"/>
                    <a:pt x="23" y="62"/>
                  </a:cubicBezTo>
                  <a:cubicBezTo>
                    <a:pt x="21" y="61"/>
                    <a:pt x="22" y="57"/>
                    <a:pt x="21" y="56"/>
                  </a:cubicBezTo>
                  <a:cubicBezTo>
                    <a:pt x="20" y="55"/>
                    <a:pt x="11" y="56"/>
                    <a:pt x="10" y="56"/>
                  </a:cubicBezTo>
                  <a:cubicBezTo>
                    <a:pt x="8" y="56"/>
                    <a:pt x="9" y="46"/>
                    <a:pt x="9" y="44"/>
                  </a:cubicBezTo>
                  <a:cubicBezTo>
                    <a:pt x="9" y="42"/>
                    <a:pt x="4" y="38"/>
                    <a:pt x="2" y="36"/>
                  </a:cubicBezTo>
                  <a:cubicBezTo>
                    <a:pt x="0" y="34"/>
                    <a:pt x="0" y="30"/>
                    <a:pt x="0" y="27"/>
                  </a:cubicBezTo>
                  <a:cubicBezTo>
                    <a:pt x="0" y="23"/>
                    <a:pt x="2" y="21"/>
                    <a:pt x="5"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4" name="Freeform 178"/>
            <p:cNvSpPr>
              <a:spLocks/>
            </p:cNvSpPr>
            <p:nvPr>
              <p:custDataLst>
                <p:tags r:id="rId113"/>
              </p:custDataLst>
            </p:nvPr>
          </p:nvSpPr>
          <p:spPr bwMode="auto">
            <a:xfrm>
              <a:off x="4111" y="2829"/>
              <a:ext cx="179" cy="47"/>
            </a:xfrm>
            <a:custGeom>
              <a:avLst/>
              <a:gdLst>
                <a:gd name="T0" fmla="*/ 5465 w 104"/>
                <a:gd name="T1" fmla="*/ 22958 h 26"/>
                <a:gd name="T2" fmla="*/ 30056 w 104"/>
                <a:gd name="T3" fmla="*/ 5739 h 26"/>
                <a:gd name="T4" fmla="*/ 46450 w 104"/>
                <a:gd name="T5" fmla="*/ 5739 h 26"/>
                <a:gd name="T6" fmla="*/ 68308 w 104"/>
                <a:gd name="T7" fmla="*/ 20088 h 26"/>
                <a:gd name="T8" fmla="*/ 106561 w 104"/>
                <a:gd name="T9" fmla="*/ 22958 h 26"/>
                <a:gd name="T10" fmla="*/ 117490 w 104"/>
                <a:gd name="T11" fmla="*/ 14349 h 26"/>
                <a:gd name="T12" fmla="*/ 147546 w 104"/>
                <a:gd name="T13" fmla="*/ 22958 h 26"/>
                <a:gd name="T14" fmla="*/ 155743 w 104"/>
                <a:gd name="T15" fmla="*/ 37307 h 26"/>
                <a:gd name="T16" fmla="*/ 188531 w 104"/>
                <a:gd name="T17" fmla="*/ 40176 h 26"/>
                <a:gd name="T18" fmla="*/ 210390 w 104"/>
                <a:gd name="T19" fmla="*/ 51655 h 26"/>
                <a:gd name="T20" fmla="*/ 243178 w 104"/>
                <a:gd name="T21" fmla="*/ 57395 h 26"/>
                <a:gd name="T22" fmla="*/ 270501 w 104"/>
                <a:gd name="T23" fmla="*/ 54525 h 26"/>
                <a:gd name="T24" fmla="*/ 284163 w 104"/>
                <a:gd name="T25" fmla="*/ 60264 h 26"/>
                <a:gd name="T26" fmla="*/ 270501 w 104"/>
                <a:gd name="T27" fmla="*/ 74613 h 26"/>
                <a:gd name="T28" fmla="*/ 229516 w 104"/>
                <a:gd name="T29" fmla="*/ 74613 h 26"/>
                <a:gd name="T30" fmla="*/ 196728 w 104"/>
                <a:gd name="T31" fmla="*/ 66004 h 26"/>
                <a:gd name="T32" fmla="*/ 150279 w 104"/>
                <a:gd name="T33" fmla="*/ 63134 h 26"/>
                <a:gd name="T34" fmla="*/ 106561 w 104"/>
                <a:gd name="T35" fmla="*/ 54525 h 26"/>
                <a:gd name="T36" fmla="*/ 73773 w 104"/>
                <a:gd name="T37" fmla="*/ 45916 h 26"/>
                <a:gd name="T38" fmla="*/ 27323 w 104"/>
                <a:gd name="T39" fmla="*/ 37307 h 26"/>
                <a:gd name="T40" fmla="*/ 5465 w 104"/>
                <a:gd name="T41" fmla="*/ 22958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4" h="26">
                  <a:moveTo>
                    <a:pt x="2" y="8"/>
                  </a:moveTo>
                  <a:cubicBezTo>
                    <a:pt x="5" y="7"/>
                    <a:pt x="11" y="4"/>
                    <a:pt x="11" y="2"/>
                  </a:cubicBezTo>
                  <a:cubicBezTo>
                    <a:pt x="12" y="0"/>
                    <a:pt x="17" y="2"/>
                    <a:pt x="17" y="2"/>
                  </a:cubicBezTo>
                  <a:cubicBezTo>
                    <a:pt x="21" y="3"/>
                    <a:pt x="22" y="7"/>
                    <a:pt x="25" y="7"/>
                  </a:cubicBezTo>
                  <a:cubicBezTo>
                    <a:pt x="28" y="7"/>
                    <a:pt x="36" y="8"/>
                    <a:pt x="39" y="8"/>
                  </a:cubicBezTo>
                  <a:cubicBezTo>
                    <a:pt x="41" y="8"/>
                    <a:pt x="39" y="5"/>
                    <a:pt x="43" y="5"/>
                  </a:cubicBezTo>
                  <a:cubicBezTo>
                    <a:pt x="47" y="5"/>
                    <a:pt x="52" y="6"/>
                    <a:pt x="54" y="8"/>
                  </a:cubicBezTo>
                  <a:cubicBezTo>
                    <a:pt x="57" y="9"/>
                    <a:pt x="54" y="13"/>
                    <a:pt x="57" y="13"/>
                  </a:cubicBezTo>
                  <a:cubicBezTo>
                    <a:pt x="60" y="14"/>
                    <a:pt x="68" y="11"/>
                    <a:pt x="69" y="14"/>
                  </a:cubicBezTo>
                  <a:cubicBezTo>
                    <a:pt x="71" y="16"/>
                    <a:pt x="75" y="18"/>
                    <a:pt x="77" y="18"/>
                  </a:cubicBezTo>
                  <a:cubicBezTo>
                    <a:pt x="80" y="18"/>
                    <a:pt x="85" y="20"/>
                    <a:pt x="89" y="20"/>
                  </a:cubicBezTo>
                  <a:cubicBezTo>
                    <a:pt x="92" y="19"/>
                    <a:pt x="96" y="19"/>
                    <a:pt x="99" y="19"/>
                  </a:cubicBezTo>
                  <a:cubicBezTo>
                    <a:pt x="101" y="19"/>
                    <a:pt x="104" y="18"/>
                    <a:pt x="104" y="21"/>
                  </a:cubicBezTo>
                  <a:cubicBezTo>
                    <a:pt x="104" y="23"/>
                    <a:pt x="102" y="25"/>
                    <a:pt x="99" y="26"/>
                  </a:cubicBezTo>
                  <a:cubicBezTo>
                    <a:pt x="95" y="26"/>
                    <a:pt x="87" y="26"/>
                    <a:pt x="84" y="26"/>
                  </a:cubicBezTo>
                  <a:cubicBezTo>
                    <a:pt x="81" y="25"/>
                    <a:pt x="75" y="22"/>
                    <a:pt x="72" y="23"/>
                  </a:cubicBezTo>
                  <a:cubicBezTo>
                    <a:pt x="68" y="23"/>
                    <a:pt x="60" y="22"/>
                    <a:pt x="55" y="22"/>
                  </a:cubicBezTo>
                  <a:cubicBezTo>
                    <a:pt x="50" y="22"/>
                    <a:pt x="43" y="21"/>
                    <a:pt x="39" y="19"/>
                  </a:cubicBezTo>
                  <a:cubicBezTo>
                    <a:pt x="35" y="17"/>
                    <a:pt x="32" y="16"/>
                    <a:pt x="27" y="16"/>
                  </a:cubicBezTo>
                  <a:cubicBezTo>
                    <a:pt x="22" y="16"/>
                    <a:pt x="14" y="14"/>
                    <a:pt x="10" y="13"/>
                  </a:cubicBezTo>
                  <a:cubicBezTo>
                    <a:pt x="6" y="11"/>
                    <a:pt x="0" y="10"/>
                    <a:pt x="2"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5" name="Freeform 179"/>
            <p:cNvSpPr>
              <a:spLocks/>
            </p:cNvSpPr>
            <p:nvPr>
              <p:custDataLst>
                <p:tags r:id="rId114"/>
              </p:custDataLst>
            </p:nvPr>
          </p:nvSpPr>
          <p:spPr bwMode="auto">
            <a:xfrm>
              <a:off x="3975" y="2666"/>
              <a:ext cx="146" cy="165"/>
            </a:xfrm>
            <a:custGeom>
              <a:avLst/>
              <a:gdLst>
                <a:gd name="T0" fmla="*/ 24541 w 85"/>
                <a:gd name="T1" fmla="*/ 38261 h 89"/>
                <a:gd name="T2" fmla="*/ 5454 w 85"/>
                <a:gd name="T3" fmla="*/ 5886 h 89"/>
                <a:gd name="T4" fmla="*/ 29994 w 85"/>
                <a:gd name="T5" fmla="*/ 11772 h 89"/>
                <a:gd name="T6" fmla="*/ 57262 w 85"/>
                <a:gd name="T7" fmla="*/ 17659 h 89"/>
                <a:gd name="T8" fmla="*/ 79076 w 85"/>
                <a:gd name="T9" fmla="*/ 47090 h 89"/>
                <a:gd name="T10" fmla="*/ 117251 w 85"/>
                <a:gd name="T11" fmla="*/ 79464 h 89"/>
                <a:gd name="T12" fmla="*/ 155426 w 85"/>
                <a:gd name="T13" fmla="*/ 105952 h 89"/>
                <a:gd name="T14" fmla="*/ 179966 w 85"/>
                <a:gd name="T15" fmla="*/ 120668 h 89"/>
                <a:gd name="T16" fmla="*/ 177240 w 85"/>
                <a:gd name="T17" fmla="*/ 144213 h 89"/>
                <a:gd name="T18" fmla="*/ 199054 w 85"/>
                <a:gd name="T19" fmla="*/ 153042 h 89"/>
                <a:gd name="T20" fmla="*/ 201781 w 85"/>
                <a:gd name="T21" fmla="*/ 179531 h 89"/>
                <a:gd name="T22" fmla="*/ 220868 w 85"/>
                <a:gd name="T23" fmla="*/ 176587 h 89"/>
                <a:gd name="T24" fmla="*/ 229048 w 85"/>
                <a:gd name="T25" fmla="*/ 206019 h 89"/>
                <a:gd name="T26" fmla="*/ 226321 w 85"/>
                <a:gd name="T27" fmla="*/ 261938 h 89"/>
                <a:gd name="T28" fmla="*/ 193600 w 85"/>
                <a:gd name="T29" fmla="*/ 256052 h 89"/>
                <a:gd name="T30" fmla="*/ 144519 w 85"/>
                <a:gd name="T31" fmla="*/ 211905 h 89"/>
                <a:gd name="T32" fmla="*/ 111797 w 85"/>
                <a:gd name="T33" fmla="*/ 141270 h 89"/>
                <a:gd name="T34" fmla="*/ 84530 w 85"/>
                <a:gd name="T35" fmla="*/ 123611 h 89"/>
                <a:gd name="T36" fmla="*/ 76349 w 85"/>
                <a:gd name="T37" fmla="*/ 91237 h 89"/>
                <a:gd name="T38" fmla="*/ 59989 w 85"/>
                <a:gd name="T39" fmla="*/ 73578 h 89"/>
                <a:gd name="T40" fmla="*/ 43628 w 85"/>
                <a:gd name="T41" fmla="*/ 50033 h 89"/>
                <a:gd name="T42" fmla="*/ 24541 w 85"/>
                <a:gd name="T43" fmla="*/ 38261 h 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5" h="89">
                  <a:moveTo>
                    <a:pt x="9" y="13"/>
                  </a:moveTo>
                  <a:cubicBezTo>
                    <a:pt x="6" y="10"/>
                    <a:pt x="0" y="4"/>
                    <a:pt x="2" y="2"/>
                  </a:cubicBezTo>
                  <a:cubicBezTo>
                    <a:pt x="4" y="0"/>
                    <a:pt x="8" y="4"/>
                    <a:pt x="11" y="4"/>
                  </a:cubicBezTo>
                  <a:cubicBezTo>
                    <a:pt x="13" y="4"/>
                    <a:pt x="20" y="4"/>
                    <a:pt x="21" y="6"/>
                  </a:cubicBezTo>
                  <a:cubicBezTo>
                    <a:pt x="22" y="7"/>
                    <a:pt x="27" y="14"/>
                    <a:pt x="29" y="16"/>
                  </a:cubicBezTo>
                  <a:cubicBezTo>
                    <a:pt x="30" y="17"/>
                    <a:pt x="39" y="25"/>
                    <a:pt x="43" y="27"/>
                  </a:cubicBezTo>
                  <a:cubicBezTo>
                    <a:pt x="47" y="29"/>
                    <a:pt x="55" y="34"/>
                    <a:pt x="57" y="36"/>
                  </a:cubicBezTo>
                  <a:cubicBezTo>
                    <a:pt x="59" y="38"/>
                    <a:pt x="66" y="40"/>
                    <a:pt x="66" y="41"/>
                  </a:cubicBezTo>
                  <a:cubicBezTo>
                    <a:pt x="66" y="43"/>
                    <a:pt x="63" y="48"/>
                    <a:pt x="65" y="49"/>
                  </a:cubicBezTo>
                  <a:cubicBezTo>
                    <a:pt x="67" y="51"/>
                    <a:pt x="71" y="49"/>
                    <a:pt x="73" y="52"/>
                  </a:cubicBezTo>
                  <a:cubicBezTo>
                    <a:pt x="74" y="55"/>
                    <a:pt x="70" y="59"/>
                    <a:pt x="74" y="61"/>
                  </a:cubicBezTo>
                  <a:cubicBezTo>
                    <a:pt x="77" y="62"/>
                    <a:pt x="79" y="59"/>
                    <a:pt x="81" y="60"/>
                  </a:cubicBezTo>
                  <a:cubicBezTo>
                    <a:pt x="84" y="62"/>
                    <a:pt x="84" y="67"/>
                    <a:pt x="84" y="70"/>
                  </a:cubicBezTo>
                  <a:cubicBezTo>
                    <a:pt x="84" y="74"/>
                    <a:pt x="85" y="88"/>
                    <a:pt x="83" y="89"/>
                  </a:cubicBezTo>
                  <a:cubicBezTo>
                    <a:pt x="81" y="89"/>
                    <a:pt x="74" y="88"/>
                    <a:pt x="71" y="87"/>
                  </a:cubicBezTo>
                  <a:cubicBezTo>
                    <a:pt x="69" y="85"/>
                    <a:pt x="56" y="77"/>
                    <a:pt x="53" y="72"/>
                  </a:cubicBezTo>
                  <a:cubicBezTo>
                    <a:pt x="51" y="67"/>
                    <a:pt x="44" y="50"/>
                    <a:pt x="41" y="48"/>
                  </a:cubicBezTo>
                  <a:cubicBezTo>
                    <a:pt x="38" y="46"/>
                    <a:pt x="32" y="45"/>
                    <a:pt x="31" y="42"/>
                  </a:cubicBezTo>
                  <a:cubicBezTo>
                    <a:pt x="31" y="40"/>
                    <a:pt x="32" y="35"/>
                    <a:pt x="28" y="31"/>
                  </a:cubicBezTo>
                  <a:cubicBezTo>
                    <a:pt x="25" y="26"/>
                    <a:pt x="25" y="29"/>
                    <a:pt x="22" y="25"/>
                  </a:cubicBezTo>
                  <a:cubicBezTo>
                    <a:pt x="18" y="22"/>
                    <a:pt x="19" y="18"/>
                    <a:pt x="16" y="17"/>
                  </a:cubicBezTo>
                  <a:cubicBezTo>
                    <a:pt x="14" y="16"/>
                    <a:pt x="9" y="13"/>
                    <a:pt x="9"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6" name="Freeform 180"/>
            <p:cNvSpPr>
              <a:spLocks/>
            </p:cNvSpPr>
            <p:nvPr>
              <p:custDataLst>
                <p:tags r:id="rId115"/>
              </p:custDataLst>
            </p:nvPr>
          </p:nvSpPr>
          <p:spPr bwMode="auto">
            <a:xfrm>
              <a:off x="3938" y="2337"/>
              <a:ext cx="117" cy="260"/>
            </a:xfrm>
            <a:custGeom>
              <a:avLst/>
              <a:gdLst>
                <a:gd name="T0" fmla="*/ 0 w 68"/>
                <a:gd name="T1" fmla="*/ 171495 h 142"/>
                <a:gd name="T2" fmla="*/ 13657 w 68"/>
                <a:gd name="T3" fmla="*/ 168588 h 142"/>
                <a:gd name="T4" fmla="*/ 10926 w 68"/>
                <a:gd name="T5" fmla="*/ 154055 h 142"/>
                <a:gd name="T6" fmla="*/ 21852 w 68"/>
                <a:gd name="T7" fmla="*/ 151148 h 142"/>
                <a:gd name="T8" fmla="*/ 30046 w 68"/>
                <a:gd name="T9" fmla="*/ 107548 h 142"/>
                <a:gd name="T10" fmla="*/ 43703 w 68"/>
                <a:gd name="T11" fmla="*/ 107548 h 142"/>
                <a:gd name="T12" fmla="*/ 62823 w 68"/>
                <a:gd name="T13" fmla="*/ 63947 h 142"/>
                <a:gd name="T14" fmla="*/ 65555 w 68"/>
                <a:gd name="T15" fmla="*/ 46507 h 142"/>
                <a:gd name="T16" fmla="*/ 87406 w 68"/>
                <a:gd name="T17" fmla="*/ 29067 h 142"/>
                <a:gd name="T18" fmla="*/ 101063 w 68"/>
                <a:gd name="T19" fmla="*/ 31974 h 142"/>
                <a:gd name="T20" fmla="*/ 109258 w 68"/>
                <a:gd name="T21" fmla="*/ 17440 h 142"/>
                <a:gd name="T22" fmla="*/ 106526 w 68"/>
                <a:gd name="T23" fmla="*/ 5813 h 142"/>
                <a:gd name="T24" fmla="*/ 117452 w 68"/>
                <a:gd name="T25" fmla="*/ 0 h 142"/>
                <a:gd name="T26" fmla="*/ 128378 w 68"/>
                <a:gd name="T27" fmla="*/ 17440 h 142"/>
                <a:gd name="T28" fmla="*/ 139304 w 68"/>
                <a:gd name="T29" fmla="*/ 20347 h 142"/>
                <a:gd name="T30" fmla="*/ 136572 w 68"/>
                <a:gd name="T31" fmla="*/ 61040 h 142"/>
                <a:gd name="T32" fmla="*/ 114721 w 68"/>
                <a:gd name="T33" fmla="*/ 90107 h 142"/>
                <a:gd name="T34" fmla="*/ 114721 w 68"/>
                <a:gd name="T35" fmla="*/ 107548 h 142"/>
                <a:gd name="T36" fmla="*/ 131109 w 68"/>
                <a:gd name="T37" fmla="*/ 104641 h 142"/>
                <a:gd name="T38" fmla="*/ 139304 w 68"/>
                <a:gd name="T39" fmla="*/ 113361 h 142"/>
                <a:gd name="T40" fmla="*/ 152961 w 68"/>
                <a:gd name="T41" fmla="*/ 127894 h 142"/>
                <a:gd name="T42" fmla="*/ 150229 w 68"/>
                <a:gd name="T43" fmla="*/ 148241 h 142"/>
                <a:gd name="T44" fmla="*/ 166618 w 68"/>
                <a:gd name="T45" fmla="*/ 156961 h 142"/>
                <a:gd name="T46" fmla="*/ 177544 w 68"/>
                <a:gd name="T47" fmla="*/ 156961 h 142"/>
                <a:gd name="T48" fmla="*/ 185738 w 68"/>
                <a:gd name="T49" fmla="*/ 168588 h 142"/>
                <a:gd name="T50" fmla="*/ 174812 w 68"/>
                <a:gd name="T51" fmla="*/ 177308 h 142"/>
                <a:gd name="T52" fmla="*/ 169349 w 68"/>
                <a:gd name="T53" fmla="*/ 191842 h 142"/>
                <a:gd name="T54" fmla="*/ 169349 w 68"/>
                <a:gd name="T55" fmla="*/ 191842 h 142"/>
                <a:gd name="T56" fmla="*/ 155692 w 68"/>
                <a:gd name="T57" fmla="*/ 194748 h 142"/>
                <a:gd name="T58" fmla="*/ 139304 w 68"/>
                <a:gd name="T59" fmla="*/ 206375 h 142"/>
                <a:gd name="T60" fmla="*/ 122915 w 68"/>
                <a:gd name="T61" fmla="*/ 209282 h 142"/>
                <a:gd name="T62" fmla="*/ 114721 w 68"/>
                <a:gd name="T63" fmla="*/ 238349 h 142"/>
                <a:gd name="T64" fmla="*/ 139304 w 68"/>
                <a:gd name="T65" fmla="*/ 273229 h 142"/>
                <a:gd name="T66" fmla="*/ 136572 w 68"/>
                <a:gd name="T67" fmla="*/ 308109 h 142"/>
                <a:gd name="T68" fmla="*/ 139304 w 68"/>
                <a:gd name="T69" fmla="*/ 328456 h 142"/>
                <a:gd name="T70" fmla="*/ 147498 w 68"/>
                <a:gd name="T71" fmla="*/ 354616 h 142"/>
                <a:gd name="T72" fmla="*/ 147498 w 68"/>
                <a:gd name="T73" fmla="*/ 380776 h 142"/>
                <a:gd name="T74" fmla="*/ 128378 w 68"/>
                <a:gd name="T75" fmla="*/ 412750 h 142"/>
                <a:gd name="T76" fmla="*/ 133841 w 68"/>
                <a:gd name="T77" fmla="*/ 374963 h 142"/>
                <a:gd name="T78" fmla="*/ 128378 w 68"/>
                <a:gd name="T79" fmla="*/ 348803 h 142"/>
                <a:gd name="T80" fmla="*/ 120183 w 68"/>
                <a:gd name="T81" fmla="*/ 319736 h 142"/>
                <a:gd name="T82" fmla="*/ 111989 w 68"/>
                <a:gd name="T83" fmla="*/ 284856 h 142"/>
                <a:gd name="T84" fmla="*/ 103795 w 68"/>
                <a:gd name="T85" fmla="*/ 258695 h 142"/>
                <a:gd name="T86" fmla="*/ 92869 w 68"/>
                <a:gd name="T87" fmla="*/ 276136 h 142"/>
                <a:gd name="T88" fmla="*/ 68286 w 68"/>
                <a:gd name="T89" fmla="*/ 299389 h 142"/>
                <a:gd name="T90" fmla="*/ 43703 w 68"/>
                <a:gd name="T91" fmla="*/ 287762 h 142"/>
                <a:gd name="T92" fmla="*/ 49166 w 68"/>
                <a:gd name="T93" fmla="*/ 238349 h 142"/>
                <a:gd name="T94" fmla="*/ 32777 w 68"/>
                <a:gd name="T95" fmla="*/ 206375 h 142"/>
                <a:gd name="T96" fmla="*/ 13657 w 68"/>
                <a:gd name="T97" fmla="*/ 191842 h 142"/>
                <a:gd name="T98" fmla="*/ 0 w 68"/>
                <a:gd name="T99" fmla="*/ 171495 h 1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8" h="142">
                  <a:moveTo>
                    <a:pt x="0" y="59"/>
                  </a:moveTo>
                  <a:cubicBezTo>
                    <a:pt x="5" y="58"/>
                    <a:pt x="5" y="58"/>
                    <a:pt x="5" y="58"/>
                  </a:cubicBezTo>
                  <a:cubicBezTo>
                    <a:pt x="5" y="58"/>
                    <a:pt x="4" y="55"/>
                    <a:pt x="4" y="53"/>
                  </a:cubicBezTo>
                  <a:cubicBezTo>
                    <a:pt x="8" y="52"/>
                    <a:pt x="8" y="52"/>
                    <a:pt x="8" y="52"/>
                  </a:cubicBezTo>
                  <a:cubicBezTo>
                    <a:pt x="8" y="52"/>
                    <a:pt x="10" y="38"/>
                    <a:pt x="11" y="37"/>
                  </a:cubicBezTo>
                  <a:cubicBezTo>
                    <a:pt x="11" y="36"/>
                    <a:pt x="15" y="37"/>
                    <a:pt x="16" y="37"/>
                  </a:cubicBezTo>
                  <a:cubicBezTo>
                    <a:pt x="17" y="37"/>
                    <a:pt x="23" y="23"/>
                    <a:pt x="23" y="22"/>
                  </a:cubicBezTo>
                  <a:cubicBezTo>
                    <a:pt x="23" y="20"/>
                    <a:pt x="22" y="16"/>
                    <a:pt x="24" y="16"/>
                  </a:cubicBezTo>
                  <a:cubicBezTo>
                    <a:pt x="25" y="15"/>
                    <a:pt x="31" y="10"/>
                    <a:pt x="32" y="10"/>
                  </a:cubicBezTo>
                  <a:cubicBezTo>
                    <a:pt x="33" y="10"/>
                    <a:pt x="36" y="12"/>
                    <a:pt x="37" y="11"/>
                  </a:cubicBezTo>
                  <a:cubicBezTo>
                    <a:pt x="38" y="10"/>
                    <a:pt x="40" y="6"/>
                    <a:pt x="40" y="6"/>
                  </a:cubicBezTo>
                  <a:cubicBezTo>
                    <a:pt x="39" y="2"/>
                    <a:pt x="39" y="2"/>
                    <a:pt x="39" y="2"/>
                  </a:cubicBezTo>
                  <a:cubicBezTo>
                    <a:pt x="40" y="2"/>
                    <a:pt x="41" y="0"/>
                    <a:pt x="43" y="0"/>
                  </a:cubicBezTo>
                  <a:cubicBezTo>
                    <a:pt x="46" y="1"/>
                    <a:pt x="46" y="5"/>
                    <a:pt x="47" y="6"/>
                  </a:cubicBezTo>
                  <a:cubicBezTo>
                    <a:pt x="49" y="7"/>
                    <a:pt x="50" y="6"/>
                    <a:pt x="51" y="7"/>
                  </a:cubicBezTo>
                  <a:cubicBezTo>
                    <a:pt x="52" y="9"/>
                    <a:pt x="51" y="19"/>
                    <a:pt x="50" y="21"/>
                  </a:cubicBezTo>
                  <a:cubicBezTo>
                    <a:pt x="50" y="23"/>
                    <a:pt x="43" y="28"/>
                    <a:pt x="42" y="31"/>
                  </a:cubicBezTo>
                  <a:cubicBezTo>
                    <a:pt x="41" y="33"/>
                    <a:pt x="41" y="36"/>
                    <a:pt x="42" y="37"/>
                  </a:cubicBezTo>
                  <a:cubicBezTo>
                    <a:pt x="44" y="38"/>
                    <a:pt x="47" y="36"/>
                    <a:pt x="48" y="36"/>
                  </a:cubicBezTo>
                  <a:cubicBezTo>
                    <a:pt x="50" y="36"/>
                    <a:pt x="51" y="37"/>
                    <a:pt x="51" y="39"/>
                  </a:cubicBezTo>
                  <a:cubicBezTo>
                    <a:pt x="51" y="40"/>
                    <a:pt x="55" y="43"/>
                    <a:pt x="56" y="44"/>
                  </a:cubicBezTo>
                  <a:cubicBezTo>
                    <a:pt x="58" y="45"/>
                    <a:pt x="53" y="49"/>
                    <a:pt x="55" y="51"/>
                  </a:cubicBezTo>
                  <a:cubicBezTo>
                    <a:pt x="57" y="53"/>
                    <a:pt x="59" y="54"/>
                    <a:pt x="61" y="54"/>
                  </a:cubicBezTo>
                  <a:cubicBezTo>
                    <a:pt x="62" y="54"/>
                    <a:pt x="65" y="54"/>
                    <a:pt x="65" y="54"/>
                  </a:cubicBezTo>
                  <a:cubicBezTo>
                    <a:pt x="68" y="58"/>
                    <a:pt x="68" y="58"/>
                    <a:pt x="68" y="58"/>
                  </a:cubicBezTo>
                  <a:cubicBezTo>
                    <a:pt x="67" y="59"/>
                    <a:pt x="65" y="60"/>
                    <a:pt x="64" y="61"/>
                  </a:cubicBezTo>
                  <a:cubicBezTo>
                    <a:pt x="62" y="66"/>
                    <a:pt x="62" y="66"/>
                    <a:pt x="62" y="66"/>
                  </a:cubicBezTo>
                  <a:cubicBezTo>
                    <a:pt x="62" y="66"/>
                    <a:pt x="62" y="66"/>
                    <a:pt x="62" y="66"/>
                  </a:cubicBezTo>
                  <a:cubicBezTo>
                    <a:pt x="60" y="66"/>
                    <a:pt x="58" y="66"/>
                    <a:pt x="57" y="67"/>
                  </a:cubicBezTo>
                  <a:cubicBezTo>
                    <a:pt x="55" y="69"/>
                    <a:pt x="52" y="71"/>
                    <a:pt x="51" y="71"/>
                  </a:cubicBezTo>
                  <a:cubicBezTo>
                    <a:pt x="50" y="71"/>
                    <a:pt x="46" y="71"/>
                    <a:pt x="45" y="72"/>
                  </a:cubicBezTo>
                  <a:cubicBezTo>
                    <a:pt x="44" y="74"/>
                    <a:pt x="43" y="80"/>
                    <a:pt x="42" y="82"/>
                  </a:cubicBezTo>
                  <a:cubicBezTo>
                    <a:pt x="41" y="83"/>
                    <a:pt x="51" y="91"/>
                    <a:pt x="51" y="94"/>
                  </a:cubicBezTo>
                  <a:cubicBezTo>
                    <a:pt x="51" y="97"/>
                    <a:pt x="51" y="104"/>
                    <a:pt x="50" y="106"/>
                  </a:cubicBezTo>
                  <a:cubicBezTo>
                    <a:pt x="50" y="107"/>
                    <a:pt x="50" y="111"/>
                    <a:pt x="51" y="113"/>
                  </a:cubicBezTo>
                  <a:cubicBezTo>
                    <a:pt x="53" y="115"/>
                    <a:pt x="54" y="121"/>
                    <a:pt x="54" y="122"/>
                  </a:cubicBezTo>
                  <a:cubicBezTo>
                    <a:pt x="54" y="123"/>
                    <a:pt x="54" y="130"/>
                    <a:pt x="54" y="131"/>
                  </a:cubicBezTo>
                  <a:cubicBezTo>
                    <a:pt x="47" y="142"/>
                    <a:pt x="47" y="142"/>
                    <a:pt x="47" y="142"/>
                  </a:cubicBezTo>
                  <a:cubicBezTo>
                    <a:pt x="48" y="137"/>
                    <a:pt x="49" y="133"/>
                    <a:pt x="49" y="129"/>
                  </a:cubicBezTo>
                  <a:cubicBezTo>
                    <a:pt x="49" y="125"/>
                    <a:pt x="49" y="123"/>
                    <a:pt x="47" y="120"/>
                  </a:cubicBezTo>
                  <a:cubicBezTo>
                    <a:pt x="44" y="116"/>
                    <a:pt x="44" y="113"/>
                    <a:pt x="44" y="110"/>
                  </a:cubicBezTo>
                  <a:cubicBezTo>
                    <a:pt x="44" y="107"/>
                    <a:pt x="44" y="101"/>
                    <a:pt x="41" y="98"/>
                  </a:cubicBezTo>
                  <a:cubicBezTo>
                    <a:pt x="39" y="94"/>
                    <a:pt x="39" y="89"/>
                    <a:pt x="38" y="89"/>
                  </a:cubicBezTo>
                  <a:cubicBezTo>
                    <a:pt x="36" y="89"/>
                    <a:pt x="36" y="93"/>
                    <a:pt x="34" y="95"/>
                  </a:cubicBezTo>
                  <a:cubicBezTo>
                    <a:pt x="32" y="96"/>
                    <a:pt x="26" y="103"/>
                    <a:pt x="25" y="103"/>
                  </a:cubicBezTo>
                  <a:cubicBezTo>
                    <a:pt x="24" y="103"/>
                    <a:pt x="17" y="100"/>
                    <a:pt x="16" y="99"/>
                  </a:cubicBezTo>
                  <a:cubicBezTo>
                    <a:pt x="15" y="98"/>
                    <a:pt x="20" y="86"/>
                    <a:pt x="18" y="82"/>
                  </a:cubicBezTo>
                  <a:cubicBezTo>
                    <a:pt x="16" y="78"/>
                    <a:pt x="14" y="73"/>
                    <a:pt x="12" y="71"/>
                  </a:cubicBezTo>
                  <a:cubicBezTo>
                    <a:pt x="10" y="68"/>
                    <a:pt x="7" y="67"/>
                    <a:pt x="5" y="66"/>
                  </a:cubicBezTo>
                  <a:cubicBezTo>
                    <a:pt x="4" y="64"/>
                    <a:pt x="1" y="61"/>
                    <a:pt x="0" y="5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7" name="Freeform 181"/>
            <p:cNvSpPr>
              <a:spLocks/>
            </p:cNvSpPr>
            <p:nvPr>
              <p:custDataLst>
                <p:tags r:id="rId116"/>
              </p:custDataLst>
            </p:nvPr>
          </p:nvSpPr>
          <p:spPr bwMode="auto">
            <a:xfrm>
              <a:off x="4045" y="2426"/>
              <a:ext cx="95" cy="131"/>
            </a:xfrm>
            <a:custGeom>
              <a:avLst/>
              <a:gdLst>
                <a:gd name="T0" fmla="*/ 4763 w 95"/>
                <a:gd name="T1" fmla="*/ 52388 h 131"/>
                <a:gd name="T2" fmla="*/ 0 w 95"/>
                <a:gd name="T3" fmla="*/ 49213 h 131"/>
                <a:gd name="T4" fmla="*/ 0 w 95"/>
                <a:gd name="T5" fmla="*/ 49213 h 131"/>
                <a:gd name="T6" fmla="*/ 4763 w 95"/>
                <a:gd name="T7" fmla="*/ 34925 h 131"/>
                <a:gd name="T8" fmla="*/ 15875 w 95"/>
                <a:gd name="T9" fmla="*/ 26988 h 131"/>
                <a:gd name="T10" fmla="*/ 22225 w 95"/>
                <a:gd name="T11" fmla="*/ 23813 h 131"/>
                <a:gd name="T12" fmla="*/ 30163 w 95"/>
                <a:gd name="T13" fmla="*/ 28575 h 131"/>
                <a:gd name="T14" fmla="*/ 31750 w 95"/>
                <a:gd name="T15" fmla="*/ 3175 h 131"/>
                <a:gd name="T16" fmla="*/ 46038 w 95"/>
                <a:gd name="T17" fmla="*/ 0 h 131"/>
                <a:gd name="T18" fmla="*/ 50800 w 95"/>
                <a:gd name="T19" fmla="*/ 11113 h 131"/>
                <a:gd name="T20" fmla="*/ 53975 w 95"/>
                <a:gd name="T21" fmla="*/ 31750 h 131"/>
                <a:gd name="T22" fmla="*/ 73025 w 95"/>
                <a:gd name="T23" fmla="*/ 41275 h 131"/>
                <a:gd name="T24" fmla="*/ 84138 w 95"/>
                <a:gd name="T25" fmla="*/ 34925 h 131"/>
                <a:gd name="T26" fmla="*/ 100013 w 95"/>
                <a:gd name="T27" fmla="*/ 49213 h 131"/>
                <a:gd name="T28" fmla="*/ 95250 w 95"/>
                <a:gd name="T29" fmla="*/ 61913 h 131"/>
                <a:gd name="T30" fmla="*/ 80963 w 95"/>
                <a:gd name="T31" fmla="*/ 65088 h 131"/>
                <a:gd name="T32" fmla="*/ 76200 w 95"/>
                <a:gd name="T33" fmla="*/ 79375 h 131"/>
                <a:gd name="T34" fmla="*/ 95250 w 95"/>
                <a:gd name="T35" fmla="*/ 90488 h 131"/>
                <a:gd name="T36" fmla="*/ 115888 w 95"/>
                <a:gd name="T37" fmla="*/ 117475 h 131"/>
                <a:gd name="T38" fmla="*/ 131763 w 95"/>
                <a:gd name="T39" fmla="*/ 141288 h 131"/>
                <a:gd name="T40" fmla="*/ 149225 w 95"/>
                <a:gd name="T41" fmla="*/ 163513 h 131"/>
                <a:gd name="T42" fmla="*/ 149225 w 95"/>
                <a:gd name="T43" fmla="*/ 198438 h 131"/>
                <a:gd name="T44" fmla="*/ 120650 w 95"/>
                <a:gd name="T45" fmla="*/ 204788 h 131"/>
                <a:gd name="T46" fmla="*/ 103188 w 95"/>
                <a:gd name="T47" fmla="*/ 190500 h 131"/>
                <a:gd name="T48" fmla="*/ 107950 w 95"/>
                <a:gd name="T49" fmla="*/ 160338 h 131"/>
                <a:gd name="T50" fmla="*/ 95250 w 95"/>
                <a:gd name="T51" fmla="*/ 142875 h 131"/>
                <a:gd name="T52" fmla="*/ 92075 w 95"/>
                <a:gd name="T53" fmla="*/ 117475 h 131"/>
                <a:gd name="T54" fmla="*/ 68263 w 95"/>
                <a:gd name="T55" fmla="*/ 96838 h 131"/>
                <a:gd name="T56" fmla="*/ 53975 w 95"/>
                <a:gd name="T57" fmla="*/ 107950 h 131"/>
                <a:gd name="T58" fmla="*/ 31750 w 95"/>
                <a:gd name="T59" fmla="*/ 107950 h 131"/>
                <a:gd name="T60" fmla="*/ 15875 w 95"/>
                <a:gd name="T61" fmla="*/ 120650 h 131"/>
                <a:gd name="T62" fmla="*/ 22225 w 95"/>
                <a:gd name="T63" fmla="*/ 82550 h 131"/>
                <a:gd name="T64" fmla="*/ 14288 w 95"/>
                <a:gd name="T65" fmla="*/ 69850 h 131"/>
                <a:gd name="T66" fmla="*/ 3175 w 95"/>
                <a:gd name="T67" fmla="*/ 69850 h 131"/>
                <a:gd name="T68" fmla="*/ 4763 w 95"/>
                <a:gd name="T69" fmla="*/ 52388 h 1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5" h="131">
                  <a:moveTo>
                    <a:pt x="3" y="33"/>
                  </a:moveTo>
                  <a:cubicBezTo>
                    <a:pt x="2" y="33"/>
                    <a:pt x="0" y="31"/>
                    <a:pt x="0" y="31"/>
                  </a:cubicBezTo>
                  <a:cubicBezTo>
                    <a:pt x="0" y="31"/>
                    <a:pt x="0" y="31"/>
                    <a:pt x="0" y="31"/>
                  </a:cubicBezTo>
                  <a:cubicBezTo>
                    <a:pt x="3" y="22"/>
                    <a:pt x="3" y="22"/>
                    <a:pt x="3" y="22"/>
                  </a:cubicBezTo>
                  <a:cubicBezTo>
                    <a:pt x="5" y="20"/>
                    <a:pt x="9" y="18"/>
                    <a:pt x="10" y="17"/>
                  </a:cubicBezTo>
                  <a:cubicBezTo>
                    <a:pt x="12" y="15"/>
                    <a:pt x="12" y="15"/>
                    <a:pt x="14" y="15"/>
                  </a:cubicBezTo>
                  <a:cubicBezTo>
                    <a:pt x="15" y="15"/>
                    <a:pt x="17" y="18"/>
                    <a:pt x="19" y="18"/>
                  </a:cubicBezTo>
                  <a:cubicBezTo>
                    <a:pt x="20" y="17"/>
                    <a:pt x="19" y="2"/>
                    <a:pt x="20" y="2"/>
                  </a:cubicBezTo>
                  <a:cubicBezTo>
                    <a:pt x="22" y="0"/>
                    <a:pt x="26" y="0"/>
                    <a:pt x="29" y="0"/>
                  </a:cubicBezTo>
                  <a:cubicBezTo>
                    <a:pt x="32" y="7"/>
                    <a:pt x="32" y="7"/>
                    <a:pt x="32" y="7"/>
                  </a:cubicBezTo>
                  <a:cubicBezTo>
                    <a:pt x="36" y="9"/>
                    <a:pt x="34" y="17"/>
                    <a:pt x="34" y="20"/>
                  </a:cubicBezTo>
                  <a:cubicBezTo>
                    <a:pt x="36" y="26"/>
                    <a:pt x="43" y="28"/>
                    <a:pt x="46" y="26"/>
                  </a:cubicBezTo>
                  <a:cubicBezTo>
                    <a:pt x="48" y="24"/>
                    <a:pt x="49" y="20"/>
                    <a:pt x="53" y="22"/>
                  </a:cubicBezTo>
                  <a:cubicBezTo>
                    <a:pt x="56" y="24"/>
                    <a:pt x="63" y="31"/>
                    <a:pt x="63" y="31"/>
                  </a:cubicBezTo>
                  <a:cubicBezTo>
                    <a:pt x="63" y="31"/>
                    <a:pt x="61" y="37"/>
                    <a:pt x="60" y="39"/>
                  </a:cubicBezTo>
                  <a:cubicBezTo>
                    <a:pt x="60" y="42"/>
                    <a:pt x="51" y="41"/>
                    <a:pt x="51" y="41"/>
                  </a:cubicBezTo>
                  <a:cubicBezTo>
                    <a:pt x="51" y="41"/>
                    <a:pt x="46" y="48"/>
                    <a:pt x="48" y="50"/>
                  </a:cubicBezTo>
                  <a:cubicBezTo>
                    <a:pt x="49" y="50"/>
                    <a:pt x="56" y="55"/>
                    <a:pt x="60" y="57"/>
                  </a:cubicBezTo>
                  <a:cubicBezTo>
                    <a:pt x="65" y="59"/>
                    <a:pt x="70" y="70"/>
                    <a:pt x="73" y="74"/>
                  </a:cubicBezTo>
                  <a:cubicBezTo>
                    <a:pt x="75" y="79"/>
                    <a:pt x="82" y="87"/>
                    <a:pt x="83" y="89"/>
                  </a:cubicBezTo>
                  <a:cubicBezTo>
                    <a:pt x="85" y="92"/>
                    <a:pt x="92" y="100"/>
                    <a:pt x="94" y="103"/>
                  </a:cubicBezTo>
                  <a:cubicBezTo>
                    <a:pt x="95" y="109"/>
                    <a:pt x="95" y="122"/>
                    <a:pt x="94" y="125"/>
                  </a:cubicBezTo>
                  <a:cubicBezTo>
                    <a:pt x="92" y="126"/>
                    <a:pt x="81" y="130"/>
                    <a:pt x="76" y="129"/>
                  </a:cubicBezTo>
                  <a:cubicBezTo>
                    <a:pt x="74" y="123"/>
                    <a:pt x="66" y="131"/>
                    <a:pt x="65" y="120"/>
                  </a:cubicBezTo>
                  <a:cubicBezTo>
                    <a:pt x="68" y="118"/>
                    <a:pt x="68" y="109"/>
                    <a:pt x="68" y="101"/>
                  </a:cubicBezTo>
                  <a:cubicBezTo>
                    <a:pt x="68" y="96"/>
                    <a:pt x="63" y="96"/>
                    <a:pt x="60" y="90"/>
                  </a:cubicBezTo>
                  <a:cubicBezTo>
                    <a:pt x="58" y="85"/>
                    <a:pt x="60" y="76"/>
                    <a:pt x="58" y="74"/>
                  </a:cubicBezTo>
                  <a:cubicBezTo>
                    <a:pt x="54" y="70"/>
                    <a:pt x="46" y="61"/>
                    <a:pt x="43" y="61"/>
                  </a:cubicBezTo>
                  <a:cubicBezTo>
                    <a:pt x="39" y="61"/>
                    <a:pt x="37" y="68"/>
                    <a:pt x="34" y="68"/>
                  </a:cubicBezTo>
                  <a:cubicBezTo>
                    <a:pt x="29" y="68"/>
                    <a:pt x="24" y="66"/>
                    <a:pt x="20" y="68"/>
                  </a:cubicBezTo>
                  <a:cubicBezTo>
                    <a:pt x="19" y="70"/>
                    <a:pt x="10" y="79"/>
                    <a:pt x="10" y="76"/>
                  </a:cubicBezTo>
                  <a:cubicBezTo>
                    <a:pt x="9" y="72"/>
                    <a:pt x="15" y="55"/>
                    <a:pt x="14" y="52"/>
                  </a:cubicBezTo>
                  <a:cubicBezTo>
                    <a:pt x="14" y="46"/>
                    <a:pt x="14" y="42"/>
                    <a:pt x="9" y="44"/>
                  </a:cubicBezTo>
                  <a:cubicBezTo>
                    <a:pt x="3" y="46"/>
                    <a:pt x="0" y="48"/>
                    <a:pt x="2" y="44"/>
                  </a:cubicBezTo>
                  <a:cubicBezTo>
                    <a:pt x="2" y="41"/>
                    <a:pt x="5" y="33"/>
                    <a:pt x="3" y="3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8" name="Freeform 182"/>
            <p:cNvSpPr>
              <a:spLocks/>
            </p:cNvSpPr>
            <p:nvPr>
              <p:custDataLst>
                <p:tags r:id="rId117"/>
              </p:custDataLst>
            </p:nvPr>
          </p:nvSpPr>
          <p:spPr bwMode="auto">
            <a:xfrm>
              <a:off x="4072" y="2543"/>
              <a:ext cx="70" cy="60"/>
            </a:xfrm>
            <a:custGeom>
              <a:avLst/>
              <a:gdLst>
                <a:gd name="T0" fmla="*/ 77788 w 70"/>
                <a:gd name="T1" fmla="*/ 19050 h 60"/>
                <a:gd name="T2" fmla="*/ 106363 w 70"/>
                <a:gd name="T3" fmla="*/ 12700 h 60"/>
                <a:gd name="T4" fmla="*/ 106363 w 70"/>
                <a:gd name="T5" fmla="*/ 46038 h 60"/>
                <a:gd name="T6" fmla="*/ 80963 w 70"/>
                <a:gd name="T7" fmla="*/ 60325 h 60"/>
                <a:gd name="T8" fmla="*/ 79375 w 70"/>
                <a:gd name="T9" fmla="*/ 77788 h 60"/>
                <a:gd name="T10" fmla="*/ 57150 w 70"/>
                <a:gd name="T11" fmla="*/ 84138 h 60"/>
                <a:gd name="T12" fmla="*/ 42863 w 70"/>
                <a:gd name="T13" fmla="*/ 95250 h 60"/>
                <a:gd name="T14" fmla="*/ 33338 w 70"/>
                <a:gd name="T15" fmla="*/ 92075 h 60"/>
                <a:gd name="T16" fmla="*/ 14288 w 70"/>
                <a:gd name="T17" fmla="*/ 84138 h 60"/>
                <a:gd name="T18" fmla="*/ 6350 w 70"/>
                <a:gd name="T19" fmla="*/ 60325 h 60"/>
                <a:gd name="T20" fmla="*/ 14288 w 70"/>
                <a:gd name="T21" fmla="*/ 50800 h 60"/>
                <a:gd name="T22" fmla="*/ 3175 w 70"/>
                <a:gd name="T23" fmla="*/ 25400 h 60"/>
                <a:gd name="T24" fmla="*/ 25400 w 70"/>
                <a:gd name="T25" fmla="*/ 4763 h 60"/>
                <a:gd name="T26" fmla="*/ 60325 w 70"/>
                <a:gd name="T27" fmla="*/ 4763 h 60"/>
                <a:gd name="T28" fmla="*/ 77788 w 70"/>
                <a:gd name="T29" fmla="*/ 19050 h 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0" h="60">
                  <a:moveTo>
                    <a:pt x="49" y="12"/>
                  </a:moveTo>
                  <a:cubicBezTo>
                    <a:pt x="50" y="18"/>
                    <a:pt x="68" y="5"/>
                    <a:pt x="67" y="8"/>
                  </a:cubicBezTo>
                  <a:cubicBezTo>
                    <a:pt x="65" y="10"/>
                    <a:pt x="70" y="25"/>
                    <a:pt x="67" y="29"/>
                  </a:cubicBezTo>
                  <a:cubicBezTo>
                    <a:pt x="63" y="32"/>
                    <a:pt x="55" y="38"/>
                    <a:pt x="51" y="38"/>
                  </a:cubicBezTo>
                  <a:cubicBezTo>
                    <a:pt x="48" y="38"/>
                    <a:pt x="53" y="47"/>
                    <a:pt x="50" y="49"/>
                  </a:cubicBezTo>
                  <a:cubicBezTo>
                    <a:pt x="48" y="53"/>
                    <a:pt x="39" y="51"/>
                    <a:pt x="36" y="53"/>
                  </a:cubicBezTo>
                  <a:cubicBezTo>
                    <a:pt x="27" y="60"/>
                    <a:pt x="27" y="60"/>
                    <a:pt x="27" y="60"/>
                  </a:cubicBezTo>
                  <a:cubicBezTo>
                    <a:pt x="26" y="60"/>
                    <a:pt x="22" y="58"/>
                    <a:pt x="21" y="58"/>
                  </a:cubicBezTo>
                  <a:cubicBezTo>
                    <a:pt x="17" y="58"/>
                    <a:pt x="9" y="56"/>
                    <a:pt x="9" y="53"/>
                  </a:cubicBezTo>
                  <a:cubicBezTo>
                    <a:pt x="9" y="49"/>
                    <a:pt x="7" y="42"/>
                    <a:pt x="4" y="38"/>
                  </a:cubicBezTo>
                  <a:cubicBezTo>
                    <a:pt x="9" y="32"/>
                    <a:pt x="9" y="32"/>
                    <a:pt x="9" y="32"/>
                  </a:cubicBezTo>
                  <a:cubicBezTo>
                    <a:pt x="9" y="32"/>
                    <a:pt x="0" y="18"/>
                    <a:pt x="2" y="16"/>
                  </a:cubicBezTo>
                  <a:cubicBezTo>
                    <a:pt x="4" y="12"/>
                    <a:pt x="12" y="5"/>
                    <a:pt x="16" y="3"/>
                  </a:cubicBezTo>
                  <a:cubicBezTo>
                    <a:pt x="19" y="3"/>
                    <a:pt x="33" y="5"/>
                    <a:pt x="38" y="3"/>
                  </a:cubicBezTo>
                  <a:cubicBezTo>
                    <a:pt x="46" y="0"/>
                    <a:pt x="44" y="11"/>
                    <a:pt x="49"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49" name="Freeform 183"/>
            <p:cNvSpPr>
              <a:spLocks/>
            </p:cNvSpPr>
            <p:nvPr>
              <p:custDataLst>
                <p:tags r:id="rId118"/>
              </p:custDataLst>
            </p:nvPr>
          </p:nvSpPr>
          <p:spPr bwMode="auto">
            <a:xfrm>
              <a:off x="4382" y="2180"/>
              <a:ext cx="48" cy="71"/>
            </a:xfrm>
            <a:custGeom>
              <a:avLst/>
              <a:gdLst>
                <a:gd name="T0" fmla="*/ 19050 w 28"/>
                <a:gd name="T1" fmla="*/ 34681 h 39"/>
                <a:gd name="T2" fmla="*/ 10886 w 28"/>
                <a:gd name="T3" fmla="*/ 17340 h 39"/>
                <a:gd name="T4" fmla="*/ 24493 w 28"/>
                <a:gd name="T5" fmla="*/ 5780 h 39"/>
                <a:gd name="T6" fmla="*/ 51707 w 28"/>
                <a:gd name="T7" fmla="*/ 0 h 39"/>
                <a:gd name="T8" fmla="*/ 59871 w 28"/>
                <a:gd name="T9" fmla="*/ 11560 h 39"/>
                <a:gd name="T10" fmla="*/ 76200 w 28"/>
                <a:gd name="T11" fmla="*/ 43351 h 39"/>
                <a:gd name="T12" fmla="*/ 70757 w 28"/>
                <a:gd name="T13" fmla="*/ 78032 h 39"/>
                <a:gd name="T14" fmla="*/ 65314 w 28"/>
                <a:gd name="T15" fmla="*/ 89592 h 39"/>
                <a:gd name="T16" fmla="*/ 35379 w 28"/>
                <a:gd name="T17" fmla="*/ 98263 h 39"/>
                <a:gd name="T18" fmla="*/ 13607 w 28"/>
                <a:gd name="T19" fmla="*/ 112713 h 39"/>
                <a:gd name="T20" fmla="*/ 2721 w 28"/>
                <a:gd name="T21" fmla="*/ 95373 h 39"/>
                <a:gd name="T22" fmla="*/ 13607 w 28"/>
                <a:gd name="T23" fmla="*/ 69362 h 39"/>
                <a:gd name="T24" fmla="*/ 5443 w 28"/>
                <a:gd name="T25" fmla="*/ 46241 h 39"/>
                <a:gd name="T26" fmla="*/ 19050 w 28"/>
                <a:gd name="T27" fmla="*/ 3468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39">
                  <a:moveTo>
                    <a:pt x="7" y="12"/>
                  </a:moveTo>
                  <a:cubicBezTo>
                    <a:pt x="6" y="11"/>
                    <a:pt x="4" y="6"/>
                    <a:pt x="4" y="6"/>
                  </a:cubicBezTo>
                  <a:cubicBezTo>
                    <a:pt x="9" y="2"/>
                    <a:pt x="9" y="2"/>
                    <a:pt x="9" y="2"/>
                  </a:cubicBezTo>
                  <a:cubicBezTo>
                    <a:pt x="19" y="0"/>
                    <a:pt x="19" y="0"/>
                    <a:pt x="19" y="0"/>
                  </a:cubicBezTo>
                  <a:cubicBezTo>
                    <a:pt x="20" y="2"/>
                    <a:pt x="21" y="3"/>
                    <a:pt x="22" y="4"/>
                  </a:cubicBezTo>
                  <a:cubicBezTo>
                    <a:pt x="24" y="6"/>
                    <a:pt x="28" y="12"/>
                    <a:pt x="28" y="15"/>
                  </a:cubicBezTo>
                  <a:cubicBezTo>
                    <a:pt x="28" y="18"/>
                    <a:pt x="27" y="26"/>
                    <a:pt x="26" y="27"/>
                  </a:cubicBezTo>
                  <a:cubicBezTo>
                    <a:pt x="26" y="28"/>
                    <a:pt x="26" y="31"/>
                    <a:pt x="24" y="31"/>
                  </a:cubicBezTo>
                  <a:cubicBezTo>
                    <a:pt x="21" y="31"/>
                    <a:pt x="15" y="33"/>
                    <a:pt x="13" y="34"/>
                  </a:cubicBezTo>
                  <a:cubicBezTo>
                    <a:pt x="10" y="35"/>
                    <a:pt x="7" y="39"/>
                    <a:pt x="5" y="39"/>
                  </a:cubicBezTo>
                  <a:cubicBezTo>
                    <a:pt x="3" y="38"/>
                    <a:pt x="2" y="36"/>
                    <a:pt x="1" y="33"/>
                  </a:cubicBezTo>
                  <a:cubicBezTo>
                    <a:pt x="0" y="31"/>
                    <a:pt x="5" y="26"/>
                    <a:pt x="5" y="24"/>
                  </a:cubicBezTo>
                  <a:cubicBezTo>
                    <a:pt x="5" y="23"/>
                    <a:pt x="1" y="18"/>
                    <a:pt x="2" y="16"/>
                  </a:cubicBezTo>
                  <a:cubicBezTo>
                    <a:pt x="3" y="14"/>
                    <a:pt x="7" y="13"/>
                    <a:pt x="7"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0" name="Freeform 184"/>
            <p:cNvSpPr>
              <a:spLocks/>
            </p:cNvSpPr>
            <p:nvPr>
              <p:custDataLst>
                <p:tags r:id="rId119"/>
              </p:custDataLst>
            </p:nvPr>
          </p:nvSpPr>
          <p:spPr bwMode="auto">
            <a:xfrm>
              <a:off x="4360" y="2104"/>
              <a:ext cx="84" cy="87"/>
            </a:xfrm>
            <a:custGeom>
              <a:avLst/>
              <a:gdLst>
                <a:gd name="T0" fmla="*/ 0 w 49"/>
                <a:gd name="T1" fmla="*/ 85219 h 47"/>
                <a:gd name="T2" fmla="*/ 5443 w 49"/>
                <a:gd name="T3" fmla="*/ 76403 h 47"/>
                <a:gd name="T4" fmla="*/ 27214 w 49"/>
                <a:gd name="T5" fmla="*/ 61710 h 47"/>
                <a:gd name="T6" fmla="*/ 46264 w 49"/>
                <a:gd name="T7" fmla="*/ 38201 h 47"/>
                <a:gd name="T8" fmla="*/ 73479 w 49"/>
                <a:gd name="T9" fmla="*/ 41140 h 47"/>
                <a:gd name="T10" fmla="*/ 78921 w 49"/>
                <a:gd name="T11" fmla="*/ 29386 h 47"/>
                <a:gd name="T12" fmla="*/ 100693 w 49"/>
                <a:gd name="T13" fmla="*/ 20570 h 47"/>
                <a:gd name="T14" fmla="*/ 117021 w 49"/>
                <a:gd name="T15" fmla="*/ 0 h 47"/>
                <a:gd name="T16" fmla="*/ 125186 w 49"/>
                <a:gd name="T17" fmla="*/ 0 h 47"/>
                <a:gd name="T18" fmla="*/ 133350 w 49"/>
                <a:gd name="T19" fmla="*/ 20570 h 47"/>
                <a:gd name="T20" fmla="*/ 127907 w 49"/>
                <a:gd name="T21" fmla="*/ 23509 h 47"/>
                <a:gd name="T22" fmla="*/ 111579 w 49"/>
                <a:gd name="T23" fmla="*/ 44079 h 47"/>
                <a:gd name="T24" fmla="*/ 114300 w 49"/>
                <a:gd name="T25" fmla="*/ 58771 h 47"/>
                <a:gd name="T26" fmla="*/ 92529 w 49"/>
                <a:gd name="T27" fmla="*/ 76403 h 47"/>
                <a:gd name="T28" fmla="*/ 70757 w 49"/>
                <a:gd name="T29" fmla="*/ 91096 h 47"/>
                <a:gd name="T30" fmla="*/ 76200 w 49"/>
                <a:gd name="T31" fmla="*/ 105789 h 47"/>
                <a:gd name="T32" fmla="*/ 87086 w 49"/>
                <a:gd name="T33" fmla="*/ 120482 h 47"/>
                <a:gd name="T34" fmla="*/ 59871 w 49"/>
                <a:gd name="T35" fmla="*/ 126359 h 47"/>
                <a:gd name="T36" fmla="*/ 46264 w 49"/>
                <a:gd name="T37" fmla="*/ 138113 h 47"/>
                <a:gd name="T38" fmla="*/ 13607 w 49"/>
                <a:gd name="T39" fmla="*/ 132236 h 47"/>
                <a:gd name="T40" fmla="*/ 21771 w 49"/>
                <a:gd name="T41" fmla="*/ 114604 h 47"/>
                <a:gd name="T42" fmla="*/ 19050 w 49"/>
                <a:gd name="T43" fmla="*/ 94034 h 47"/>
                <a:gd name="T44" fmla="*/ 0 w 49"/>
                <a:gd name="T45" fmla="*/ 85219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9" h="47">
                  <a:moveTo>
                    <a:pt x="0" y="29"/>
                  </a:moveTo>
                  <a:cubicBezTo>
                    <a:pt x="2" y="26"/>
                    <a:pt x="2" y="26"/>
                    <a:pt x="2" y="26"/>
                  </a:cubicBezTo>
                  <a:cubicBezTo>
                    <a:pt x="2" y="25"/>
                    <a:pt x="8" y="22"/>
                    <a:pt x="10" y="21"/>
                  </a:cubicBezTo>
                  <a:cubicBezTo>
                    <a:pt x="12" y="20"/>
                    <a:pt x="14" y="15"/>
                    <a:pt x="17" y="13"/>
                  </a:cubicBezTo>
                  <a:cubicBezTo>
                    <a:pt x="20" y="11"/>
                    <a:pt x="25" y="14"/>
                    <a:pt x="27" y="14"/>
                  </a:cubicBezTo>
                  <a:cubicBezTo>
                    <a:pt x="30" y="14"/>
                    <a:pt x="28" y="11"/>
                    <a:pt x="29" y="10"/>
                  </a:cubicBezTo>
                  <a:cubicBezTo>
                    <a:pt x="30" y="9"/>
                    <a:pt x="35" y="7"/>
                    <a:pt x="37" y="7"/>
                  </a:cubicBezTo>
                  <a:cubicBezTo>
                    <a:pt x="38" y="6"/>
                    <a:pt x="40" y="1"/>
                    <a:pt x="43" y="0"/>
                  </a:cubicBezTo>
                  <a:cubicBezTo>
                    <a:pt x="44" y="0"/>
                    <a:pt x="45" y="0"/>
                    <a:pt x="46" y="0"/>
                  </a:cubicBezTo>
                  <a:cubicBezTo>
                    <a:pt x="49" y="7"/>
                    <a:pt x="49" y="7"/>
                    <a:pt x="49" y="7"/>
                  </a:cubicBezTo>
                  <a:cubicBezTo>
                    <a:pt x="49" y="7"/>
                    <a:pt x="48" y="7"/>
                    <a:pt x="47" y="8"/>
                  </a:cubicBezTo>
                  <a:cubicBezTo>
                    <a:pt x="45" y="9"/>
                    <a:pt x="41" y="13"/>
                    <a:pt x="41" y="15"/>
                  </a:cubicBezTo>
                  <a:cubicBezTo>
                    <a:pt x="41" y="17"/>
                    <a:pt x="44" y="18"/>
                    <a:pt x="42" y="20"/>
                  </a:cubicBezTo>
                  <a:cubicBezTo>
                    <a:pt x="39" y="21"/>
                    <a:pt x="35" y="25"/>
                    <a:pt x="34" y="26"/>
                  </a:cubicBezTo>
                  <a:cubicBezTo>
                    <a:pt x="32" y="27"/>
                    <a:pt x="27" y="28"/>
                    <a:pt x="26" y="31"/>
                  </a:cubicBezTo>
                  <a:cubicBezTo>
                    <a:pt x="26" y="33"/>
                    <a:pt x="25" y="35"/>
                    <a:pt x="28" y="36"/>
                  </a:cubicBezTo>
                  <a:cubicBezTo>
                    <a:pt x="29" y="37"/>
                    <a:pt x="30" y="39"/>
                    <a:pt x="32" y="41"/>
                  </a:cubicBezTo>
                  <a:cubicBezTo>
                    <a:pt x="22" y="43"/>
                    <a:pt x="22" y="43"/>
                    <a:pt x="22" y="43"/>
                  </a:cubicBezTo>
                  <a:cubicBezTo>
                    <a:pt x="17" y="47"/>
                    <a:pt x="17" y="47"/>
                    <a:pt x="17" y="47"/>
                  </a:cubicBezTo>
                  <a:cubicBezTo>
                    <a:pt x="17" y="47"/>
                    <a:pt x="8" y="46"/>
                    <a:pt x="5" y="45"/>
                  </a:cubicBezTo>
                  <a:cubicBezTo>
                    <a:pt x="1" y="44"/>
                    <a:pt x="8" y="41"/>
                    <a:pt x="8" y="39"/>
                  </a:cubicBezTo>
                  <a:cubicBezTo>
                    <a:pt x="8" y="38"/>
                    <a:pt x="10" y="33"/>
                    <a:pt x="7" y="32"/>
                  </a:cubicBezTo>
                  <a:cubicBezTo>
                    <a:pt x="6" y="31"/>
                    <a:pt x="3" y="30"/>
                    <a:pt x="0" y="2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1" name="Freeform 187"/>
            <p:cNvSpPr>
              <a:spLocks/>
            </p:cNvSpPr>
            <p:nvPr>
              <p:custDataLst>
                <p:tags r:id="rId120"/>
              </p:custDataLst>
            </p:nvPr>
          </p:nvSpPr>
          <p:spPr bwMode="auto">
            <a:xfrm>
              <a:off x="3534" y="2206"/>
              <a:ext cx="214" cy="205"/>
            </a:xfrm>
            <a:custGeom>
              <a:avLst/>
              <a:gdLst>
                <a:gd name="T0" fmla="*/ 16307 w 125"/>
                <a:gd name="T1" fmla="*/ 267324 h 112"/>
                <a:gd name="T2" fmla="*/ 24460 w 125"/>
                <a:gd name="T3" fmla="*/ 258607 h 112"/>
                <a:gd name="T4" fmla="*/ 40767 w 125"/>
                <a:gd name="T5" fmla="*/ 255701 h 112"/>
                <a:gd name="T6" fmla="*/ 46203 w 125"/>
                <a:gd name="T7" fmla="*/ 238267 h 112"/>
                <a:gd name="T8" fmla="*/ 35331 w 125"/>
                <a:gd name="T9" fmla="*/ 232456 h 112"/>
                <a:gd name="T10" fmla="*/ 32614 w 125"/>
                <a:gd name="T11" fmla="*/ 212116 h 112"/>
                <a:gd name="T12" fmla="*/ 10871 w 125"/>
                <a:gd name="T13" fmla="*/ 206304 h 112"/>
                <a:gd name="T14" fmla="*/ 0 w 125"/>
                <a:gd name="T15" fmla="*/ 185965 h 112"/>
                <a:gd name="T16" fmla="*/ 16307 w 125"/>
                <a:gd name="T17" fmla="*/ 185965 h 112"/>
                <a:gd name="T18" fmla="*/ 78816 w 125"/>
                <a:gd name="T19" fmla="*/ 183059 h 112"/>
                <a:gd name="T20" fmla="*/ 103276 w 125"/>
                <a:gd name="T21" fmla="*/ 174342 h 112"/>
                <a:gd name="T22" fmla="*/ 111430 w 125"/>
                <a:gd name="T23" fmla="*/ 145285 h 112"/>
                <a:gd name="T24" fmla="*/ 146761 w 125"/>
                <a:gd name="T25" fmla="*/ 130756 h 112"/>
                <a:gd name="T26" fmla="*/ 157632 w 125"/>
                <a:gd name="T27" fmla="*/ 133662 h 112"/>
                <a:gd name="T28" fmla="*/ 171221 w 125"/>
                <a:gd name="T29" fmla="*/ 122039 h 112"/>
                <a:gd name="T30" fmla="*/ 171221 w 125"/>
                <a:gd name="T31" fmla="*/ 101699 h 112"/>
                <a:gd name="T32" fmla="*/ 182093 w 125"/>
                <a:gd name="T33" fmla="*/ 92982 h 112"/>
                <a:gd name="T34" fmla="*/ 179375 w 125"/>
                <a:gd name="T35" fmla="*/ 72642 h 112"/>
                <a:gd name="T36" fmla="*/ 190246 w 125"/>
                <a:gd name="T37" fmla="*/ 66831 h 112"/>
                <a:gd name="T38" fmla="*/ 206553 w 125"/>
                <a:gd name="T39" fmla="*/ 72642 h 112"/>
                <a:gd name="T40" fmla="*/ 214706 w 125"/>
                <a:gd name="T41" fmla="*/ 49397 h 112"/>
                <a:gd name="T42" fmla="*/ 211988 w 125"/>
                <a:gd name="T43" fmla="*/ 26151 h 112"/>
                <a:gd name="T44" fmla="*/ 231013 w 125"/>
                <a:gd name="T45" fmla="*/ 14528 h 112"/>
                <a:gd name="T46" fmla="*/ 250038 w 125"/>
                <a:gd name="T47" fmla="*/ 8717 h 112"/>
                <a:gd name="T48" fmla="*/ 269062 w 125"/>
                <a:gd name="T49" fmla="*/ 8717 h 112"/>
                <a:gd name="T50" fmla="*/ 288087 w 125"/>
                <a:gd name="T51" fmla="*/ 0 h 112"/>
                <a:gd name="T52" fmla="*/ 307111 w 125"/>
                <a:gd name="T53" fmla="*/ 17434 h 112"/>
                <a:gd name="T54" fmla="*/ 326136 w 125"/>
                <a:gd name="T55" fmla="*/ 31963 h 112"/>
                <a:gd name="T56" fmla="*/ 339725 w 125"/>
                <a:gd name="T57" fmla="*/ 34868 h 112"/>
                <a:gd name="T58" fmla="*/ 339725 w 125"/>
                <a:gd name="T59" fmla="*/ 34868 h 112"/>
                <a:gd name="T60" fmla="*/ 337007 w 125"/>
                <a:gd name="T61" fmla="*/ 49397 h 112"/>
                <a:gd name="T62" fmla="*/ 298958 w 125"/>
                <a:gd name="T63" fmla="*/ 63925 h 112"/>
                <a:gd name="T64" fmla="*/ 266344 w 125"/>
                <a:gd name="T65" fmla="*/ 61020 h 112"/>
                <a:gd name="T66" fmla="*/ 274498 w 125"/>
                <a:gd name="T67" fmla="*/ 101699 h 112"/>
                <a:gd name="T68" fmla="*/ 296240 w 125"/>
                <a:gd name="T69" fmla="*/ 116228 h 112"/>
                <a:gd name="T70" fmla="*/ 277216 w 125"/>
                <a:gd name="T71" fmla="*/ 133662 h 112"/>
                <a:gd name="T72" fmla="*/ 274498 w 125"/>
                <a:gd name="T73" fmla="*/ 148191 h 112"/>
                <a:gd name="T74" fmla="*/ 250038 w 125"/>
                <a:gd name="T75" fmla="*/ 180153 h 112"/>
                <a:gd name="T76" fmla="*/ 222860 w 125"/>
                <a:gd name="T77" fmla="*/ 223739 h 112"/>
                <a:gd name="T78" fmla="*/ 206553 w 125"/>
                <a:gd name="T79" fmla="*/ 229550 h 112"/>
                <a:gd name="T80" fmla="*/ 192964 w 125"/>
                <a:gd name="T81" fmla="*/ 220833 h 112"/>
                <a:gd name="T82" fmla="*/ 171221 w 125"/>
                <a:gd name="T83" fmla="*/ 246984 h 112"/>
                <a:gd name="T84" fmla="*/ 195682 w 125"/>
                <a:gd name="T85" fmla="*/ 276041 h 112"/>
                <a:gd name="T86" fmla="*/ 201117 w 125"/>
                <a:gd name="T87" fmla="*/ 308004 h 112"/>
                <a:gd name="T88" fmla="*/ 160350 w 125"/>
                <a:gd name="T89" fmla="*/ 310910 h 112"/>
                <a:gd name="T90" fmla="*/ 149479 w 125"/>
                <a:gd name="T91" fmla="*/ 325438 h 112"/>
                <a:gd name="T92" fmla="*/ 130454 w 125"/>
                <a:gd name="T93" fmla="*/ 310910 h 112"/>
                <a:gd name="T94" fmla="*/ 111430 w 125"/>
                <a:gd name="T95" fmla="*/ 281853 h 112"/>
                <a:gd name="T96" fmla="*/ 76098 w 125"/>
                <a:gd name="T97" fmla="*/ 284758 h 112"/>
                <a:gd name="T98" fmla="*/ 10871 w 125"/>
                <a:gd name="T99" fmla="*/ 287664 h 112"/>
                <a:gd name="T100" fmla="*/ 2718 w 125"/>
                <a:gd name="T101" fmla="*/ 284758 h 112"/>
                <a:gd name="T102" fmla="*/ 16307 w 125"/>
                <a:gd name="T103" fmla="*/ 267324 h 1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25" h="112">
                  <a:moveTo>
                    <a:pt x="6" y="92"/>
                  </a:moveTo>
                  <a:cubicBezTo>
                    <a:pt x="6" y="92"/>
                    <a:pt x="7" y="90"/>
                    <a:pt x="9" y="89"/>
                  </a:cubicBezTo>
                  <a:cubicBezTo>
                    <a:pt x="10" y="89"/>
                    <a:pt x="14" y="89"/>
                    <a:pt x="15" y="88"/>
                  </a:cubicBezTo>
                  <a:cubicBezTo>
                    <a:pt x="16" y="87"/>
                    <a:pt x="17" y="83"/>
                    <a:pt x="17" y="82"/>
                  </a:cubicBezTo>
                  <a:cubicBezTo>
                    <a:pt x="17" y="81"/>
                    <a:pt x="13" y="81"/>
                    <a:pt x="13" y="80"/>
                  </a:cubicBezTo>
                  <a:cubicBezTo>
                    <a:pt x="13" y="79"/>
                    <a:pt x="12" y="74"/>
                    <a:pt x="12" y="73"/>
                  </a:cubicBezTo>
                  <a:cubicBezTo>
                    <a:pt x="11" y="72"/>
                    <a:pt x="6" y="71"/>
                    <a:pt x="4" y="71"/>
                  </a:cubicBezTo>
                  <a:cubicBezTo>
                    <a:pt x="3" y="71"/>
                    <a:pt x="1" y="67"/>
                    <a:pt x="0" y="64"/>
                  </a:cubicBezTo>
                  <a:cubicBezTo>
                    <a:pt x="6" y="64"/>
                    <a:pt x="6" y="64"/>
                    <a:pt x="6" y="64"/>
                  </a:cubicBezTo>
                  <a:cubicBezTo>
                    <a:pt x="8" y="64"/>
                    <a:pt x="27" y="63"/>
                    <a:pt x="29" y="63"/>
                  </a:cubicBezTo>
                  <a:cubicBezTo>
                    <a:pt x="31" y="63"/>
                    <a:pt x="37" y="61"/>
                    <a:pt x="38" y="60"/>
                  </a:cubicBezTo>
                  <a:cubicBezTo>
                    <a:pt x="40" y="59"/>
                    <a:pt x="39" y="51"/>
                    <a:pt x="41" y="50"/>
                  </a:cubicBezTo>
                  <a:cubicBezTo>
                    <a:pt x="44" y="49"/>
                    <a:pt x="52" y="45"/>
                    <a:pt x="54" y="45"/>
                  </a:cubicBezTo>
                  <a:cubicBezTo>
                    <a:pt x="55" y="44"/>
                    <a:pt x="57" y="47"/>
                    <a:pt x="58" y="46"/>
                  </a:cubicBezTo>
                  <a:cubicBezTo>
                    <a:pt x="60" y="46"/>
                    <a:pt x="63" y="44"/>
                    <a:pt x="63" y="42"/>
                  </a:cubicBezTo>
                  <a:cubicBezTo>
                    <a:pt x="63" y="40"/>
                    <a:pt x="62" y="37"/>
                    <a:pt x="63" y="35"/>
                  </a:cubicBezTo>
                  <a:cubicBezTo>
                    <a:pt x="65" y="34"/>
                    <a:pt x="66" y="32"/>
                    <a:pt x="67" y="32"/>
                  </a:cubicBezTo>
                  <a:cubicBezTo>
                    <a:pt x="69" y="31"/>
                    <a:pt x="65" y="26"/>
                    <a:pt x="66" y="25"/>
                  </a:cubicBezTo>
                  <a:cubicBezTo>
                    <a:pt x="67" y="24"/>
                    <a:pt x="69" y="23"/>
                    <a:pt x="70" y="23"/>
                  </a:cubicBezTo>
                  <a:cubicBezTo>
                    <a:pt x="71" y="23"/>
                    <a:pt x="74" y="26"/>
                    <a:pt x="76" y="25"/>
                  </a:cubicBezTo>
                  <a:cubicBezTo>
                    <a:pt x="77" y="24"/>
                    <a:pt x="79" y="19"/>
                    <a:pt x="79" y="17"/>
                  </a:cubicBezTo>
                  <a:cubicBezTo>
                    <a:pt x="79" y="15"/>
                    <a:pt x="77" y="10"/>
                    <a:pt x="78" y="9"/>
                  </a:cubicBezTo>
                  <a:cubicBezTo>
                    <a:pt x="79" y="8"/>
                    <a:pt x="84" y="6"/>
                    <a:pt x="85" y="5"/>
                  </a:cubicBezTo>
                  <a:cubicBezTo>
                    <a:pt x="87" y="4"/>
                    <a:pt x="89" y="3"/>
                    <a:pt x="92" y="3"/>
                  </a:cubicBezTo>
                  <a:cubicBezTo>
                    <a:pt x="95" y="3"/>
                    <a:pt x="97" y="3"/>
                    <a:pt x="99" y="3"/>
                  </a:cubicBezTo>
                  <a:cubicBezTo>
                    <a:pt x="106" y="0"/>
                    <a:pt x="106" y="0"/>
                    <a:pt x="106" y="0"/>
                  </a:cubicBezTo>
                  <a:cubicBezTo>
                    <a:pt x="107" y="1"/>
                    <a:pt x="111" y="3"/>
                    <a:pt x="113" y="6"/>
                  </a:cubicBezTo>
                  <a:cubicBezTo>
                    <a:pt x="115" y="9"/>
                    <a:pt x="117" y="9"/>
                    <a:pt x="120" y="11"/>
                  </a:cubicBezTo>
                  <a:cubicBezTo>
                    <a:pt x="121" y="12"/>
                    <a:pt x="123" y="12"/>
                    <a:pt x="125" y="12"/>
                  </a:cubicBezTo>
                  <a:cubicBezTo>
                    <a:pt x="125" y="12"/>
                    <a:pt x="125" y="12"/>
                    <a:pt x="125" y="12"/>
                  </a:cubicBezTo>
                  <a:cubicBezTo>
                    <a:pt x="124" y="17"/>
                    <a:pt x="124" y="17"/>
                    <a:pt x="124" y="17"/>
                  </a:cubicBezTo>
                  <a:cubicBezTo>
                    <a:pt x="123" y="17"/>
                    <a:pt x="112" y="22"/>
                    <a:pt x="110" y="22"/>
                  </a:cubicBezTo>
                  <a:cubicBezTo>
                    <a:pt x="108" y="22"/>
                    <a:pt x="99" y="20"/>
                    <a:pt x="98" y="21"/>
                  </a:cubicBezTo>
                  <a:cubicBezTo>
                    <a:pt x="96" y="22"/>
                    <a:pt x="100" y="34"/>
                    <a:pt x="101" y="35"/>
                  </a:cubicBezTo>
                  <a:cubicBezTo>
                    <a:pt x="101" y="36"/>
                    <a:pt x="109" y="36"/>
                    <a:pt x="109" y="40"/>
                  </a:cubicBezTo>
                  <a:cubicBezTo>
                    <a:pt x="109" y="45"/>
                    <a:pt x="102" y="45"/>
                    <a:pt x="102" y="46"/>
                  </a:cubicBezTo>
                  <a:cubicBezTo>
                    <a:pt x="102" y="47"/>
                    <a:pt x="102" y="49"/>
                    <a:pt x="101" y="51"/>
                  </a:cubicBezTo>
                  <a:cubicBezTo>
                    <a:pt x="101" y="53"/>
                    <a:pt x="93" y="61"/>
                    <a:pt x="92" y="62"/>
                  </a:cubicBezTo>
                  <a:cubicBezTo>
                    <a:pt x="91" y="64"/>
                    <a:pt x="83" y="76"/>
                    <a:pt x="82" y="77"/>
                  </a:cubicBezTo>
                  <a:cubicBezTo>
                    <a:pt x="81" y="77"/>
                    <a:pt x="77" y="79"/>
                    <a:pt x="76" y="79"/>
                  </a:cubicBezTo>
                  <a:cubicBezTo>
                    <a:pt x="74" y="79"/>
                    <a:pt x="73" y="76"/>
                    <a:pt x="71" y="76"/>
                  </a:cubicBezTo>
                  <a:cubicBezTo>
                    <a:pt x="70" y="76"/>
                    <a:pt x="64" y="83"/>
                    <a:pt x="63" y="85"/>
                  </a:cubicBezTo>
                  <a:cubicBezTo>
                    <a:pt x="62" y="87"/>
                    <a:pt x="70" y="93"/>
                    <a:pt x="72" y="95"/>
                  </a:cubicBezTo>
                  <a:cubicBezTo>
                    <a:pt x="74" y="98"/>
                    <a:pt x="76" y="105"/>
                    <a:pt x="74" y="106"/>
                  </a:cubicBezTo>
                  <a:cubicBezTo>
                    <a:pt x="72" y="107"/>
                    <a:pt x="60" y="106"/>
                    <a:pt x="59" y="107"/>
                  </a:cubicBezTo>
                  <a:cubicBezTo>
                    <a:pt x="55" y="112"/>
                    <a:pt x="55" y="112"/>
                    <a:pt x="55" y="112"/>
                  </a:cubicBezTo>
                  <a:cubicBezTo>
                    <a:pt x="53" y="110"/>
                    <a:pt x="50" y="109"/>
                    <a:pt x="48" y="107"/>
                  </a:cubicBezTo>
                  <a:cubicBezTo>
                    <a:pt x="45" y="104"/>
                    <a:pt x="43" y="99"/>
                    <a:pt x="41" y="97"/>
                  </a:cubicBezTo>
                  <a:cubicBezTo>
                    <a:pt x="39" y="96"/>
                    <a:pt x="33" y="97"/>
                    <a:pt x="28" y="98"/>
                  </a:cubicBezTo>
                  <a:cubicBezTo>
                    <a:pt x="23" y="98"/>
                    <a:pt x="10" y="99"/>
                    <a:pt x="4" y="99"/>
                  </a:cubicBezTo>
                  <a:cubicBezTo>
                    <a:pt x="3" y="98"/>
                    <a:pt x="2" y="98"/>
                    <a:pt x="1" y="98"/>
                  </a:cubicBezTo>
                  <a:lnTo>
                    <a:pt x="6" y="92"/>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2" name="Freeform 188"/>
            <p:cNvSpPr>
              <a:spLocks/>
            </p:cNvSpPr>
            <p:nvPr>
              <p:custDataLst>
                <p:tags r:id="rId121"/>
              </p:custDataLst>
            </p:nvPr>
          </p:nvSpPr>
          <p:spPr bwMode="auto">
            <a:xfrm>
              <a:off x="3524" y="2178"/>
              <a:ext cx="192" cy="145"/>
            </a:xfrm>
            <a:custGeom>
              <a:avLst/>
              <a:gdLst>
                <a:gd name="T0" fmla="*/ 32657 w 112"/>
                <a:gd name="T1" fmla="*/ 81586 h 79"/>
                <a:gd name="T2" fmla="*/ 51707 w 112"/>
                <a:gd name="T3" fmla="*/ 84499 h 79"/>
                <a:gd name="T4" fmla="*/ 78921 w 112"/>
                <a:gd name="T5" fmla="*/ 64103 h 79"/>
                <a:gd name="T6" fmla="*/ 92529 w 112"/>
                <a:gd name="T7" fmla="*/ 37879 h 79"/>
                <a:gd name="T8" fmla="*/ 125186 w 112"/>
                <a:gd name="T9" fmla="*/ 34965 h 79"/>
                <a:gd name="T10" fmla="*/ 146957 w 112"/>
                <a:gd name="T11" fmla="*/ 34965 h 79"/>
                <a:gd name="T12" fmla="*/ 163286 w 112"/>
                <a:gd name="T13" fmla="*/ 43707 h 79"/>
                <a:gd name="T14" fmla="*/ 201386 w 112"/>
                <a:gd name="T15" fmla="*/ 26224 h 79"/>
                <a:gd name="T16" fmla="*/ 214993 w 112"/>
                <a:gd name="T17" fmla="*/ 2914 h 79"/>
                <a:gd name="T18" fmla="*/ 231321 w 112"/>
                <a:gd name="T19" fmla="*/ 14569 h 79"/>
                <a:gd name="T20" fmla="*/ 234043 w 112"/>
                <a:gd name="T21" fmla="*/ 40793 h 79"/>
                <a:gd name="T22" fmla="*/ 258536 w 112"/>
                <a:gd name="T23" fmla="*/ 32051 h 79"/>
                <a:gd name="T24" fmla="*/ 285750 w 112"/>
                <a:gd name="T25" fmla="*/ 29138 h 79"/>
                <a:gd name="T26" fmla="*/ 302079 w 112"/>
                <a:gd name="T27" fmla="*/ 29138 h 79"/>
                <a:gd name="T28" fmla="*/ 302079 w 112"/>
                <a:gd name="T29" fmla="*/ 32051 h 79"/>
                <a:gd name="T30" fmla="*/ 304800 w 112"/>
                <a:gd name="T31" fmla="*/ 43707 h 79"/>
                <a:gd name="T32" fmla="*/ 285750 w 112"/>
                <a:gd name="T33" fmla="*/ 52448 h 79"/>
                <a:gd name="T34" fmla="*/ 266700 w 112"/>
                <a:gd name="T35" fmla="*/ 52448 h 79"/>
                <a:gd name="T36" fmla="*/ 247650 w 112"/>
                <a:gd name="T37" fmla="*/ 58275 h 79"/>
                <a:gd name="T38" fmla="*/ 228600 w 112"/>
                <a:gd name="T39" fmla="*/ 69931 h 79"/>
                <a:gd name="T40" fmla="*/ 231321 w 112"/>
                <a:gd name="T41" fmla="*/ 93241 h 79"/>
                <a:gd name="T42" fmla="*/ 223157 w 112"/>
                <a:gd name="T43" fmla="*/ 116551 h 79"/>
                <a:gd name="T44" fmla="*/ 206829 w 112"/>
                <a:gd name="T45" fmla="*/ 110723 h 79"/>
                <a:gd name="T46" fmla="*/ 195943 w 112"/>
                <a:gd name="T47" fmla="*/ 116551 h 79"/>
                <a:gd name="T48" fmla="*/ 198664 w 112"/>
                <a:gd name="T49" fmla="*/ 136947 h 79"/>
                <a:gd name="T50" fmla="*/ 187779 w 112"/>
                <a:gd name="T51" fmla="*/ 145689 h 79"/>
                <a:gd name="T52" fmla="*/ 187779 w 112"/>
                <a:gd name="T53" fmla="*/ 166085 h 79"/>
                <a:gd name="T54" fmla="*/ 174171 w 112"/>
                <a:gd name="T55" fmla="*/ 177740 h 79"/>
                <a:gd name="T56" fmla="*/ 163286 w 112"/>
                <a:gd name="T57" fmla="*/ 174826 h 79"/>
                <a:gd name="T58" fmla="*/ 127907 w 112"/>
                <a:gd name="T59" fmla="*/ 189395 h 79"/>
                <a:gd name="T60" fmla="*/ 119743 w 112"/>
                <a:gd name="T61" fmla="*/ 218533 h 79"/>
                <a:gd name="T62" fmla="*/ 95250 w 112"/>
                <a:gd name="T63" fmla="*/ 227274 h 79"/>
                <a:gd name="T64" fmla="*/ 32657 w 112"/>
                <a:gd name="T65" fmla="*/ 230188 h 79"/>
                <a:gd name="T66" fmla="*/ 16329 w 112"/>
                <a:gd name="T67" fmla="*/ 230188 h 79"/>
                <a:gd name="T68" fmla="*/ 10886 w 112"/>
                <a:gd name="T69" fmla="*/ 221447 h 79"/>
                <a:gd name="T70" fmla="*/ 29936 w 112"/>
                <a:gd name="T71" fmla="*/ 201050 h 79"/>
                <a:gd name="T72" fmla="*/ 29936 w 112"/>
                <a:gd name="T73" fmla="*/ 183568 h 79"/>
                <a:gd name="T74" fmla="*/ 8164 w 112"/>
                <a:gd name="T75" fmla="*/ 177740 h 79"/>
                <a:gd name="T76" fmla="*/ 0 w 112"/>
                <a:gd name="T77" fmla="*/ 119465 h 79"/>
                <a:gd name="T78" fmla="*/ 13607 w 112"/>
                <a:gd name="T79" fmla="*/ 101982 h 79"/>
                <a:gd name="T80" fmla="*/ 16329 w 112"/>
                <a:gd name="T81" fmla="*/ 78672 h 79"/>
                <a:gd name="T82" fmla="*/ 32657 w 112"/>
                <a:gd name="T83" fmla="*/ 81586 h 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2" h="79">
                  <a:moveTo>
                    <a:pt x="12" y="28"/>
                  </a:moveTo>
                  <a:cubicBezTo>
                    <a:pt x="14" y="28"/>
                    <a:pt x="16" y="30"/>
                    <a:pt x="19" y="29"/>
                  </a:cubicBezTo>
                  <a:cubicBezTo>
                    <a:pt x="22" y="27"/>
                    <a:pt x="27" y="23"/>
                    <a:pt x="29" y="22"/>
                  </a:cubicBezTo>
                  <a:cubicBezTo>
                    <a:pt x="31" y="21"/>
                    <a:pt x="31" y="14"/>
                    <a:pt x="34" y="13"/>
                  </a:cubicBezTo>
                  <a:cubicBezTo>
                    <a:pt x="35" y="12"/>
                    <a:pt x="41" y="12"/>
                    <a:pt x="46" y="12"/>
                  </a:cubicBezTo>
                  <a:cubicBezTo>
                    <a:pt x="50" y="12"/>
                    <a:pt x="54" y="12"/>
                    <a:pt x="54" y="12"/>
                  </a:cubicBezTo>
                  <a:cubicBezTo>
                    <a:pt x="56" y="12"/>
                    <a:pt x="59" y="15"/>
                    <a:pt x="60" y="15"/>
                  </a:cubicBezTo>
                  <a:cubicBezTo>
                    <a:pt x="62" y="14"/>
                    <a:pt x="73" y="10"/>
                    <a:pt x="74" y="9"/>
                  </a:cubicBezTo>
                  <a:cubicBezTo>
                    <a:pt x="75" y="7"/>
                    <a:pt x="78" y="2"/>
                    <a:pt x="79" y="1"/>
                  </a:cubicBezTo>
                  <a:cubicBezTo>
                    <a:pt x="81" y="0"/>
                    <a:pt x="85" y="4"/>
                    <a:pt x="85" y="5"/>
                  </a:cubicBezTo>
                  <a:cubicBezTo>
                    <a:pt x="86" y="5"/>
                    <a:pt x="84" y="15"/>
                    <a:pt x="86" y="14"/>
                  </a:cubicBezTo>
                  <a:cubicBezTo>
                    <a:pt x="88" y="14"/>
                    <a:pt x="93" y="12"/>
                    <a:pt x="95" y="11"/>
                  </a:cubicBezTo>
                  <a:cubicBezTo>
                    <a:pt x="97" y="10"/>
                    <a:pt x="105" y="10"/>
                    <a:pt x="105" y="10"/>
                  </a:cubicBezTo>
                  <a:cubicBezTo>
                    <a:pt x="111" y="10"/>
                    <a:pt x="111" y="10"/>
                    <a:pt x="111" y="10"/>
                  </a:cubicBezTo>
                  <a:cubicBezTo>
                    <a:pt x="111" y="10"/>
                    <a:pt x="111" y="11"/>
                    <a:pt x="111" y="11"/>
                  </a:cubicBezTo>
                  <a:cubicBezTo>
                    <a:pt x="111" y="15"/>
                    <a:pt x="110" y="15"/>
                    <a:pt x="112" y="15"/>
                  </a:cubicBezTo>
                  <a:cubicBezTo>
                    <a:pt x="105" y="18"/>
                    <a:pt x="105" y="18"/>
                    <a:pt x="105" y="18"/>
                  </a:cubicBezTo>
                  <a:cubicBezTo>
                    <a:pt x="103" y="18"/>
                    <a:pt x="101" y="18"/>
                    <a:pt x="98" y="18"/>
                  </a:cubicBezTo>
                  <a:cubicBezTo>
                    <a:pt x="95" y="18"/>
                    <a:pt x="93" y="19"/>
                    <a:pt x="91" y="20"/>
                  </a:cubicBezTo>
                  <a:cubicBezTo>
                    <a:pt x="90" y="21"/>
                    <a:pt x="85" y="23"/>
                    <a:pt x="84" y="24"/>
                  </a:cubicBezTo>
                  <a:cubicBezTo>
                    <a:pt x="83" y="25"/>
                    <a:pt x="85" y="30"/>
                    <a:pt x="85" y="32"/>
                  </a:cubicBezTo>
                  <a:cubicBezTo>
                    <a:pt x="85" y="34"/>
                    <a:pt x="83" y="39"/>
                    <a:pt x="82" y="40"/>
                  </a:cubicBezTo>
                  <a:cubicBezTo>
                    <a:pt x="80" y="41"/>
                    <a:pt x="77" y="38"/>
                    <a:pt x="76" y="38"/>
                  </a:cubicBezTo>
                  <a:cubicBezTo>
                    <a:pt x="75" y="38"/>
                    <a:pt x="73" y="39"/>
                    <a:pt x="72" y="40"/>
                  </a:cubicBezTo>
                  <a:cubicBezTo>
                    <a:pt x="71" y="41"/>
                    <a:pt x="75" y="46"/>
                    <a:pt x="73" y="47"/>
                  </a:cubicBezTo>
                  <a:cubicBezTo>
                    <a:pt x="72" y="47"/>
                    <a:pt x="71" y="49"/>
                    <a:pt x="69" y="50"/>
                  </a:cubicBezTo>
                  <a:cubicBezTo>
                    <a:pt x="68" y="52"/>
                    <a:pt x="69" y="55"/>
                    <a:pt x="69" y="57"/>
                  </a:cubicBezTo>
                  <a:cubicBezTo>
                    <a:pt x="69" y="59"/>
                    <a:pt x="66" y="61"/>
                    <a:pt x="64" y="61"/>
                  </a:cubicBezTo>
                  <a:cubicBezTo>
                    <a:pt x="63" y="62"/>
                    <a:pt x="61" y="59"/>
                    <a:pt x="60" y="60"/>
                  </a:cubicBezTo>
                  <a:cubicBezTo>
                    <a:pt x="58" y="60"/>
                    <a:pt x="50" y="64"/>
                    <a:pt x="47" y="65"/>
                  </a:cubicBezTo>
                  <a:cubicBezTo>
                    <a:pt x="45" y="66"/>
                    <a:pt x="46" y="74"/>
                    <a:pt x="44" y="75"/>
                  </a:cubicBezTo>
                  <a:cubicBezTo>
                    <a:pt x="43" y="76"/>
                    <a:pt x="37" y="78"/>
                    <a:pt x="35" y="78"/>
                  </a:cubicBezTo>
                  <a:cubicBezTo>
                    <a:pt x="33" y="78"/>
                    <a:pt x="14" y="79"/>
                    <a:pt x="12" y="79"/>
                  </a:cubicBezTo>
                  <a:cubicBezTo>
                    <a:pt x="6" y="79"/>
                    <a:pt x="6" y="79"/>
                    <a:pt x="6" y="79"/>
                  </a:cubicBezTo>
                  <a:cubicBezTo>
                    <a:pt x="5" y="77"/>
                    <a:pt x="4" y="76"/>
                    <a:pt x="4" y="76"/>
                  </a:cubicBezTo>
                  <a:cubicBezTo>
                    <a:pt x="3" y="74"/>
                    <a:pt x="10" y="70"/>
                    <a:pt x="11" y="69"/>
                  </a:cubicBezTo>
                  <a:cubicBezTo>
                    <a:pt x="11" y="67"/>
                    <a:pt x="11" y="65"/>
                    <a:pt x="11" y="63"/>
                  </a:cubicBezTo>
                  <a:cubicBezTo>
                    <a:pt x="10" y="61"/>
                    <a:pt x="3" y="62"/>
                    <a:pt x="3" y="61"/>
                  </a:cubicBezTo>
                  <a:cubicBezTo>
                    <a:pt x="3" y="59"/>
                    <a:pt x="1" y="42"/>
                    <a:pt x="0" y="41"/>
                  </a:cubicBezTo>
                  <a:cubicBezTo>
                    <a:pt x="0" y="39"/>
                    <a:pt x="4" y="37"/>
                    <a:pt x="5" y="35"/>
                  </a:cubicBezTo>
                  <a:cubicBezTo>
                    <a:pt x="5" y="33"/>
                    <a:pt x="6" y="30"/>
                    <a:pt x="6" y="27"/>
                  </a:cubicBezTo>
                  <a:lnTo>
                    <a:pt x="12" y="28"/>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3" name="Freeform 189"/>
            <p:cNvSpPr>
              <a:spLocks/>
            </p:cNvSpPr>
            <p:nvPr>
              <p:custDataLst>
                <p:tags r:id="rId122"/>
              </p:custDataLst>
            </p:nvPr>
          </p:nvSpPr>
          <p:spPr bwMode="auto">
            <a:xfrm>
              <a:off x="3417" y="2367"/>
              <a:ext cx="55" cy="54"/>
            </a:xfrm>
            <a:custGeom>
              <a:avLst/>
              <a:gdLst>
                <a:gd name="T0" fmla="*/ 5457 w 32"/>
                <a:gd name="T1" fmla="*/ 82868 h 30"/>
                <a:gd name="T2" fmla="*/ 0 w 32"/>
                <a:gd name="T3" fmla="*/ 60008 h 30"/>
                <a:gd name="T4" fmla="*/ 27285 w 32"/>
                <a:gd name="T5" fmla="*/ 54293 h 30"/>
                <a:gd name="T6" fmla="*/ 51842 w 32"/>
                <a:gd name="T7" fmla="*/ 40005 h 30"/>
                <a:gd name="T8" fmla="*/ 81856 w 32"/>
                <a:gd name="T9" fmla="*/ 2858 h 30"/>
                <a:gd name="T10" fmla="*/ 84584 w 32"/>
                <a:gd name="T11" fmla="*/ 37148 h 30"/>
                <a:gd name="T12" fmla="*/ 87313 w 32"/>
                <a:gd name="T13" fmla="*/ 42863 h 30"/>
                <a:gd name="T14" fmla="*/ 73670 w 32"/>
                <a:gd name="T15" fmla="*/ 48578 h 30"/>
                <a:gd name="T16" fmla="*/ 60028 w 32"/>
                <a:gd name="T17" fmla="*/ 85725 h 30"/>
                <a:gd name="T18" fmla="*/ 5457 w 32"/>
                <a:gd name="T19" fmla="*/ 82868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30">
                  <a:moveTo>
                    <a:pt x="2" y="29"/>
                  </a:moveTo>
                  <a:cubicBezTo>
                    <a:pt x="0" y="21"/>
                    <a:pt x="0" y="21"/>
                    <a:pt x="0" y="21"/>
                  </a:cubicBezTo>
                  <a:cubicBezTo>
                    <a:pt x="3" y="20"/>
                    <a:pt x="8" y="19"/>
                    <a:pt x="10" y="19"/>
                  </a:cubicBezTo>
                  <a:cubicBezTo>
                    <a:pt x="13" y="19"/>
                    <a:pt x="17" y="15"/>
                    <a:pt x="19" y="14"/>
                  </a:cubicBezTo>
                  <a:cubicBezTo>
                    <a:pt x="22" y="13"/>
                    <a:pt x="29" y="0"/>
                    <a:pt x="30" y="1"/>
                  </a:cubicBezTo>
                  <a:cubicBezTo>
                    <a:pt x="31" y="2"/>
                    <a:pt x="29" y="8"/>
                    <a:pt x="31" y="13"/>
                  </a:cubicBezTo>
                  <a:cubicBezTo>
                    <a:pt x="31" y="14"/>
                    <a:pt x="31" y="14"/>
                    <a:pt x="32" y="15"/>
                  </a:cubicBezTo>
                  <a:cubicBezTo>
                    <a:pt x="32" y="15"/>
                    <a:pt x="27" y="16"/>
                    <a:pt x="27" y="17"/>
                  </a:cubicBezTo>
                  <a:cubicBezTo>
                    <a:pt x="27" y="19"/>
                    <a:pt x="22" y="30"/>
                    <a:pt x="22" y="30"/>
                  </a:cubicBezTo>
                  <a:lnTo>
                    <a:pt x="2" y="29"/>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4" name="Freeform 190"/>
            <p:cNvSpPr>
              <a:spLocks/>
            </p:cNvSpPr>
            <p:nvPr>
              <p:custDataLst>
                <p:tags r:id="rId123"/>
              </p:custDataLst>
            </p:nvPr>
          </p:nvSpPr>
          <p:spPr bwMode="auto">
            <a:xfrm>
              <a:off x="3412" y="2394"/>
              <a:ext cx="104" cy="117"/>
            </a:xfrm>
            <a:custGeom>
              <a:avLst/>
              <a:gdLst>
                <a:gd name="T0" fmla="*/ 0 w 60"/>
                <a:gd name="T1" fmla="*/ 127695 h 64"/>
                <a:gd name="T2" fmla="*/ 63288 w 60"/>
                <a:gd name="T3" fmla="*/ 110282 h 64"/>
                <a:gd name="T4" fmla="*/ 79798 w 60"/>
                <a:gd name="T5" fmla="*/ 60945 h 64"/>
                <a:gd name="T6" fmla="*/ 68792 w 60"/>
                <a:gd name="T7" fmla="*/ 43532 h 64"/>
                <a:gd name="T8" fmla="*/ 82550 w 60"/>
                <a:gd name="T9" fmla="*/ 5804 h 64"/>
                <a:gd name="T10" fmla="*/ 96308 w 60"/>
                <a:gd name="T11" fmla="*/ 0 h 64"/>
                <a:gd name="T12" fmla="*/ 115570 w 60"/>
                <a:gd name="T13" fmla="*/ 17413 h 64"/>
                <a:gd name="T14" fmla="*/ 140335 w 60"/>
                <a:gd name="T15" fmla="*/ 26119 h 64"/>
                <a:gd name="T16" fmla="*/ 159597 w 60"/>
                <a:gd name="T17" fmla="*/ 49337 h 64"/>
                <a:gd name="T18" fmla="*/ 159597 w 60"/>
                <a:gd name="T19" fmla="*/ 63847 h 64"/>
                <a:gd name="T20" fmla="*/ 137583 w 60"/>
                <a:gd name="T21" fmla="*/ 101575 h 64"/>
                <a:gd name="T22" fmla="*/ 126577 w 60"/>
                <a:gd name="T23" fmla="*/ 104478 h 64"/>
                <a:gd name="T24" fmla="*/ 123825 w 60"/>
                <a:gd name="T25" fmla="*/ 130597 h 64"/>
                <a:gd name="T26" fmla="*/ 101812 w 60"/>
                <a:gd name="T27" fmla="*/ 139304 h 64"/>
                <a:gd name="T28" fmla="*/ 93557 w 60"/>
                <a:gd name="T29" fmla="*/ 156716 h 64"/>
                <a:gd name="T30" fmla="*/ 68792 w 60"/>
                <a:gd name="T31" fmla="*/ 159619 h 64"/>
                <a:gd name="T32" fmla="*/ 63288 w 60"/>
                <a:gd name="T33" fmla="*/ 177032 h 64"/>
                <a:gd name="T34" fmla="*/ 24765 w 60"/>
                <a:gd name="T35" fmla="*/ 185738 h 64"/>
                <a:gd name="T36" fmla="*/ 0 w 60"/>
                <a:gd name="T37" fmla="*/ 127695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64">
                  <a:moveTo>
                    <a:pt x="0" y="44"/>
                  </a:moveTo>
                  <a:cubicBezTo>
                    <a:pt x="23" y="38"/>
                    <a:pt x="23" y="38"/>
                    <a:pt x="23" y="38"/>
                  </a:cubicBezTo>
                  <a:cubicBezTo>
                    <a:pt x="29" y="21"/>
                    <a:pt x="29" y="21"/>
                    <a:pt x="29" y="21"/>
                  </a:cubicBezTo>
                  <a:cubicBezTo>
                    <a:pt x="25" y="15"/>
                    <a:pt x="25" y="15"/>
                    <a:pt x="25" y="15"/>
                  </a:cubicBezTo>
                  <a:cubicBezTo>
                    <a:pt x="25" y="15"/>
                    <a:pt x="30" y="4"/>
                    <a:pt x="30" y="2"/>
                  </a:cubicBezTo>
                  <a:cubicBezTo>
                    <a:pt x="30" y="1"/>
                    <a:pt x="35" y="0"/>
                    <a:pt x="35" y="0"/>
                  </a:cubicBezTo>
                  <a:cubicBezTo>
                    <a:pt x="37" y="4"/>
                    <a:pt x="40" y="6"/>
                    <a:pt x="42" y="6"/>
                  </a:cubicBezTo>
                  <a:cubicBezTo>
                    <a:pt x="44" y="7"/>
                    <a:pt x="49" y="6"/>
                    <a:pt x="51" y="9"/>
                  </a:cubicBezTo>
                  <a:cubicBezTo>
                    <a:pt x="52" y="12"/>
                    <a:pt x="57" y="17"/>
                    <a:pt x="58" y="17"/>
                  </a:cubicBezTo>
                  <a:cubicBezTo>
                    <a:pt x="60" y="18"/>
                    <a:pt x="60" y="20"/>
                    <a:pt x="58" y="22"/>
                  </a:cubicBezTo>
                  <a:cubicBezTo>
                    <a:pt x="57" y="24"/>
                    <a:pt x="52" y="34"/>
                    <a:pt x="50" y="35"/>
                  </a:cubicBezTo>
                  <a:cubicBezTo>
                    <a:pt x="49" y="35"/>
                    <a:pt x="46" y="34"/>
                    <a:pt x="46" y="36"/>
                  </a:cubicBezTo>
                  <a:cubicBezTo>
                    <a:pt x="45" y="39"/>
                    <a:pt x="46" y="44"/>
                    <a:pt x="45" y="45"/>
                  </a:cubicBezTo>
                  <a:cubicBezTo>
                    <a:pt x="44" y="46"/>
                    <a:pt x="39" y="46"/>
                    <a:pt x="37" y="48"/>
                  </a:cubicBezTo>
                  <a:cubicBezTo>
                    <a:pt x="35" y="51"/>
                    <a:pt x="36" y="53"/>
                    <a:pt x="34" y="54"/>
                  </a:cubicBezTo>
                  <a:cubicBezTo>
                    <a:pt x="32" y="55"/>
                    <a:pt x="27" y="54"/>
                    <a:pt x="25" y="55"/>
                  </a:cubicBezTo>
                  <a:cubicBezTo>
                    <a:pt x="24" y="57"/>
                    <a:pt x="26" y="61"/>
                    <a:pt x="23" y="61"/>
                  </a:cubicBezTo>
                  <a:cubicBezTo>
                    <a:pt x="21" y="61"/>
                    <a:pt x="14" y="62"/>
                    <a:pt x="9" y="64"/>
                  </a:cubicBezTo>
                  <a:cubicBezTo>
                    <a:pt x="0" y="44"/>
                    <a:pt x="0" y="44"/>
                    <a:pt x="0" y="4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5" name="Freeform 191"/>
            <p:cNvSpPr>
              <a:spLocks/>
            </p:cNvSpPr>
            <p:nvPr>
              <p:custDataLst>
                <p:tags r:id="rId124"/>
              </p:custDataLst>
            </p:nvPr>
          </p:nvSpPr>
          <p:spPr bwMode="auto">
            <a:xfrm>
              <a:off x="3335" y="2312"/>
              <a:ext cx="29" cy="26"/>
            </a:xfrm>
            <a:custGeom>
              <a:avLst/>
              <a:gdLst>
                <a:gd name="T0" fmla="*/ 24373 w 17"/>
                <a:gd name="T1" fmla="*/ 32430 h 14"/>
                <a:gd name="T2" fmla="*/ 5416 w 17"/>
                <a:gd name="T3" fmla="*/ 23586 h 14"/>
                <a:gd name="T4" fmla="*/ 24373 w 17"/>
                <a:gd name="T5" fmla="*/ 2948 h 14"/>
                <a:gd name="T6" fmla="*/ 43330 w 17"/>
                <a:gd name="T7" fmla="*/ 5896 h 14"/>
                <a:gd name="T8" fmla="*/ 37914 w 17"/>
                <a:gd name="T9" fmla="*/ 17689 h 14"/>
                <a:gd name="T10" fmla="*/ 46038 w 17"/>
                <a:gd name="T11" fmla="*/ 38327 h 14"/>
                <a:gd name="T12" fmla="*/ 29789 w 17"/>
                <a:gd name="T13" fmla="*/ 41275 h 14"/>
                <a:gd name="T14" fmla="*/ 24373 w 17"/>
                <a:gd name="T15" fmla="*/ 3243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4">
                  <a:moveTo>
                    <a:pt x="9" y="11"/>
                  </a:moveTo>
                  <a:cubicBezTo>
                    <a:pt x="9" y="11"/>
                    <a:pt x="0" y="9"/>
                    <a:pt x="2" y="8"/>
                  </a:cubicBezTo>
                  <a:cubicBezTo>
                    <a:pt x="4" y="7"/>
                    <a:pt x="6" y="1"/>
                    <a:pt x="9" y="1"/>
                  </a:cubicBezTo>
                  <a:cubicBezTo>
                    <a:pt x="12" y="0"/>
                    <a:pt x="16" y="2"/>
                    <a:pt x="16" y="2"/>
                  </a:cubicBezTo>
                  <a:cubicBezTo>
                    <a:pt x="14" y="3"/>
                    <a:pt x="13" y="3"/>
                    <a:pt x="14" y="6"/>
                  </a:cubicBezTo>
                  <a:cubicBezTo>
                    <a:pt x="15" y="9"/>
                    <a:pt x="16" y="11"/>
                    <a:pt x="17" y="13"/>
                  </a:cubicBezTo>
                  <a:cubicBezTo>
                    <a:pt x="11" y="14"/>
                    <a:pt x="11" y="14"/>
                    <a:pt x="11" y="14"/>
                  </a:cubicBezTo>
                  <a:lnTo>
                    <a:pt x="9" y="11"/>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6" name="Freeform 192"/>
            <p:cNvSpPr>
              <a:spLocks/>
            </p:cNvSpPr>
            <p:nvPr>
              <p:custDataLst>
                <p:tags r:id="rId125"/>
              </p:custDataLst>
            </p:nvPr>
          </p:nvSpPr>
          <p:spPr bwMode="auto">
            <a:xfrm>
              <a:off x="3311" y="2160"/>
              <a:ext cx="252" cy="226"/>
            </a:xfrm>
            <a:custGeom>
              <a:avLst/>
              <a:gdLst>
                <a:gd name="T0" fmla="*/ 13607 w 147"/>
                <a:gd name="T1" fmla="*/ 67088 h 123"/>
                <a:gd name="T2" fmla="*/ 5443 w 147"/>
                <a:gd name="T3" fmla="*/ 46670 h 123"/>
                <a:gd name="T4" fmla="*/ 0 w 147"/>
                <a:gd name="T5" fmla="*/ 17501 h 123"/>
                <a:gd name="T6" fmla="*/ 8164 w 147"/>
                <a:gd name="T7" fmla="*/ 2917 h 123"/>
                <a:gd name="T8" fmla="*/ 24493 w 147"/>
                <a:gd name="T9" fmla="*/ 26252 h 123"/>
                <a:gd name="T10" fmla="*/ 48986 w 147"/>
                <a:gd name="T11" fmla="*/ 17501 h 123"/>
                <a:gd name="T12" fmla="*/ 76200 w 147"/>
                <a:gd name="T13" fmla="*/ 0 h 123"/>
                <a:gd name="T14" fmla="*/ 84364 w 147"/>
                <a:gd name="T15" fmla="*/ 11667 h 123"/>
                <a:gd name="T16" fmla="*/ 78921 w 147"/>
                <a:gd name="T17" fmla="*/ 23335 h 123"/>
                <a:gd name="T18" fmla="*/ 97971 w 147"/>
                <a:gd name="T19" fmla="*/ 35002 h 123"/>
                <a:gd name="T20" fmla="*/ 97971 w 147"/>
                <a:gd name="T21" fmla="*/ 40836 h 123"/>
                <a:gd name="T22" fmla="*/ 103414 w 147"/>
                <a:gd name="T23" fmla="*/ 55421 h 123"/>
                <a:gd name="T24" fmla="*/ 127907 w 147"/>
                <a:gd name="T25" fmla="*/ 64171 h 123"/>
                <a:gd name="T26" fmla="*/ 163286 w 147"/>
                <a:gd name="T27" fmla="*/ 81672 h 123"/>
                <a:gd name="T28" fmla="*/ 201386 w 147"/>
                <a:gd name="T29" fmla="*/ 70005 h 123"/>
                <a:gd name="T30" fmla="*/ 201386 w 147"/>
                <a:gd name="T31" fmla="*/ 61254 h 123"/>
                <a:gd name="T32" fmla="*/ 201386 w 147"/>
                <a:gd name="T33" fmla="*/ 61254 h 123"/>
                <a:gd name="T34" fmla="*/ 217714 w 147"/>
                <a:gd name="T35" fmla="*/ 61254 h 123"/>
                <a:gd name="T36" fmla="*/ 239486 w 147"/>
                <a:gd name="T37" fmla="*/ 43753 h 123"/>
                <a:gd name="T38" fmla="*/ 272143 w 147"/>
                <a:gd name="T39" fmla="*/ 43753 h 123"/>
                <a:gd name="T40" fmla="*/ 307521 w 147"/>
                <a:gd name="T41" fmla="*/ 58337 h 123"/>
                <a:gd name="T42" fmla="*/ 332014 w 147"/>
                <a:gd name="T43" fmla="*/ 78755 h 123"/>
                <a:gd name="T44" fmla="*/ 353786 w 147"/>
                <a:gd name="T45" fmla="*/ 81672 h 123"/>
                <a:gd name="T46" fmla="*/ 353786 w 147"/>
                <a:gd name="T47" fmla="*/ 107924 h 123"/>
                <a:gd name="T48" fmla="*/ 351064 w 147"/>
                <a:gd name="T49" fmla="*/ 131259 h 123"/>
                <a:gd name="T50" fmla="*/ 337457 w 147"/>
                <a:gd name="T51" fmla="*/ 148760 h 123"/>
                <a:gd name="T52" fmla="*/ 345621 w 147"/>
                <a:gd name="T53" fmla="*/ 207098 h 123"/>
                <a:gd name="T54" fmla="*/ 367393 w 147"/>
                <a:gd name="T55" fmla="*/ 212932 h 123"/>
                <a:gd name="T56" fmla="*/ 367393 w 147"/>
                <a:gd name="T57" fmla="*/ 230433 h 123"/>
                <a:gd name="T58" fmla="*/ 348343 w 147"/>
                <a:gd name="T59" fmla="*/ 250851 h 123"/>
                <a:gd name="T60" fmla="*/ 353786 w 147"/>
                <a:gd name="T61" fmla="*/ 259601 h 123"/>
                <a:gd name="T62" fmla="*/ 364671 w 147"/>
                <a:gd name="T63" fmla="*/ 280020 h 123"/>
                <a:gd name="T64" fmla="*/ 386443 w 147"/>
                <a:gd name="T65" fmla="*/ 285853 h 123"/>
                <a:gd name="T66" fmla="*/ 389164 w 147"/>
                <a:gd name="T67" fmla="*/ 306271 h 123"/>
                <a:gd name="T68" fmla="*/ 400050 w 147"/>
                <a:gd name="T69" fmla="*/ 312105 h 123"/>
                <a:gd name="T70" fmla="*/ 394607 w 147"/>
                <a:gd name="T71" fmla="*/ 329606 h 123"/>
                <a:gd name="T72" fmla="*/ 378279 w 147"/>
                <a:gd name="T73" fmla="*/ 332523 h 123"/>
                <a:gd name="T74" fmla="*/ 370114 w 147"/>
                <a:gd name="T75" fmla="*/ 341274 h 123"/>
                <a:gd name="T76" fmla="*/ 356507 w 147"/>
                <a:gd name="T77" fmla="*/ 358775 h 123"/>
                <a:gd name="T78" fmla="*/ 296636 w 147"/>
                <a:gd name="T79" fmla="*/ 350024 h 123"/>
                <a:gd name="T80" fmla="*/ 274864 w 147"/>
                <a:gd name="T81" fmla="*/ 338357 h 123"/>
                <a:gd name="T82" fmla="*/ 261257 w 147"/>
                <a:gd name="T83" fmla="*/ 312105 h 123"/>
                <a:gd name="T84" fmla="*/ 231321 w 147"/>
                <a:gd name="T85" fmla="*/ 320856 h 123"/>
                <a:gd name="T86" fmla="*/ 193221 w 147"/>
                <a:gd name="T87" fmla="*/ 320856 h 123"/>
                <a:gd name="T88" fmla="*/ 171450 w 147"/>
                <a:gd name="T89" fmla="*/ 300438 h 123"/>
                <a:gd name="T90" fmla="*/ 149679 w 147"/>
                <a:gd name="T91" fmla="*/ 294604 h 123"/>
                <a:gd name="T92" fmla="*/ 122464 w 147"/>
                <a:gd name="T93" fmla="*/ 239183 h 123"/>
                <a:gd name="T94" fmla="*/ 103414 w 147"/>
                <a:gd name="T95" fmla="*/ 242100 h 123"/>
                <a:gd name="T96" fmla="*/ 89807 w 147"/>
                <a:gd name="T97" fmla="*/ 245017 h 123"/>
                <a:gd name="T98" fmla="*/ 76200 w 147"/>
                <a:gd name="T99" fmla="*/ 221682 h 123"/>
                <a:gd name="T100" fmla="*/ 76200 w 147"/>
                <a:gd name="T101" fmla="*/ 201264 h 123"/>
                <a:gd name="T102" fmla="*/ 68036 w 147"/>
                <a:gd name="T103" fmla="*/ 186680 h 123"/>
                <a:gd name="T104" fmla="*/ 40821 w 147"/>
                <a:gd name="T105" fmla="*/ 172095 h 123"/>
                <a:gd name="T106" fmla="*/ 27214 w 147"/>
                <a:gd name="T107" fmla="*/ 142927 h 123"/>
                <a:gd name="T108" fmla="*/ 38100 w 147"/>
                <a:gd name="T109" fmla="*/ 122509 h 123"/>
                <a:gd name="T110" fmla="*/ 43543 w 147"/>
                <a:gd name="T111" fmla="*/ 105007 h 123"/>
                <a:gd name="T112" fmla="*/ 24493 w 147"/>
                <a:gd name="T113" fmla="*/ 96257 h 123"/>
                <a:gd name="T114" fmla="*/ 13607 w 147"/>
                <a:gd name="T115" fmla="*/ 67088 h 1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47" h="123">
                  <a:moveTo>
                    <a:pt x="5" y="23"/>
                  </a:moveTo>
                  <a:cubicBezTo>
                    <a:pt x="3" y="19"/>
                    <a:pt x="2" y="19"/>
                    <a:pt x="2" y="16"/>
                  </a:cubicBezTo>
                  <a:cubicBezTo>
                    <a:pt x="2" y="13"/>
                    <a:pt x="1" y="8"/>
                    <a:pt x="0" y="6"/>
                  </a:cubicBezTo>
                  <a:cubicBezTo>
                    <a:pt x="3" y="1"/>
                    <a:pt x="3" y="1"/>
                    <a:pt x="3" y="1"/>
                  </a:cubicBezTo>
                  <a:cubicBezTo>
                    <a:pt x="6" y="2"/>
                    <a:pt x="8" y="7"/>
                    <a:pt x="9" y="9"/>
                  </a:cubicBezTo>
                  <a:cubicBezTo>
                    <a:pt x="12" y="11"/>
                    <a:pt x="18" y="6"/>
                    <a:pt x="18" y="6"/>
                  </a:cubicBezTo>
                  <a:cubicBezTo>
                    <a:pt x="28" y="0"/>
                    <a:pt x="28" y="0"/>
                    <a:pt x="28" y="0"/>
                  </a:cubicBezTo>
                  <a:cubicBezTo>
                    <a:pt x="31" y="4"/>
                    <a:pt x="31" y="4"/>
                    <a:pt x="31" y="4"/>
                  </a:cubicBezTo>
                  <a:cubicBezTo>
                    <a:pt x="29" y="8"/>
                    <a:pt x="29" y="8"/>
                    <a:pt x="29" y="8"/>
                  </a:cubicBezTo>
                  <a:cubicBezTo>
                    <a:pt x="29" y="8"/>
                    <a:pt x="34" y="12"/>
                    <a:pt x="36" y="12"/>
                  </a:cubicBezTo>
                  <a:cubicBezTo>
                    <a:pt x="36" y="13"/>
                    <a:pt x="36" y="14"/>
                    <a:pt x="36" y="14"/>
                  </a:cubicBezTo>
                  <a:cubicBezTo>
                    <a:pt x="36" y="14"/>
                    <a:pt x="36" y="17"/>
                    <a:pt x="38" y="19"/>
                  </a:cubicBezTo>
                  <a:cubicBezTo>
                    <a:pt x="40" y="20"/>
                    <a:pt x="47" y="20"/>
                    <a:pt x="47" y="22"/>
                  </a:cubicBezTo>
                  <a:cubicBezTo>
                    <a:pt x="47" y="24"/>
                    <a:pt x="55" y="28"/>
                    <a:pt x="60" y="28"/>
                  </a:cubicBezTo>
                  <a:cubicBezTo>
                    <a:pt x="64" y="28"/>
                    <a:pt x="74" y="26"/>
                    <a:pt x="74" y="24"/>
                  </a:cubicBezTo>
                  <a:cubicBezTo>
                    <a:pt x="74" y="24"/>
                    <a:pt x="74" y="22"/>
                    <a:pt x="74" y="21"/>
                  </a:cubicBezTo>
                  <a:cubicBezTo>
                    <a:pt x="74" y="21"/>
                    <a:pt x="74" y="21"/>
                    <a:pt x="74" y="21"/>
                  </a:cubicBezTo>
                  <a:cubicBezTo>
                    <a:pt x="78" y="21"/>
                    <a:pt x="80" y="21"/>
                    <a:pt x="80" y="21"/>
                  </a:cubicBezTo>
                  <a:cubicBezTo>
                    <a:pt x="81" y="20"/>
                    <a:pt x="84" y="15"/>
                    <a:pt x="88" y="15"/>
                  </a:cubicBezTo>
                  <a:cubicBezTo>
                    <a:pt x="91" y="15"/>
                    <a:pt x="97" y="14"/>
                    <a:pt x="100" y="15"/>
                  </a:cubicBezTo>
                  <a:cubicBezTo>
                    <a:pt x="104" y="16"/>
                    <a:pt x="111" y="19"/>
                    <a:pt x="113" y="20"/>
                  </a:cubicBezTo>
                  <a:cubicBezTo>
                    <a:pt x="115" y="20"/>
                    <a:pt x="121" y="26"/>
                    <a:pt x="122" y="27"/>
                  </a:cubicBezTo>
                  <a:cubicBezTo>
                    <a:pt x="124" y="28"/>
                    <a:pt x="128" y="28"/>
                    <a:pt x="130" y="28"/>
                  </a:cubicBezTo>
                  <a:cubicBezTo>
                    <a:pt x="130" y="28"/>
                    <a:pt x="130" y="32"/>
                    <a:pt x="130" y="37"/>
                  </a:cubicBezTo>
                  <a:cubicBezTo>
                    <a:pt x="130" y="40"/>
                    <a:pt x="129" y="43"/>
                    <a:pt x="129" y="45"/>
                  </a:cubicBezTo>
                  <a:cubicBezTo>
                    <a:pt x="128" y="47"/>
                    <a:pt x="124" y="49"/>
                    <a:pt x="124" y="51"/>
                  </a:cubicBezTo>
                  <a:cubicBezTo>
                    <a:pt x="125" y="52"/>
                    <a:pt x="127" y="69"/>
                    <a:pt x="127" y="71"/>
                  </a:cubicBezTo>
                  <a:cubicBezTo>
                    <a:pt x="127" y="72"/>
                    <a:pt x="134" y="71"/>
                    <a:pt x="135" y="73"/>
                  </a:cubicBezTo>
                  <a:cubicBezTo>
                    <a:pt x="135" y="75"/>
                    <a:pt x="135" y="77"/>
                    <a:pt x="135" y="79"/>
                  </a:cubicBezTo>
                  <a:cubicBezTo>
                    <a:pt x="134" y="80"/>
                    <a:pt x="127" y="84"/>
                    <a:pt x="128" y="86"/>
                  </a:cubicBezTo>
                  <a:cubicBezTo>
                    <a:pt x="128" y="86"/>
                    <a:pt x="129" y="87"/>
                    <a:pt x="130" y="89"/>
                  </a:cubicBezTo>
                  <a:cubicBezTo>
                    <a:pt x="131" y="92"/>
                    <a:pt x="133" y="96"/>
                    <a:pt x="134" y="96"/>
                  </a:cubicBezTo>
                  <a:cubicBezTo>
                    <a:pt x="136" y="96"/>
                    <a:pt x="141" y="97"/>
                    <a:pt x="142" y="98"/>
                  </a:cubicBezTo>
                  <a:cubicBezTo>
                    <a:pt x="142" y="99"/>
                    <a:pt x="143" y="104"/>
                    <a:pt x="143" y="105"/>
                  </a:cubicBezTo>
                  <a:cubicBezTo>
                    <a:pt x="143" y="106"/>
                    <a:pt x="147" y="106"/>
                    <a:pt x="147" y="107"/>
                  </a:cubicBezTo>
                  <a:cubicBezTo>
                    <a:pt x="147" y="108"/>
                    <a:pt x="146" y="112"/>
                    <a:pt x="145" y="113"/>
                  </a:cubicBezTo>
                  <a:cubicBezTo>
                    <a:pt x="144" y="114"/>
                    <a:pt x="140" y="114"/>
                    <a:pt x="139" y="114"/>
                  </a:cubicBezTo>
                  <a:cubicBezTo>
                    <a:pt x="137" y="115"/>
                    <a:pt x="136" y="117"/>
                    <a:pt x="136" y="117"/>
                  </a:cubicBezTo>
                  <a:cubicBezTo>
                    <a:pt x="131" y="123"/>
                    <a:pt x="131" y="123"/>
                    <a:pt x="131" y="123"/>
                  </a:cubicBezTo>
                  <a:cubicBezTo>
                    <a:pt x="125" y="123"/>
                    <a:pt x="113" y="122"/>
                    <a:pt x="109" y="120"/>
                  </a:cubicBezTo>
                  <a:cubicBezTo>
                    <a:pt x="105" y="119"/>
                    <a:pt x="102" y="119"/>
                    <a:pt x="101" y="116"/>
                  </a:cubicBezTo>
                  <a:cubicBezTo>
                    <a:pt x="100" y="114"/>
                    <a:pt x="99" y="107"/>
                    <a:pt x="96" y="107"/>
                  </a:cubicBezTo>
                  <a:cubicBezTo>
                    <a:pt x="94" y="107"/>
                    <a:pt x="87" y="110"/>
                    <a:pt x="85" y="110"/>
                  </a:cubicBezTo>
                  <a:cubicBezTo>
                    <a:pt x="83" y="111"/>
                    <a:pt x="74" y="112"/>
                    <a:pt x="71" y="110"/>
                  </a:cubicBezTo>
                  <a:cubicBezTo>
                    <a:pt x="69" y="107"/>
                    <a:pt x="65" y="103"/>
                    <a:pt x="63" y="103"/>
                  </a:cubicBezTo>
                  <a:cubicBezTo>
                    <a:pt x="61" y="102"/>
                    <a:pt x="58" y="104"/>
                    <a:pt x="55" y="101"/>
                  </a:cubicBezTo>
                  <a:cubicBezTo>
                    <a:pt x="52" y="98"/>
                    <a:pt x="47" y="83"/>
                    <a:pt x="45" y="82"/>
                  </a:cubicBezTo>
                  <a:cubicBezTo>
                    <a:pt x="43" y="81"/>
                    <a:pt x="41" y="83"/>
                    <a:pt x="38" y="83"/>
                  </a:cubicBezTo>
                  <a:cubicBezTo>
                    <a:pt x="36" y="83"/>
                    <a:pt x="35" y="83"/>
                    <a:pt x="33" y="84"/>
                  </a:cubicBezTo>
                  <a:cubicBezTo>
                    <a:pt x="28" y="76"/>
                    <a:pt x="28" y="76"/>
                    <a:pt x="28" y="76"/>
                  </a:cubicBezTo>
                  <a:cubicBezTo>
                    <a:pt x="28" y="76"/>
                    <a:pt x="28" y="70"/>
                    <a:pt x="28" y="69"/>
                  </a:cubicBezTo>
                  <a:cubicBezTo>
                    <a:pt x="28" y="68"/>
                    <a:pt x="26" y="66"/>
                    <a:pt x="25" y="64"/>
                  </a:cubicBezTo>
                  <a:cubicBezTo>
                    <a:pt x="23" y="62"/>
                    <a:pt x="17" y="60"/>
                    <a:pt x="15" y="59"/>
                  </a:cubicBezTo>
                  <a:cubicBezTo>
                    <a:pt x="14" y="58"/>
                    <a:pt x="10" y="51"/>
                    <a:pt x="10" y="49"/>
                  </a:cubicBezTo>
                  <a:cubicBezTo>
                    <a:pt x="10" y="47"/>
                    <a:pt x="12" y="43"/>
                    <a:pt x="14" y="42"/>
                  </a:cubicBezTo>
                  <a:cubicBezTo>
                    <a:pt x="15" y="41"/>
                    <a:pt x="16" y="37"/>
                    <a:pt x="16" y="36"/>
                  </a:cubicBezTo>
                  <a:cubicBezTo>
                    <a:pt x="16" y="34"/>
                    <a:pt x="11" y="33"/>
                    <a:pt x="9" y="33"/>
                  </a:cubicBezTo>
                  <a:cubicBezTo>
                    <a:pt x="7" y="32"/>
                    <a:pt x="7" y="27"/>
                    <a:pt x="5"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7" name="Freeform 193"/>
            <p:cNvSpPr>
              <a:spLocks/>
            </p:cNvSpPr>
            <p:nvPr>
              <p:custDataLst>
                <p:tags r:id="rId126"/>
              </p:custDataLst>
            </p:nvPr>
          </p:nvSpPr>
          <p:spPr bwMode="auto">
            <a:xfrm>
              <a:off x="3291" y="2475"/>
              <a:ext cx="136" cy="95"/>
            </a:xfrm>
            <a:custGeom>
              <a:avLst/>
              <a:gdLst>
                <a:gd name="T0" fmla="*/ 10932 w 79"/>
                <a:gd name="T1" fmla="*/ 58005 h 52"/>
                <a:gd name="T2" fmla="*/ 16397 w 79"/>
                <a:gd name="T3" fmla="*/ 37703 h 52"/>
                <a:gd name="T4" fmla="*/ 79254 w 79"/>
                <a:gd name="T5" fmla="*/ 69606 h 52"/>
                <a:gd name="T6" fmla="*/ 125714 w 79"/>
                <a:gd name="T7" fmla="*/ 23202 h 52"/>
                <a:gd name="T8" fmla="*/ 191304 w 79"/>
                <a:gd name="T9" fmla="*/ 0 h 52"/>
                <a:gd name="T10" fmla="*/ 215900 w 79"/>
                <a:gd name="T11" fmla="*/ 58005 h 52"/>
                <a:gd name="T12" fmla="*/ 199503 w 79"/>
                <a:gd name="T13" fmla="*/ 63806 h 52"/>
                <a:gd name="T14" fmla="*/ 199503 w 79"/>
                <a:gd name="T15" fmla="*/ 84107 h 52"/>
                <a:gd name="T16" fmla="*/ 133913 w 79"/>
                <a:gd name="T17" fmla="*/ 107309 h 52"/>
                <a:gd name="T18" fmla="*/ 95652 w 79"/>
                <a:gd name="T19" fmla="*/ 127611 h 52"/>
                <a:gd name="T20" fmla="*/ 65590 w 79"/>
                <a:gd name="T21" fmla="*/ 133412 h 52"/>
                <a:gd name="T22" fmla="*/ 19130 w 79"/>
                <a:gd name="T23" fmla="*/ 145013 h 52"/>
                <a:gd name="T24" fmla="*/ 8199 w 79"/>
                <a:gd name="T25" fmla="*/ 98609 h 52"/>
                <a:gd name="T26" fmla="*/ 0 w 79"/>
                <a:gd name="T27" fmla="*/ 63806 h 52"/>
                <a:gd name="T28" fmla="*/ 10932 w 79"/>
                <a:gd name="T29" fmla="*/ 58005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9" h="52">
                  <a:moveTo>
                    <a:pt x="4" y="20"/>
                  </a:moveTo>
                  <a:cubicBezTo>
                    <a:pt x="5" y="19"/>
                    <a:pt x="4" y="13"/>
                    <a:pt x="6" y="13"/>
                  </a:cubicBezTo>
                  <a:cubicBezTo>
                    <a:pt x="8" y="12"/>
                    <a:pt x="29" y="24"/>
                    <a:pt x="29" y="24"/>
                  </a:cubicBezTo>
                  <a:cubicBezTo>
                    <a:pt x="30" y="24"/>
                    <a:pt x="46" y="8"/>
                    <a:pt x="46" y="8"/>
                  </a:cubicBezTo>
                  <a:cubicBezTo>
                    <a:pt x="70" y="0"/>
                    <a:pt x="70" y="0"/>
                    <a:pt x="70" y="0"/>
                  </a:cubicBezTo>
                  <a:cubicBezTo>
                    <a:pt x="79" y="20"/>
                    <a:pt x="79" y="20"/>
                    <a:pt x="79" y="20"/>
                  </a:cubicBezTo>
                  <a:cubicBezTo>
                    <a:pt x="76" y="20"/>
                    <a:pt x="74" y="21"/>
                    <a:pt x="73" y="22"/>
                  </a:cubicBezTo>
                  <a:cubicBezTo>
                    <a:pt x="72" y="24"/>
                    <a:pt x="73" y="28"/>
                    <a:pt x="73" y="29"/>
                  </a:cubicBezTo>
                  <a:cubicBezTo>
                    <a:pt x="73" y="29"/>
                    <a:pt x="52" y="36"/>
                    <a:pt x="49" y="37"/>
                  </a:cubicBezTo>
                  <a:cubicBezTo>
                    <a:pt x="46" y="39"/>
                    <a:pt x="38" y="43"/>
                    <a:pt x="35" y="44"/>
                  </a:cubicBezTo>
                  <a:cubicBezTo>
                    <a:pt x="31" y="45"/>
                    <a:pt x="26" y="45"/>
                    <a:pt x="24" y="46"/>
                  </a:cubicBezTo>
                  <a:cubicBezTo>
                    <a:pt x="21" y="47"/>
                    <a:pt x="9" y="52"/>
                    <a:pt x="7" y="50"/>
                  </a:cubicBezTo>
                  <a:cubicBezTo>
                    <a:pt x="6" y="47"/>
                    <a:pt x="3" y="37"/>
                    <a:pt x="3" y="34"/>
                  </a:cubicBezTo>
                  <a:cubicBezTo>
                    <a:pt x="3" y="31"/>
                    <a:pt x="2" y="26"/>
                    <a:pt x="0" y="22"/>
                  </a:cubicBezTo>
                  <a:cubicBezTo>
                    <a:pt x="0" y="22"/>
                    <a:pt x="3" y="21"/>
                    <a:pt x="4" y="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8" name="Freeform 194"/>
            <p:cNvSpPr>
              <a:spLocks/>
            </p:cNvSpPr>
            <p:nvPr>
              <p:custDataLst>
                <p:tags r:id="rId127"/>
              </p:custDataLst>
            </p:nvPr>
          </p:nvSpPr>
          <p:spPr bwMode="auto">
            <a:xfrm>
              <a:off x="3239" y="2200"/>
              <a:ext cx="129" cy="127"/>
            </a:xfrm>
            <a:custGeom>
              <a:avLst/>
              <a:gdLst>
                <a:gd name="T0" fmla="*/ 35497 w 75"/>
                <a:gd name="T1" fmla="*/ 134409 h 69"/>
                <a:gd name="T2" fmla="*/ 10922 w 75"/>
                <a:gd name="T3" fmla="*/ 128565 h 69"/>
                <a:gd name="T4" fmla="*/ 8192 w 75"/>
                <a:gd name="T5" fmla="*/ 131487 h 69"/>
                <a:gd name="T6" fmla="*/ 0 w 75"/>
                <a:gd name="T7" fmla="*/ 99346 h 69"/>
                <a:gd name="T8" fmla="*/ 40958 w 75"/>
                <a:gd name="T9" fmla="*/ 73048 h 69"/>
                <a:gd name="T10" fmla="*/ 49149 w 75"/>
                <a:gd name="T11" fmla="*/ 61360 h 69"/>
                <a:gd name="T12" fmla="*/ 54610 w 75"/>
                <a:gd name="T13" fmla="*/ 26297 h 69"/>
                <a:gd name="T14" fmla="*/ 76454 w 75"/>
                <a:gd name="T15" fmla="*/ 5844 h 69"/>
                <a:gd name="T16" fmla="*/ 87376 w 75"/>
                <a:gd name="T17" fmla="*/ 0 h 69"/>
                <a:gd name="T18" fmla="*/ 128334 w 75"/>
                <a:gd name="T19" fmla="*/ 2922 h 69"/>
                <a:gd name="T20" fmla="*/ 139256 w 75"/>
                <a:gd name="T21" fmla="*/ 32141 h 69"/>
                <a:gd name="T22" fmla="*/ 158369 w 75"/>
                <a:gd name="T23" fmla="*/ 40907 h 69"/>
                <a:gd name="T24" fmla="*/ 152908 w 75"/>
                <a:gd name="T25" fmla="*/ 58439 h 69"/>
                <a:gd name="T26" fmla="*/ 141986 w 75"/>
                <a:gd name="T27" fmla="*/ 78892 h 69"/>
                <a:gd name="T28" fmla="*/ 155639 w 75"/>
                <a:gd name="T29" fmla="*/ 108111 h 69"/>
                <a:gd name="T30" fmla="*/ 182944 w 75"/>
                <a:gd name="T31" fmla="*/ 122721 h 69"/>
                <a:gd name="T32" fmla="*/ 191135 w 75"/>
                <a:gd name="T33" fmla="*/ 137331 h 69"/>
                <a:gd name="T34" fmla="*/ 191135 w 75"/>
                <a:gd name="T35" fmla="*/ 157784 h 69"/>
                <a:gd name="T36" fmla="*/ 204788 w 75"/>
                <a:gd name="T37" fmla="*/ 181160 h 69"/>
                <a:gd name="T38" fmla="*/ 204788 w 75"/>
                <a:gd name="T39" fmla="*/ 181160 h 69"/>
                <a:gd name="T40" fmla="*/ 196596 w 75"/>
                <a:gd name="T41" fmla="*/ 184081 h 69"/>
                <a:gd name="T42" fmla="*/ 177483 w 75"/>
                <a:gd name="T43" fmla="*/ 181160 h 69"/>
                <a:gd name="T44" fmla="*/ 158369 w 75"/>
                <a:gd name="T45" fmla="*/ 201613 h 69"/>
                <a:gd name="T46" fmla="*/ 120142 w 75"/>
                <a:gd name="T47" fmla="*/ 198691 h 69"/>
                <a:gd name="T48" fmla="*/ 35497 w 75"/>
                <a:gd name="T49" fmla="*/ 134409 h 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5" h="69">
                  <a:moveTo>
                    <a:pt x="13" y="46"/>
                  </a:moveTo>
                  <a:cubicBezTo>
                    <a:pt x="12" y="45"/>
                    <a:pt x="4" y="44"/>
                    <a:pt x="4" y="44"/>
                  </a:cubicBezTo>
                  <a:cubicBezTo>
                    <a:pt x="4" y="44"/>
                    <a:pt x="4" y="44"/>
                    <a:pt x="3" y="45"/>
                  </a:cubicBezTo>
                  <a:cubicBezTo>
                    <a:pt x="0" y="34"/>
                    <a:pt x="0" y="34"/>
                    <a:pt x="0" y="34"/>
                  </a:cubicBezTo>
                  <a:cubicBezTo>
                    <a:pt x="15" y="25"/>
                    <a:pt x="15" y="25"/>
                    <a:pt x="15" y="25"/>
                  </a:cubicBezTo>
                  <a:cubicBezTo>
                    <a:pt x="16" y="25"/>
                    <a:pt x="18" y="24"/>
                    <a:pt x="18" y="21"/>
                  </a:cubicBezTo>
                  <a:cubicBezTo>
                    <a:pt x="19" y="19"/>
                    <a:pt x="19" y="10"/>
                    <a:pt x="20" y="9"/>
                  </a:cubicBezTo>
                  <a:cubicBezTo>
                    <a:pt x="22" y="8"/>
                    <a:pt x="25" y="4"/>
                    <a:pt x="28" y="2"/>
                  </a:cubicBezTo>
                  <a:cubicBezTo>
                    <a:pt x="30" y="1"/>
                    <a:pt x="31" y="0"/>
                    <a:pt x="32" y="0"/>
                  </a:cubicBezTo>
                  <a:cubicBezTo>
                    <a:pt x="47" y="1"/>
                    <a:pt x="47" y="1"/>
                    <a:pt x="47" y="1"/>
                  </a:cubicBezTo>
                  <a:cubicBezTo>
                    <a:pt x="49" y="5"/>
                    <a:pt x="49" y="10"/>
                    <a:pt x="51" y="11"/>
                  </a:cubicBezTo>
                  <a:cubicBezTo>
                    <a:pt x="53" y="11"/>
                    <a:pt x="58" y="12"/>
                    <a:pt x="58" y="14"/>
                  </a:cubicBezTo>
                  <a:cubicBezTo>
                    <a:pt x="58" y="15"/>
                    <a:pt x="57" y="19"/>
                    <a:pt x="56" y="20"/>
                  </a:cubicBezTo>
                  <a:cubicBezTo>
                    <a:pt x="54" y="21"/>
                    <a:pt x="52" y="25"/>
                    <a:pt x="52" y="27"/>
                  </a:cubicBezTo>
                  <a:cubicBezTo>
                    <a:pt x="52" y="29"/>
                    <a:pt x="56" y="36"/>
                    <a:pt x="57" y="37"/>
                  </a:cubicBezTo>
                  <a:cubicBezTo>
                    <a:pt x="59" y="38"/>
                    <a:pt x="65" y="40"/>
                    <a:pt x="67" y="42"/>
                  </a:cubicBezTo>
                  <a:cubicBezTo>
                    <a:pt x="68" y="44"/>
                    <a:pt x="70" y="46"/>
                    <a:pt x="70" y="47"/>
                  </a:cubicBezTo>
                  <a:cubicBezTo>
                    <a:pt x="70" y="48"/>
                    <a:pt x="70" y="54"/>
                    <a:pt x="70" y="54"/>
                  </a:cubicBezTo>
                  <a:cubicBezTo>
                    <a:pt x="75" y="62"/>
                    <a:pt x="75" y="62"/>
                    <a:pt x="75" y="62"/>
                  </a:cubicBezTo>
                  <a:cubicBezTo>
                    <a:pt x="75" y="62"/>
                    <a:pt x="75" y="62"/>
                    <a:pt x="75" y="62"/>
                  </a:cubicBezTo>
                  <a:cubicBezTo>
                    <a:pt x="74" y="62"/>
                    <a:pt x="73" y="63"/>
                    <a:pt x="72" y="63"/>
                  </a:cubicBezTo>
                  <a:cubicBezTo>
                    <a:pt x="72" y="63"/>
                    <a:pt x="68" y="61"/>
                    <a:pt x="65" y="62"/>
                  </a:cubicBezTo>
                  <a:cubicBezTo>
                    <a:pt x="62" y="62"/>
                    <a:pt x="60" y="68"/>
                    <a:pt x="58" y="69"/>
                  </a:cubicBezTo>
                  <a:cubicBezTo>
                    <a:pt x="44" y="68"/>
                    <a:pt x="44" y="68"/>
                    <a:pt x="44" y="68"/>
                  </a:cubicBezTo>
                  <a:lnTo>
                    <a:pt x="13" y="46"/>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59" name="Freeform 195"/>
            <p:cNvSpPr>
              <a:spLocks/>
            </p:cNvSpPr>
            <p:nvPr>
              <p:custDataLst>
                <p:tags r:id="rId128"/>
              </p:custDataLst>
            </p:nvPr>
          </p:nvSpPr>
          <p:spPr bwMode="auto">
            <a:xfrm>
              <a:off x="3199" y="2198"/>
              <a:ext cx="87" cy="79"/>
            </a:xfrm>
            <a:custGeom>
              <a:avLst/>
              <a:gdLst>
                <a:gd name="T0" fmla="*/ 24373 w 51"/>
                <a:gd name="T1" fmla="*/ 125413 h 43"/>
                <a:gd name="T2" fmla="*/ 2708 w 51"/>
                <a:gd name="T3" fmla="*/ 122496 h 43"/>
                <a:gd name="T4" fmla="*/ 8124 w 51"/>
                <a:gd name="T5" fmla="*/ 110830 h 43"/>
                <a:gd name="T6" fmla="*/ 10832 w 51"/>
                <a:gd name="T7" fmla="*/ 102080 h 43"/>
                <a:gd name="T8" fmla="*/ 21665 w 51"/>
                <a:gd name="T9" fmla="*/ 78748 h 43"/>
                <a:gd name="T10" fmla="*/ 5416 w 51"/>
                <a:gd name="T11" fmla="*/ 64165 h 43"/>
                <a:gd name="T12" fmla="*/ 2708 w 51"/>
                <a:gd name="T13" fmla="*/ 43749 h 43"/>
                <a:gd name="T14" fmla="*/ 8124 w 51"/>
                <a:gd name="T15" fmla="*/ 37916 h 43"/>
                <a:gd name="T16" fmla="*/ 18957 w 51"/>
                <a:gd name="T17" fmla="*/ 32082 h 43"/>
                <a:gd name="T18" fmla="*/ 27081 w 51"/>
                <a:gd name="T19" fmla="*/ 17499 h 43"/>
                <a:gd name="T20" fmla="*/ 51454 w 51"/>
                <a:gd name="T21" fmla="*/ 11666 h 43"/>
                <a:gd name="T22" fmla="*/ 64994 w 51"/>
                <a:gd name="T23" fmla="*/ 17499 h 43"/>
                <a:gd name="T24" fmla="*/ 102908 w 51"/>
                <a:gd name="T25" fmla="*/ 8750 h 43"/>
                <a:gd name="T26" fmla="*/ 127281 w 51"/>
                <a:gd name="T27" fmla="*/ 0 h 43"/>
                <a:gd name="T28" fmla="*/ 138113 w 51"/>
                <a:gd name="T29" fmla="*/ 8750 h 43"/>
                <a:gd name="T30" fmla="*/ 116448 w 51"/>
                <a:gd name="T31" fmla="*/ 29166 h 43"/>
                <a:gd name="T32" fmla="*/ 111032 w 51"/>
                <a:gd name="T33" fmla="*/ 64165 h 43"/>
                <a:gd name="T34" fmla="*/ 102908 w 51"/>
                <a:gd name="T35" fmla="*/ 75831 h 43"/>
                <a:gd name="T36" fmla="*/ 62286 w 51"/>
                <a:gd name="T37" fmla="*/ 102080 h 43"/>
                <a:gd name="T38" fmla="*/ 24373 w 51"/>
                <a:gd name="T39" fmla="*/ 125413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1" h="43">
                  <a:moveTo>
                    <a:pt x="9" y="43"/>
                  </a:moveTo>
                  <a:cubicBezTo>
                    <a:pt x="1" y="42"/>
                    <a:pt x="1" y="42"/>
                    <a:pt x="1" y="42"/>
                  </a:cubicBezTo>
                  <a:cubicBezTo>
                    <a:pt x="2" y="41"/>
                    <a:pt x="2" y="40"/>
                    <a:pt x="3" y="38"/>
                  </a:cubicBezTo>
                  <a:cubicBezTo>
                    <a:pt x="3" y="37"/>
                    <a:pt x="4" y="36"/>
                    <a:pt x="4" y="35"/>
                  </a:cubicBezTo>
                  <a:cubicBezTo>
                    <a:pt x="5" y="34"/>
                    <a:pt x="8" y="29"/>
                    <a:pt x="8" y="27"/>
                  </a:cubicBezTo>
                  <a:cubicBezTo>
                    <a:pt x="8" y="25"/>
                    <a:pt x="6" y="22"/>
                    <a:pt x="2" y="22"/>
                  </a:cubicBezTo>
                  <a:cubicBezTo>
                    <a:pt x="2" y="20"/>
                    <a:pt x="0" y="17"/>
                    <a:pt x="1" y="15"/>
                  </a:cubicBezTo>
                  <a:cubicBezTo>
                    <a:pt x="1" y="14"/>
                    <a:pt x="3" y="13"/>
                    <a:pt x="3" y="13"/>
                  </a:cubicBezTo>
                  <a:cubicBezTo>
                    <a:pt x="3" y="13"/>
                    <a:pt x="6" y="12"/>
                    <a:pt x="7" y="11"/>
                  </a:cubicBezTo>
                  <a:cubicBezTo>
                    <a:pt x="9" y="10"/>
                    <a:pt x="10" y="8"/>
                    <a:pt x="10" y="6"/>
                  </a:cubicBezTo>
                  <a:cubicBezTo>
                    <a:pt x="10" y="4"/>
                    <a:pt x="17" y="4"/>
                    <a:pt x="19" y="4"/>
                  </a:cubicBezTo>
                  <a:cubicBezTo>
                    <a:pt x="20" y="4"/>
                    <a:pt x="23" y="5"/>
                    <a:pt x="24" y="6"/>
                  </a:cubicBezTo>
                  <a:cubicBezTo>
                    <a:pt x="26" y="7"/>
                    <a:pt x="35" y="4"/>
                    <a:pt x="38" y="3"/>
                  </a:cubicBezTo>
                  <a:cubicBezTo>
                    <a:pt x="41" y="2"/>
                    <a:pt x="45" y="0"/>
                    <a:pt x="47" y="0"/>
                  </a:cubicBezTo>
                  <a:cubicBezTo>
                    <a:pt x="51" y="3"/>
                    <a:pt x="51" y="3"/>
                    <a:pt x="51" y="3"/>
                  </a:cubicBezTo>
                  <a:cubicBezTo>
                    <a:pt x="48" y="5"/>
                    <a:pt x="45" y="9"/>
                    <a:pt x="43" y="10"/>
                  </a:cubicBezTo>
                  <a:cubicBezTo>
                    <a:pt x="42" y="11"/>
                    <a:pt x="42" y="20"/>
                    <a:pt x="41" y="22"/>
                  </a:cubicBezTo>
                  <a:cubicBezTo>
                    <a:pt x="41" y="25"/>
                    <a:pt x="39" y="26"/>
                    <a:pt x="38" y="26"/>
                  </a:cubicBezTo>
                  <a:cubicBezTo>
                    <a:pt x="23" y="35"/>
                    <a:pt x="23" y="35"/>
                    <a:pt x="23" y="35"/>
                  </a:cubicBezTo>
                  <a:lnTo>
                    <a:pt x="9" y="43"/>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0" name="Freeform 196"/>
            <p:cNvSpPr>
              <a:spLocks/>
            </p:cNvSpPr>
            <p:nvPr>
              <p:custDataLst>
                <p:tags r:id="rId129"/>
              </p:custDataLst>
            </p:nvPr>
          </p:nvSpPr>
          <p:spPr bwMode="auto">
            <a:xfrm>
              <a:off x="3192" y="2238"/>
              <a:ext cx="21" cy="30"/>
            </a:xfrm>
            <a:custGeom>
              <a:avLst/>
              <a:gdLst>
                <a:gd name="T0" fmla="*/ 0 w 12"/>
                <a:gd name="T1" fmla="*/ 41672 h 16"/>
                <a:gd name="T2" fmla="*/ 11113 w 12"/>
                <a:gd name="T3" fmla="*/ 17859 h 16"/>
                <a:gd name="T4" fmla="*/ 16669 w 12"/>
                <a:gd name="T5" fmla="*/ 2977 h 16"/>
                <a:gd name="T6" fmla="*/ 16669 w 12"/>
                <a:gd name="T7" fmla="*/ 0 h 16"/>
                <a:gd name="T8" fmla="*/ 33338 w 12"/>
                <a:gd name="T9" fmla="*/ 14883 h 16"/>
                <a:gd name="T10" fmla="*/ 22225 w 12"/>
                <a:gd name="T11" fmla="*/ 38695 h 16"/>
                <a:gd name="T12" fmla="*/ 19447 w 12"/>
                <a:gd name="T13" fmla="*/ 47625 h 16"/>
                <a:gd name="T14" fmla="*/ 8335 w 12"/>
                <a:gd name="T15" fmla="*/ 41672 h 16"/>
                <a:gd name="T16" fmla="*/ 0 w 12"/>
                <a:gd name="T17" fmla="*/ 4167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6">
                  <a:moveTo>
                    <a:pt x="0" y="14"/>
                  </a:moveTo>
                  <a:cubicBezTo>
                    <a:pt x="2" y="10"/>
                    <a:pt x="3" y="7"/>
                    <a:pt x="4" y="6"/>
                  </a:cubicBezTo>
                  <a:cubicBezTo>
                    <a:pt x="5" y="4"/>
                    <a:pt x="6" y="3"/>
                    <a:pt x="6" y="1"/>
                  </a:cubicBezTo>
                  <a:cubicBezTo>
                    <a:pt x="6" y="1"/>
                    <a:pt x="6" y="1"/>
                    <a:pt x="6" y="0"/>
                  </a:cubicBezTo>
                  <a:cubicBezTo>
                    <a:pt x="10" y="0"/>
                    <a:pt x="12" y="3"/>
                    <a:pt x="12" y="5"/>
                  </a:cubicBezTo>
                  <a:cubicBezTo>
                    <a:pt x="12" y="7"/>
                    <a:pt x="9" y="12"/>
                    <a:pt x="8" y="13"/>
                  </a:cubicBezTo>
                  <a:cubicBezTo>
                    <a:pt x="8" y="14"/>
                    <a:pt x="7" y="15"/>
                    <a:pt x="7" y="16"/>
                  </a:cubicBezTo>
                  <a:cubicBezTo>
                    <a:pt x="3" y="14"/>
                    <a:pt x="3" y="14"/>
                    <a:pt x="3" y="14"/>
                  </a:cubicBezTo>
                  <a:lnTo>
                    <a:pt x="0" y="14"/>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1" name="Freeform 197"/>
            <p:cNvSpPr>
              <a:spLocks/>
            </p:cNvSpPr>
            <p:nvPr>
              <p:custDataLst>
                <p:tags r:id="rId130"/>
              </p:custDataLst>
            </p:nvPr>
          </p:nvSpPr>
          <p:spPr bwMode="auto">
            <a:xfrm>
              <a:off x="3190" y="2263"/>
              <a:ext cx="54" cy="64"/>
            </a:xfrm>
            <a:custGeom>
              <a:avLst/>
              <a:gdLst>
                <a:gd name="T0" fmla="*/ 0 w 31"/>
                <a:gd name="T1" fmla="*/ 98697 h 35"/>
                <a:gd name="T2" fmla="*/ 11061 w 31"/>
                <a:gd name="T3" fmla="*/ 43543 h 35"/>
                <a:gd name="T4" fmla="*/ 16592 w 31"/>
                <a:gd name="T5" fmla="*/ 20320 h 35"/>
                <a:gd name="T6" fmla="*/ 38715 w 31"/>
                <a:gd name="T7" fmla="*/ 23223 h 35"/>
                <a:gd name="T8" fmla="*/ 77429 w 31"/>
                <a:gd name="T9" fmla="*/ 0 h 35"/>
                <a:gd name="T10" fmla="*/ 85725 w 31"/>
                <a:gd name="T11" fmla="*/ 31931 h 35"/>
                <a:gd name="T12" fmla="*/ 85725 w 31"/>
                <a:gd name="T13" fmla="*/ 31931 h 35"/>
                <a:gd name="T14" fmla="*/ 44245 w 31"/>
                <a:gd name="T15" fmla="*/ 46446 h 35"/>
                <a:gd name="T16" fmla="*/ 60837 w 31"/>
                <a:gd name="T17" fmla="*/ 72571 h 35"/>
                <a:gd name="T18" fmla="*/ 41480 w 31"/>
                <a:gd name="T19" fmla="*/ 87086 h 35"/>
                <a:gd name="T20" fmla="*/ 22123 w 31"/>
                <a:gd name="T21" fmla="*/ 101600 h 35"/>
                <a:gd name="T22" fmla="*/ 0 w 31"/>
                <a:gd name="T23" fmla="*/ 9869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35">
                  <a:moveTo>
                    <a:pt x="0" y="34"/>
                  </a:moveTo>
                  <a:cubicBezTo>
                    <a:pt x="4" y="15"/>
                    <a:pt x="4" y="15"/>
                    <a:pt x="4" y="15"/>
                  </a:cubicBezTo>
                  <a:cubicBezTo>
                    <a:pt x="4" y="13"/>
                    <a:pt x="5" y="8"/>
                    <a:pt x="6" y="7"/>
                  </a:cubicBezTo>
                  <a:cubicBezTo>
                    <a:pt x="14" y="8"/>
                    <a:pt x="14" y="8"/>
                    <a:pt x="14" y="8"/>
                  </a:cubicBezTo>
                  <a:cubicBezTo>
                    <a:pt x="28" y="0"/>
                    <a:pt x="28" y="0"/>
                    <a:pt x="28" y="0"/>
                  </a:cubicBezTo>
                  <a:cubicBezTo>
                    <a:pt x="31" y="11"/>
                    <a:pt x="31" y="11"/>
                    <a:pt x="31" y="11"/>
                  </a:cubicBezTo>
                  <a:cubicBezTo>
                    <a:pt x="31" y="11"/>
                    <a:pt x="31" y="11"/>
                    <a:pt x="31" y="11"/>
                  </a:cubicBezTo>
                  <a:cubicBezTo>
                    <a:pt x="28" y="12"/>
                    <a:pt x="17" y="15"/>
                    <a:pt x="16" y="16"/>
                  </a:cubicBezTo>
                  <a:cubicBezTo>
                    <a:pt x="15" y="16"/>
                    <a:pt x="22" y="25"/>
                    <a:pt x="22" y="25"/>
                  </a:cubicBezTo>
                  <a:cubicBezTo>
                    <a:pt x="22" y="25"/>
                    <a:pt x="18" y="29"/>
                    <a:pt x="15" y="30"/>
                  </a:cubicBezTo>
                  <a:cubicBezTo>
                    <a:pt x="13" y="30"/>
                    <a:pt x="10" y="35"/>
                    <a:pt x="8" y="35"/>
                  </a:cubicBezTo>
                  <a:lnTo>
                    <a:pt x="0" y="34"/>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2" name="Freeform 198"/>
            <p:cNvSpPr>
              <a:spLocks/>
            </p:cNvSpPr>
            <p:nvPr>
              <p:custDataLst>
                <p:tags r:id="rId131"/>
              </p:custDataLst>
            </p:nvPr>
          </p:nvSpPr>
          <p:spPr bwMode="auto">
            <a:xfrm>
              <a:off x="3189" y="2280"/>
              <a:ext cx="273" cy="239"/>
            </a:xfrm>
            <a:custGeom>
              <a:avLst/>
              <a:gdLst>
                <a:gd name="T0" fmla="*/ 2726 w 159"/>
                <a:gd name="T1" fmla="*/ 70045 h 130"/>
                <a:gd name="T2" fmla="*/ 24531 w 159"/>
                <a:gd name="T3" fmla="*/ 72964 h 130"/>
                <a:gd name="T4" fmla="*/ 43611 w 159"/>
                <a:gd name="T5" fmla="*/ 58371 h 130"/>
                <a:gd name="T6" fmla="*/ 62691 w 159"/>
                <a:gd name="T7" fmla="*/ 43778 h 130"/>
                <a:gd name="T8" fmla="*/ 46337 w 159"/>
                <a:gd name="T9" fmla="*/ 17511 h 130"/>
                <a:gd name="T10" fmla="*/ 87223 w 159"/>
                <a:gd name="T11" fmla="*/ 2919 h 130"/>
                <a:gd name="T12" fmla="*/ 87223 w 159"/>
                <a:gd name="T13" fmla="*/ 2919 h 130"/>
                <a:gd name="T14" fmla="*/ 89948 w 159"/>
                <a:gd name="T15" fmla="*/ 0 h 130"/>
                <a:gd name="T16" fmla="*/ 114480 w 159"/>
                <a:gd name="T17" fmla="*/ 5837 h 130"/>
                <a:gd name="T18" fmla="*/ 198977 w 159"/>
                <a:gd name="T19" fmla="*/ 70045 h 130"/>
                <a:gd name="T20" fmla="*/ 237137 w 159"/>
                <a:gd name="T21" fmla="*/ 72964 h 130"/>
                <a:gd name="T22" fmla="*/ 256217 w 159"/>
                <a:gd name="T23" fmla="*/ 81720 h 130"/>
                <a:gd name="T24" fmla="*/ 261668 w 159"/>
                <a:gd name="T25" fmla="*/ 90475 h 130"/>
                <a:gd name="T26" fmla="*/ 278022 w 159"/>
                <a:gd name="T27" fmla="*/ 87557 h 130"/>
                <a:gd name="T28" fmla="*/ 283474 w 159"/>
                <a:gd name="T29" fmla="*/ 96313 h 130"/>
                <a:gd name="T30" fmla="*/ 313457 w 159"/>
                <a:gd name="T31" fmla="*/ 134254 h 130"/>
                <a:gd name="T32" fmla="*/ 316182 w 159"/>
                <a:gd name="T33" fmla="*/ 148847 h 130"/>
                <a:gd name="T34" fmla="*/ 324360 w 159"/>
                <a:gd name="T35" fmla="*/ 178032 h 130"/>
                <a:gd name="T36" fmla="*/ 337988 w 159"/>
                <a:gd name="T37" fmla="*/ 145928 h 130"/>
                <a:gd name="T38" fmla="*/ 348891 w 159"/>
                <a:gd name="T39" fmla="*/ 157602 h 130"/>
                <a:gd name="T40" fmla="*/ 348891 w 159"/>
                <a:gd name="T41" fmla="*/ 178032 h 130"/>
                <a:gd name="T42" fmla="*/ 340714 w 159"/>
                <a:gd name="T43" fmla="*/ 183869 h 130"/>
                <a:gd name="T44" fmla="*/ 359794 w 159"/>
                <a:gd name="T45" fmla="*/ 198462 h 130"/>
                <a:gd name="T46" fmla="*/ 362520 w 159"/>
                <a:gd name="T47" fmla="*/ 198462 h 130"/>
                <a:gd name="T48" fmla="*/ 367971 w 159"/>
                <a:gd name="T49" fmla="*/ 221811 h 130"/>
                <a:gd name="T50" fmla="*/ 422485 w 159"/>
                <a:gd name="T51" fmla="*/ 224729 h 130"/>
                <a:gd name="T52" fmla="*/ 433388 w 159"/>
                <a:gd name="T53" fmla="*/ 242241 h 130"/>
                <a:gd name="T54" fmla="*/ 417034 w 159"/>
                <a:gd name="T55" fmla="*/ 291856 h 130"/>
                <a:gd name="T56" fmla="*/ 354342 w 159"/>
                <a:gd name="T57" fmla="*/ 309368 h 130"/>
                <a:gd name="T58" fmla="*/ 354342 w 159"/>
                <a:gd name="T59" fmla="*/ 309368 h 130"/>
                <a:gd name="T60" fmla="*/ 288925 w 159"/>
                <a:gd name="T61" fmla="*/ 332716 h 130"/>
                <a:gd name="T62" fmla="*/ 242588 w 159"/>
                <a:gd name="T63" fmla="*/ 379413 h 130"/>
                <a:gd name="T64" fmla="*/ 179897 w 159"/>
                <a:gd name="T65" fmla="*/ 347309 h 130"/>
                <a:gd name="T66" fmla="*/ 174445 w 159"/>
                <a:gd name="T67" fmla="*/ 367739 h 130"/>
                <a:gd name="T68" fmla="*/ 163543 w 159"/>
                <a:gd name="T69" fmla="*/ 373576 h 130"/>
                <a:gd name="T70" fmla="*/ 163543 w 159"/>
                <a:gd name="T71" fmla="*/ 367739 h 130"/>
                <a:gd name="T72" fmla="*/ 147188 w 159"/>
                <a:gd name="T73" fmla="*/ 341472 h 130"/>
                <a:gd name="T74" fmla="*/ 117206 w 159"/>
                <a:gd name="T75" fmla="*/ 288938 h 130"/>
                <a:gd name="T76" fmla="*/ 98126 w 159"/>
                <a:gd name="T77" fmla="*/ 274345 h 130"/>
                <a:gd name="T78" fmla="*/ 87223 w 159"/>
                <a:gd name="T79" fmla="*/ 245159 h 130"/>
                <a:gd name="T80" fmla="*/ 84497 w 159"/>
                <a:gd name="T81" fmla="*/ 221811 h 130"/>
                <a:gd name="T82" fmla="*/ 59966 w 159"/>
                <a:gd name="T83" fmla="*/ 189707 h 130"/>
                <a:gd name="T84" fmla="*/ 49063 w 159"/>
                <a:gd name="T85" fmla="*/ 175114 h 130"/>
                <a:gd name="T86" fmla="*/ 35434 w 159"/>
                <a:gd name="T87" fmla="*/ 143010 h 130"/>
                <a:gd name="T88" fmla="*/ 8177 w 159"/>
                <a:gd name="T89" fmla="*/ 99231 h 130"/>
                <a:gd name="T90" fmla="*/ 0 w 159"/>
                <a:gd name="T91" fmla="*/ 87557 h 130"/>
                <a:gd name="T92" fmla="*/ 2726 w 159"/>
                <a:gd name="T93" fmla="*/ 72964 h 130"/>
                <a:gd name="T94" fmla="*/ 2726 w 159"/>
                <a:gd name="T95" fmla="*/ 72964 h 130"/>
                <a:gd name="T96" fmla="*/ 2726 w 159"/>
                <a:gd name="T97" fmla="*/ 70045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9" h="130">
                  <a:moveTo>
                    <a:pt x="1" y="24"/>
                  </a:moveTo>
                  <a:cubicBezTo>
                    <a:pt x="9" y="25"/>
                    <a:pt x="9" y="25"/>
                    <a:pt x="9" y="25"/>
                  </a:cubicBezTo>
                  <a:cubicBezTo>
                    <a:pt x="11" y="25"/>
                    <a:pt x="14" y="20"/>
                    <a:pt x="16" y="20"/>
                  </a:cubicBezTo>
                  <a:cubicBezTo>
                    <a:pt x="19" y="19"/>
                    <a:pt x="23" y="15"/>
                    <a:pt x="23" y="15"/>
                  </a:cubicBezTo>
                  <a:cubicBezTo>
                    <a:pt x="23" y="15"/>
                    <a:pt x="16" y="6"/>
                    <a:pt x="17" y="6"/>
                  </a:cubicBezTo>
                  <a:cubicBezTo>
                    <a:pt x="18" y="5"/>
                    <a:pt x="29" y="2"/>
                    <a:pt x="32" y="1"/>
                  </a:cubicBezTo>
                  <a:cubicBezTo>
                    <a:pt x="32" y="1"/>
                    <a:pt x="32" y="1"/>
                    <a:pt x="32" y="1"/>
                  </a:cubicBezTo>
                  <a:cubicBezTo>
                    <a:pt x="33" y="0"/>
                    <a:pt x="33" y="0"/>
                    <a:pt x="33" y="0"/>
                  </a:cubicBezTo>
                  <a:cubicBezTo>
                    <a:pt x="33" y="0"/>
                    <a:pt x="41" y="1"/>
                    <a:pt x="42" y="2"/>
                  </a:cubicBezTo>
                  <a:cubicBezTo>
                    <a:pt x="73" y="24"/>
                    <a:pt x="73" y="24"/>
                    <a:pt x="73" y="24"/>
                  </a:cubicBezTo>
                  <a:cubicBezTo>
                    <a:pt x="87" y="25"/>
                    <a:pt x="87" y="25"/>
                    <a:pt x="87" y="25"/>
                  </a:cubicBezTo>
                  <a:cubicBezTo>
                    <a:pt x="85" y="26"/>
                    <a:pt x="94" y="28"/>
                    <a:pt x="94" y="28"/>
                  </a:cubicBezTo>
                  <a:cubicBezTo>
                    <a:pt x="96" y="31"/>
                    <a:pt x="96" y="31"/>
                    <a:pt x="96" y="31"/>
                  </a:cubicBezTo>
                  <a:cubicBezTo>
                    <a:pt x="102" y="30"/>
                    <a:pt x="102" y="30"/>
                    <a:pt x="102" y="30"/>
                  </a:cubicBezTo>
                  <a:cubicBezTo>
                    <a:pt x="102" y="31"/>
                    <a:pt x="103" y="32"/>
                    <a:pt x="104" y="33"/>
                  </a:cubicBezTo>
                  <a:cubicBezTo>
                    <a:pt x="106" y="37"/>
                    <a:pt x="114" y="43"/>
                    <a:pt x="115" y="46"/>
                  </a:cubicBezTo>
                  <a:cubicBezTo>
                    <a:pt x="116" y="49"/>
                    <a:pt x="116" y="49"/>
                    <a:pt x="116" y="51"/>
                  </a:cubicBezTo>
                  <a:cubicBezTo>
                    <a:pt x="116" y="53"/>
                    <a:pt x="118" y="60"/>
                    <a:pt x="119" y="61"/>
                  </a:cubicBezTo>
                  <a:cubicBezTo>
                    <a:pt x="120" y="62"/>
                    <a:pt x="123" y="50"/>
                    <a:pt x="124" y="50"/>
                  </a:cubicBezTo>
                  <a:cubicBezTo>
                    <a:pt x="126" y="50"/>
                    <a:pt x="128" y="52"/>
                    <a:pt x="128" y="54"/>
                  </a:cubicBezTo>
                  <a:cubicBezTo>
                    <a:pt x="128" y="55"/>
                    <a:pt x="128" y="61"/>
                    <a:pt x="128" y="61"/>
                  </a:cubicBezTo>
                  <a:cubicBezTo>
                    <a:pt x="128" y="61"/>
                    <a:pt x="124" y="63"/>
                    <a:pt x="125" y="63"/>
                  </a:cubicBezTo>
                  <a:cubicBezTo>
                    <a:pt x="126" y="64"/>
                    <a:pt x="129" y="69"/>
                    <a:pt x="132" y="68"/>
                  </a:cubicBezTo>
                  <a:cubicBezTo>
                    <a:pt x="132" y="68"/>
                    <a:pt x="133" y="68"/>
                    <a:pt x="133" y="68"/>
                  </a:cubicBezTo>
                  <a:cubicBezTo>
                    <a:pt x="135" y="76"/>
                    <a:pt x="135" y="76"/>
                    <a:pt x="135" y="76"/>
                  </a:cubicBezTo>
                  <a:cubicBezTo>
                    <a:pt x="155" y="77"/>
                    <a:pt x="155" y="77"/>
                    <a:pt x="155" y="77"/>
                  </a:cubicBezTo>
                  <a:cubicBezTo>
                    <a:pt x="159" y="83"/>
                    <a:pt x="159" y="83"/>
                    <a:pt x="159" y="83"/>
                  </a:cubicBezTo>
                  <a:cubicBezTo>
                    <a:pt x="153" y="100"/>
                    <a:pt x="153" y="100"/>
                    <a:pt x="153" y="100"/>
                  </a:cubicBezTo>
                  <a:cubicBezTo>
                    <a:pt x="130" y="106"/>
                    <a:pt x="130" y="106"/>
                    <a:pt x="130" y="106"/>
                  </a:cubicBezTo>
                  <a:cubicBezTo>
                    <a:pt x="130" y="106"/>
                    <a:pt x="130" y="106"/>
                    <a:pt x="130" y="106"/>
                  </a:cubicBezTo>
                  <a:cubicBezTo>
                    <a:pt x="106" y="114"/>
                    <a:pt x="106" y="114"/>
                    <a:pt x="106" y="114"/>
                  </a:cubicBezTo>
                  <a:cubicBezTo>
                    <a:pt x="106" y="114"/>
                    <a:pt x="90" y="130"/>
                    <a:pt x="89" y="130"/>
                  </a:cubicBezTo>
                  <a:cubicBezTo>
                    <a:pt x="89" y="130"/>
                    <a:pt x="68" y="118"/>
                    <a:pt x="66" y="119"/>
                  </a:cubicBezTo>
                  <a:cubicBezTo>
                    <a:pt x="64" y="119"/>
                    <a:pt x="65" y="125"/>
                    <a:pt x="64" y="126"/>
                  </a:cubicBezTo>
                  <a:cubicBezTo>
                    <a:pt x="63" y="127"/>
                    <a:pt x="60" y="128"/>
                    <a:pt x="60" y="128"/>
                  </a:cubicBezTo>
                  <a:cubicBezTo>
                    <a:pt x="60" y="127"/>
                    <a:pt x="60" y="127"/>
                    <a:pt x="60" y="126"/>
                  </a:cubicBezTo>
                  <a:cubicBezTo>
                    <a:pt x="58" y="122"/>
                    <a:pt x="56" y="120"/>
                    <a:pt x="54" y="117"/>
                  </a:cubicBezTo>
                  <a:cubicBezTo>
                    <a:pt x="51" y="114"/>
                    <a:pt x="46" y="101"/>
                    <a:pt x="43" y="99"/>
                  </a:cubicBezTo>
                  <a:cubicBezTo>
                    <a:pt x="40" y="97"/>
                    <a:pt x="38" y="98"/>
                    <a:pt x="36" y="94"/>
                  </a:cubicBezTo>
                  <a:cubicBezTo>
                    <a:pt x="33" y="89"/>
                    <a:pt x="32" y="88"/>
                    <a:pt x="32" y="84"/>
                  </a:cubicBezTo>
                  <a:cubicBezTo>
                    <a:pt x="32" y="80"/>
                    <a:pt x="34" y="79"/>
                    <a:pt x="31" y="76"/>
                  </a:cubicBezTo>
                  <a:cubicBezTo>
                    <a:pt x="29" y="72"/>
                    <a:pt x="24" y="66"/>
                    <a:pt x="22" y="65"/>
                  </a:cubicBezTo>
                  <a:cubicBezTo>
                    <a:pt x="20" y="64"/>
                    <a:pt x="19" y="63"/>
                    <a:pt x="18" y="60"/>
                  </a:cubicBezTo>
                  <a:cubicBezTo>
                    <a:pt x="17" y="58"/>
                    <a:pt x="16" y="53"/>
                    <a:pt x="13" y="49"/>
                  </a:cubicBezTo>
                  <a:cubicBezTo>
                    <a:pt x="10" y="46"/>
                    <a:pt x="4" y="35"/>
                    <a:pt x="3" y="34"/>
                  </a:cubicBezTo>
                  <a:cubicBezTo>
                    <a:pt x="1" y="33"/>
                    <a:pt x="0" y="33"/>
                    <a:pt x="0" y="30"/>
                  </a:cubicBezTo>
                  <a:cubicBezTo>
                    <a:pt x="0" y="28"/>
                    <a:pt x="1" y="26"/>
                    <a:pt x="1" y="25"/>
                  </a:cubicBezTo>
                  <a:cubicBezTo>
                    <a:pt x="1" y="25"/>
                    <a:pt x="1" y="25"/>
                    <a:pt x="1" y="25"/>
                  </a:cubicBezTo>
                  <a:lnTo>
                    <a:pt x="1" y="24"/>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3" name="Freeform 199"/>
            <p:cNvSpPr>
              <a:spLocks/>
            </p:cNvSpPr>
            <p:nvPr>
              <p:custDataLst>
                <p:tags r:id="rId132"/>
              </p:custDataLst>
            </p:nvPr>
          </p:nvSpPr>
          <p:spPr bwMode="auto">
            <a:xfrm>
              <a:off x="3055" y="2288"/>
              <a:ext cx="142" cy="152"/>
            </a:xfrm>
            <a:custGeom>
              <a:avLst/>
              <a:gdLst>
                <a:gd name="T0" fmla="*/ 176538 w 83"/>
                <a:gd name="T1" fmla="*/ 229671 h 83"/>
                <a:gd name="T2" fmla="*/ 5432 w 83"/>
                <a:gd name="T3" fmla="*/ 229671 h 83"/>
                <a:gd name="T4" fmla="*/ 5432 w 83"/>
                <a:gd name="T5" fmla="*/ 63959 h 83"/>
                <a:gd name="T6" fmla="*/ 0 w 83"/>
                <a:gd name="T7" fmla="*/ 37794 h 83"/>
                <a:gd name="T8" fmla="*/ 10864 w 83"/>
                <a:gd name="T9" fmla="*/ 23258 h 83"/>
                <a:gd name="T10" fmla="*/ 10864 w 83"/>
                <a:gd name="T11" fmla="*/ 5814 h 83"/>
                <a:gd name="T12" fmla="*/ 38023 w 83"/>
                <a:gd name="T13" fmla="*/ 5814 h 83"/>
                <a:gd name="T14" fmla="*/ 89627 w 83"/>
                <a:gd name="T15" fmla="*/ 20351 h 83"/>
                <a:gd name="T16" fmla="*/ 119502 w 83"/>
                <a:gd name="T17" fmla="*/ 5814 h 83"/>
                <a:gd name="T18" fmla="*/ 133082 w 83"/>
                <a:gd name="T19" fmla="*/ 2907 h 83"/>
                <a:gd name="T20" fmla="*/ 149378 w 83"/>
                <a:gd name="T21" fmla="*/ 5814 h 83"/>
                <a:gd name="T22" fmla="*/ 165674 w 83"/>
                <a:gd name="T23" fmla="*/ 17443 h 83"/>
                <a:gd name="T24" fmla="*/ 192833 w 83"/>
                <a:gd name="T25" fmla="*/ 11629 h 83"/>
                <a:gd name="T26" fmla="*/ 209129 w 83"/>
                <a:gd name="T27" fmla="*/ 61052 h 83"/>
                <a:gd name="T28" fmla="*/ 209129 w 83"/>
                <a:gd name="T29" fmla="*/ 61052 h 83"/>
                <a:gd name="T30" fmla="*/ 198265 w 83"/>
                <a:gd name="T31" fmla="*/ 87217 h 83"/>
                <a:gd name="T32" fmla="*/ 187402 w 83"/>
                <a:gd name="T33" fmla="*/ 81402 h 83"/>
                <a:gd name="T34" fmla="*/ 168390 w 83"/>
                <a:gd name="T35" fmla="*/ 46516 h 83"/>
                <a:gd name="T36" fmla="*/ 157526 w 83"/>
                <a:gd name="T37" fmla="*/ 43608 h 83"/>
                <a:gd name="T38" fmla="*/ 154810 w 83"/>
                <a:gd name="T39" fmla="*/ 52330 h 83"/>
                <a:gd name="T40" fmla="*/ 176538 w 83"/>
                <a:gd name="T41" fmla="*/ 95939 h 83"/>
                <a:gd name="T42" fmla="*/ 190117 w 83"/>
                <a:gd name="T43" fmla="*/ 122104 h 83"/>
                <a:gd name="T44" fmla="*/ 222709 w 83"/>
                <a:gd name="T45" fmla="*/ 186063 h 83"/>
                <a:gd name="T46" fmla="*/ 225425 w 83"/>
                <a:gd name="T47" fmla="*/ 209320 h 83"/>
                <a:gd name="T48" fmla="*/ 211845 w 83"/>
                <a:gd name="T49" fmla="*/ 212228 h 83"/>
                <a:gd name="T50" fmla="*/ 206413 w 83"/>
                <a:gd name="T51" fmla="*/ 226764 h 83"/>
                <a:gd name="T52" fmla="*/ 190117 w 83"/>
                <a:gd name="T53" fmla="*/ 238393 h 83"/>
                <a:gd name="T54" fmla="*/ 176538 w 83"/>
                <a:gd name="T55" fmla="*/ 229671 h 8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3" h="83">
                  <a:moveTo>
                    <a:pt x="65" y="79"/>
                  </a:moveTo>
                  <a:cubicBezTo>
                    <a:pt x="2" y="79"/>
                    <a:pt x="2" y="79"/>
                    <a:pt x="2" y="79"/>
                  </a:cubicBezTo>
                  <a:cubicBezTo>
                    <a:pt x="2" y="22"/>
                    <a:pt x="2" y="22"/>
                    <a:pt x="2" y="22"/>
                  </a:cubicBezTo>
                  <a:cubicBezTo>
                    <a:pt x="2" y="22"/>
                    <a:pt x="0" y="17"/>
                    <a:pt x="0" y="13"/>
                  </a:cubicBezTo>
                  <a:cubicBezTo>
                    <a:pt x="0" y="10"/>
                    <a:pt x="4" y="10"/>
                    <a:pt x="4" y="8"/>
                  </a:cubicBezTo>
                  <a:cubicBezTo>
                    <a:pt x="4" y="6"/>
                    <a:pt x="4" y="2"/>
                    <a:pt x="4" y="2"/>
                  </a:cubicBezTo>
                  <a:cubicBezTo>
                    <a:pt x="7" y="2"/>
                    <a:pt x="11" y="2"/>
                    <a:pt x="14" y="2"/>
                  </a:cubicBezTo>
                  <a:cubicBezTo>
                    <a:pt x="16" y="2"/>
                    <a:pt x="30" y="7"/>
                    <a:pt x="33" y="7"/>
                  </a:cubicBezTo>
                  <a:cubicBezTo>
                    <a:pt x="37" y="7"/>
                    <a:pt x="42" y="3"/>
                    <a:pt x="44" y="2"/>
                  </a:cubicBezTo>
                  <a:cubicBezTo>
                    <a:pt x="47" y="1"/>
                    <a:pt x="47" y="1"/>
                    <a:pt x="49" y="1"/>
                  </a:cubicBezTo>
                  <a:cubicBezTo>
                    <a:pt x="52" y="0"/>
                    <a:pt x="53" y="1"/>
                    <a:pt x="55" y="2"/>
                  </a:cubicBezTo>
                  <a:cubicBezTo>
                    <a:pt x="57" y="3"/>
                    <a:pt x="59" y="6"/>
                    <a:pt x="61" y="6"/>
                  </a:cubicBezTo>
                  <a:cubicBezTo>
                    <a:pt x="64" y="5"/>
                    <a:pt x="69" y="6"/>
                    <a:pt x="71" y="4"/>
                  </a:cubicBezTo>
                  <a:cubicBezTo>
                    <a:pt x="77" y="21"/>
                    <a:pt x="77" y="21"/>
                    <a:pt x="77" y="21"/>
                  </a:cubicBezTo>
                  <a:cubicBezTo>
                    <a:pt x="77" y="21"/>
                    <a:pt x="77" y="21"/>
                    <a:pt x="77" y="21"/>
                  </a:cubicBezTo>
                  <a:cubicBezTo>
                    <a:pt x="75" y="23"/>
                    <a:pt x="74" y="30"/>
                    <a:pt x="73" y="30"/>
                  </a:cubicBezTo>
                  <a:cubicBezTo>
                    <a:pt x="72" y="30"/>
                    <a:pt x="71" y="30"/>
                    <a:pt x="69" y="28"/>
                  </a:cubicBezTo>
                  <a:cubicBezTo>
                    <a:pt x="68" y="26"/>
                    <a:pt x="63" y="18"/>
                    <a:pt x="62" y="16"/>
                  </a:cubicBezTo>
                  <a:cubicBezTo>
                    <a:pt x="61" y="13"/>
                    <a:pt x="59" y="13"/>
                    <a:pt x="58" y="15"/>
                  </a:cubicBezTo>
                  <a:cubicBezTo>
                    <a:pt x="57" y="17"/>
                    <a:pt x="58" y="17"/>
                    <a:pt x="57" y="18"/>
                  </a:cubicBezTo>
                  <a:cubicBezTo>
                    <a:pt x="57" y="20"/>
                    <a:pt x="63" y="31"/>
                    <a:pt x="65" y="33"/>
                  </a:cubicBezTo>
                  <a:cubicBezTo>
                    <a:pt x="67" y="35"/>
                    <a:pt x="68" y="39"/>
                    <a:pt x="70" y="42"/>
                  </a:cubicBezTo>
                  <a:cubicBezTo>
                    <a:pt x="73" y="45"/>
                    <a:pt x="82" y="62"/>
                    <a:pt x="82" y="64"/>
                  </a:cubicBezTo>
                  <a:cubicBezTo>
                    <a:pt x="82" y="65"/>
                    <a:pt x="82" y="69"/>
                    <a:pt x="83" y="72"/>
                  </a:cubicBezTo>
                  <a:cubicBezTo>
                    <a:pt x="83" y="72"/>
                    <a:pt x="80" y="73"/>
                    <a:pt x="78" y="73"/>
                  </a:cubicBezTo>
                  <a:cubicBezTo>
                    <a:pt x="77" y="73"/>
                    <a:pt x="76" y="78"/>
                    <a:pt x="76" y="78"/>
                  </a:cubicBezTo>
                  <a:cubicBezTo>
                    <a:pt x="76" y="78"/>
                    <a:pt x="72" y="81"/>
                    <a:pt x="70" y="82"/>
                  </a:cubicBezTo>
                  <a:cubicBezTo>
                    <a:pt x="68" y="83"/>
                    <a:pt x="67" y="80"/>
                    <a:pt x="65" y="7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4" name="Freeform 200"/>
            <p:cNvSpPr>
              <a:spLocks/>
            </p:cNvSpPr>
            <p:nvPr>
              <p:custDataLst>
                <p:tags r:id="rId133"/>
              </p:custDataLst>
            </p:nvPr>
          </p:nvSpPr>
          <p:spPr bwMode="auto">
            <a:xfrm>
              <a:off x="2851" y="2264"/>
              <a:ext cx="211" cy="206"/>
            </a:xfrm>
            <a:custGeom>
              <a:avLst/>
              <a:gdLst>
                <a:gd name="T0" fmla="*/ 16340 w 123"/>
                <a:gd name="T1" fmla="*/ 154753 h 112"/>
                <a:gd name="T2" fmla="*/ 10893 w 123"/>
                <a:gd name="T3" fmla="*/ 84676 h 112"/>
                <a:gd name="T4" fmla="*/ 8170 w 123"/>
                <a:gd name="T5" fmla="*/ 72997 h 112"/>
                <a:gd name="T6" fmla="*/ 27233 w 123"/>
                <a:gd name="T7" fmla="*/ 72997 h 112"/>
                <a:gd name="T8" fmla="*/ 29956 w 123"/>
                <a:gd name="T9" fmla="*/ 43798 h 112"/>
                <a:gd name="T10" fmla="*/ 46296 w 123"/>
                <a:gd name="T11" fmla="*/ 23359 h 112"/>
                <a:gd name="T12" fmla="*/ 51742 w 123"/>
                <a:gd name="T13" fmla="*/ 0 h 112"/>
                <a:gd name="T14" fmla="*/ 51742 w 123"/>
                <a:gd name="T15" fmla="*/ 0 h 112"/>
                <a:gd name="T16" fmla="*/ 57189 w 123"/>
                <a:gd name="T17" fmla="*/ 2920 h 112"/>
                <a:gd name="T18" fmla="*/ 87145 w 123"/>
                <a:gd name="T19" fmla="*/ 8760 h 112"/>
                <a:gd name="T20" fmla="*/ 125271 w 123"/>
                <a:gd name="T21" fmla="*/ 23359 h 112"/>
                <a:gd name="T22" fmla="*/ 141610 w 123"/>
                <a:gd name="T23" fmla="*/ 46718 h 112"/>
                <a:gd name="T24" fmla="*/ 177013 w 123"/>
                <a:gd name="T25" fmla="*/ 52558 h 112"/>
                <a:gd name="T26" fmla="*/ 204246 w 123"/>
                <a:gd name="T27" fmla="*/ 72997 h 112"/>
                <a:gd name="T28" fmla="*/ 228755 w 123"/>
                <a:gd name="T29" fmla="*/ 55477 h 112"/>
                <a:gd name="T30" fmla="*/ 228755 w 123"/>
                <a:gd name="T31" fmla="*/ 29199 h 112"/>
                <a:gd name="T32" fmla="*/ 255988 w 123"/>
                <a:gd name="T33" fmla="*/ 8760 h 112"/>
                <a:gd name="T34" fmla="*/ 285944 w 123"/>
                <a:gd name="T35" fmla="*/ 11679 h 112"/>
                <a:gd name="T36" fmla="*/ 288667 w 123"/>
                <a:gd name="T37" fmla="*/ 23359 h 112"/>
                <a:gd name="T38" fmla="*/ 324070 w 123"/>
                <a:gd name="T39" fmla="*/ 32119 h 112"/>
                <a:gd name="T40" fmla="*/ 332240 w 123"/>
                <a:gd name="T41" fmla="*/ 43798 h 112"/>
                <a:gd name="T42" fmla="*/ 334963 w 123"/>
                <a:gd name="T43" fmla="*/ 43798 h 112"/>
                <a:gd name="T44" fmla="*/ 334963 w 123"/>
                <a:gd name="T45" fmla="*/ 61317 h 112"/>
                <a:gd name="T46" fmla="*/ 324070 w 123"/>
                <a:gd name="T47" fmla="*/ 75917 h 112"/>
                <a:gd name="T48" fmla="*/ 329516 w 123"/>
                <a:gd name="T49" fmla="*/ 102195 h 112"/>
                <a:gd name="T50" fmla="*/ 329516 w 123"/>
                <a:gd name="T51" fmla="*/ 268628 h 112"/>
                <a:gd name="T52" fmla="*/ 329516 w 123"/>
                <a:gd name="T53" fmla="*/ 318265 h 112"/>
                <a:gd name="T54" fmla="*/ 307730 w 123"/>
                <a:gd name="T55" fmla="*/ 318265 h 112"/>
                <a:gd name="T56" fmla="*/ 307730 w 123"/>
                <a:gd name="T57" fmla="*/ 327025 h 112"/>
                <a:gd name="T58" fmla="*/ 141610 w 123"/>
                <a:gd name="T59" fmla="*/ 236509 h 112"/>
                <a:gd name="T60" fmla="*/ 122547 w 123"/>
                <a:gd name="T61" fmla="*/ 245269 h 112"/>
                <a:gd name="T62" fmla="*/ 103485 w 123"/>
                <a:gd name="T63" fmla="*/ 256948 h 112"/>
                <a:gd name="T64" fmla="*/ 81698 w 123"/>
                <a:gd name="T65" fmla="*/ 242349 h 112"/>
                <a:gd name="T66" fmla="*/ 59912 w 123"/>
                <a:gd name="T67" fmla="*/ 233589 h 112"/>
                <a:gd name="T68" fmla="*/ 54466 w 123"/>
                <a:gd name="T69" fmla="*/ 236509 h 112"/>
                <a:gd name="T70" fmla="*/ 46296 w 123"/>
                <a:gd name="T71" fmla="*/ 213150 h 112"/>
                <a:gd name="T72" fmla="*/ 21786 w 123"/>
                <a:gd name="T73" fmla="*/ 207310 h 112"/>
                <a:gd name="T74" fmla="*/ 5447 w 123"/>
                <a:gd name="T75" fmla="*/ 175192 h 112"/>
                <a:gd name="T76" fmla="*/ 16340 w 123"/>
                <a:gd name="T77" fmla="*/ 154753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3" h="112">
                  <a:moveTo>
                    <a:pt x="6" y="53"/>
                  </a:moveTo>
                  <a:cubicBezTo>
                    <a:pt x="6" y="51"/>
                    <a:pt x="5" y="34"/>
                    <a:pt x="4" y="29"/>
                  </a:cubicBezTo>
                  <a:cubicBezTo>
                    <a:pt x="4" y="28"/>
                    <a:pt x="3" y="27"/>
                    <a:pt x="3" y="25"/>
                  </a:cubicBezTo>
                  <a:cubicBezTo>
                    <a:pt x="6" y="25"/>
                    <a:pt x="10" y="25"/>
                    <a:pt x="10" y="25"/>
                  </a:cubicBezTo>
                  <a:cubicBezTo>
                    <a:pt x="11" y="24"/>
                    <a:pt x="9" y="17"/>
                    <a:pt x="11" y="15"/>
                  </a:cubicBezTo>
                  <a:cubicBezTo>
                    <a:pt x="12" y="14"/>
                    <a:pt x="16" y="9"/>
                    <a:pt x="17" y="8"/>
                  </a:cubicBezTo>
                  <a:cubicBezTo>
                    <a:pt x="19" y="6"/>
                    <a:pt x="18" y="1"/>
                    <a:pt x="19" y="0"/>
                  </a:cubicBezTo>
                  <a:cubicBezTo>
                    <a:pt x="19" y="0"/>
                    <a:pt x="19" y="0"/>
                    <a:pt x="19" y="0"/>
                  </a:cubicBezTo>
                  <a:cubicBezTo>
                    <a:pt x="20" y="1"/>
                    <a:pt x="20" y="1"/>
                    <a:pt x="21" y="1"/>
                  </a:cubicBezTo>
                  <a:cubicBezTo>
                    <a:pt x="23" y="3"/>
                    <a:pt x="30" y="3"/>
                    <a:pt x="32" y="3"/>
                  </a:cubicBezTo>
                  <a:cubicBezTo>
                    <a:pt x="35" y="3"/>
                    <a:pt x="45" y="6"/>
                    <a:pt x="46" y="8"/>
                  </a:cubicBezTo>
                  <a:cubicBezTo>
                    <a:pt x="48" y="9"/>
                    <a:pt x="50" y="15"/>
                    <a:pt x="52" y="16"/>
                  </a:cubicBezTo>
                  <a:cubicBezTo>
                    <a:pt x="54" y="17"/>
                    <a:pt x="62" y="17"/>
                    <a:pt x="65" y="18"/>
                  </a:cubicBezTo>
                  <a:cubicBezTo>
                    <a:pt x="68" y="20"/>
                    <a:pt x="72" y="25"/>
                    <a:pt x="75" y="25"/>
                  </a:cubicBezTo>
                  <a:cubicBezTo>
                    <a:pt x="78" y="25"/>
                    <a:pt x="84" y="22"/>
                    <a:pt x="84" y="19"/>
                  </a:cubicBezTo>
                  <a:cubicBezTo>
                    <a:pt x="84" y="16"/>
                    <a:pt x="81" y="13"/>
                    <a:pt x="84" y="10"/>
                  </a:cubicBezTo>
                  <a:cubicBezTo>
                    <a:pt x="86" y="7"/>
                    <a:pt x="91" y="4"/>
                    <a:pt x="94" y="3"/>
                  </a:cubicBezTo>
                  <a:cubicBezTo>
                    <a:pt x="97" y="3"/>
                    <a:pt x="104" y="4"/>
                    <a:pt x="105" y="4"/>
                  </a:cubicBezTo>
                  <a:cubicBezTo>
                    <a:pt x="106" y="5"/>
                    <a:pt x="105" y="8"/>
                    <a:pt x="106" y="8"/>
                  </a:cubicBezTo>
                  <a:cubicBezTo>
                    <a:pt x="108" y="8"/>
                    <a:pt x="118" y="11"/>
                    <a:pt x="119" y="11"/>
                  </a:cubicBezTo>
                  <a:cubicBezTo>
                    <a:pt x="121" y="11"/>
                    <a:pt x="120" y="15"/>
                    <a:pt x="122" y="15"/>
                  </a:cubicBezTo>
                  <a:cubicBezTo>
                    <a:pt x="122" y="15"/>
                    <a:pt x="123" y="15"/>
                    <a:pt x="123" y="15"/>
                  </a:cubicBezTo>
                  <a:cubicBezTo>
                    <a:pt x="123" y="15"/>
                    <a:pt x="123" y="19"/>
                    <a:pt x="123" y="21"/>
                  </a:cubicBezTo>
                  <a:cubicBezTo>
                    <a:pt x="123" y="23"/>
                    <a:pt x="119" y="23"/>
                    <a:pt x="119" y="26"/>
                  </a:cubicBezTo>
                  <a:cubicBezTo>
                    <a:pt x="119" y="30"/>
                    <a:pt x="121" y="35"/>
                    <a:pt x="121" y="35"/>
                  </a:cubicBezTo>
                  <a:cubicBezTo>
                    <a:pt x="121" y="92"/>
                    <a:pt x="121" y="92"/>
                    <a:pt x="121" y="92"/>
                  </a:cubicBezTo>
                  <a:cubicBezTo>
                    <a:pt x="121" y="109"/>
                    <a:pt x="121" y="109"/>
                    <a:pt x="121" y="109"/>
                  </a:cubicBezTo>
                  <a:cubicBezTo>
                    <a:pt x="113" y="109"/>
                    <a:pt x="113" y="109"/>
                    <a:pt x="113" y="109"/>
                  </a:cubicBezTo>
                  <a:cubicBezTo>
                    <a:pt x="113" y="112"/>
                    <a:pt x="113" y="112"/>
                    <a:pt x="113" y="112"/>
                  </a:cubicBezTo>
                  <a:cubicBezTo>
                    <a:pt x="52" y="81"/>
                    <a:pt x="52" y="81"/>
                    <a:pt x="52" y="81"/>
                  </a:cubicBezTo>
                  <a:cubicBezTo>
                    <a:pt x="45" y="84"/>
                    <a:pt x="45" y="84"/>
                    <a:pt x="45" y="84"/>
                  </a:cubicBezTo>
                  <a:cubicBezTo>
                    <a:pt x="38" y="88"/>
                    <a:pt x="38" y="88"/>
                    <a:pt x="38" y="88"/>
                  </a:cubicBezTo>
                  <a:cubicBezTo>
                    <a:pt x="30" y="83"/>
                    <a:pt x="30" y="83"/>
                    <a:pt x="30" y="83"/>
                  </a:cubicBezTo>
                  <a:cubicBezTo>
                    <a:pt x="22" y="80"/>
                    <a:pt x="22" y="80"/>
                    <a:pt x="22" y="80"/>
                  </a:cubicBezTo>
                  <a:cubicBezTo>
                    <a:pt x="22" y="80"/>
                    <a:pt x="21" y="80"/>
                    <a:pt x="20" y="81"/>
                  </a:cubicBezTo>
                  <a:cubicBezTo>
                    <a:pt x="17" y="73"/>
                    <a:pt x="17" y="73"/>
                    <a:pt x="17" y="73"/>
                  </a:cubicBezTo>
                  <a:cubicBezTo>
                    <a:pt x="16" y="72"/>
                    <a:pt x="10" y="71"/>
                    <a:pt x="8" y="71"/>
                  </a:cubicBezTo>
                  <a:cubicBezTo>
                    <a:pt x="7" y="70"/>
                    <a:pt x="5" y="63"/>
                    <a:pt x="2" y="60"/>
                  </a:cubicBezTo>
                  <a:cubicBezTo>
                    <a:pt x="0" y="58"/>
                    <a:pt x="6" y="55"/>
                    <a:pt x="6" y="5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5" name="Freeform 202"/>
            <p:cNvSpPr>
              <a:spLocks/>
            </p:cNvSpPr>
            <p:nvPr>
              <p:custDataLst>
                <p:tags r:id="rId134"/>
              </p:custDataLst>
            </p:nvPr>
          </p:nvSpPr>
          <p:spPr bwMode="auto">
            <a:xfrm>
              <a:off x="3639" y="2102"/>
              <a:ext cx="144" cy="65"/>
            </a:xfrm>
            <a:custGeom>
              <a:avLst/>
              <a:gdLst>
                <a:gd name="T0" fmla="*/ 21771 w 84"/>
                <a:gd name="T1" fmla="*/ 100322 h 36"/>
                <a:gd name="T2" fmla="*/ 0 w 84"/>
                <a:gd name="T3" fmla="*/ 100322 h 36"/>
                <a:gd name="T4" fmla="*/ 2721 w 84"/>
                <a:gd name="T5" fmla="*/ 85990 h 36"/>
                <a:gd name="T6" fmla="*/ 19050 w 84"/>
                <a:gd name="T7" fmla="*/ 83124 h 36"/>
                <a:gd name="T8" fmla="*/ 27214 w 84"/>
                <a:gd name="T9" fmla="*/ 77391 h 36"/>
                <a:gd name="T10" fmla="*/ 43543 w 84"/>
                <a:gd name="T11" fmla="*/ 77391 h 36"/>
                <a:gd name="T12" fmla="*/ 59871 w 84"/>
                <a:gd name="T13" fmla="*/ 71658 h 36"/>
                <a:gd name="T14" fmla="*/ 78921 w 84"/>
                <a:gd name="T15" fmla="*/ 63059 h 36"/>
                <a:gd name="T16" fmla="*/ 59871 w 84"/>
                <a:gd name="T17" fmla="*/ 54460 h 36"/>
                <a:gd name="T18" fmla="*/ 32657 w 84"/>
                <a:gd name="T19" fmla="*/ 51594 h 36"/>
                <a:gd name="T20" fmla="*/ 27214 w 84"/>
                <a:gd name="T21" fmla="*/ 45861 h 36"/>
                <a:gd name="T22" fmla="*/ 38100 w 84"/>
                <a:gd name="T23" fmla="*/ 34396 h 36"/>
                <a:gd name="T24" fmla="*/ 27214 w 84"/>
                <a:gd name="T25" fmla="*/ 22931 h 36"/>
                <a:gd name="T26" fmla="*/ 40821 w 84"/>
                <a:gd name="T27" fmla="*/ 8599 h 36"/>
                <a:gd name="T28" fmla="*/ 84364 w 84"/>
                <a:gd name="T29" fmla="*/ 20064 h 36"/>
                <a:gd name="T30" fmla="*/ 95250 w 84"/>
                <a:gd name="T31" fmla="*/ 0 h 36"/>
                <a:gd name="T32" fmla="*/ 127907 w 84"/>
                <a:gd name="T33" fmla="*/ 8599 h 36"/>
                <a:gd name="T34" fmla="*/ 176893 w 84"/>
                <a:gd name="T35" fmla="*/ 8599 h 36"/>
                <a:gd name="T36" fmla="*/ 209550 w 84"/>
                <a:gd name="T37" fmla="*/ 17198 h 36"/>
                <a:gd name="T38" fmla="*/ 228600 w 84"/>
                <a:gd name="T39" fmla="*/ 25797 h 36"/>
                <a:gd name="T40" fmla="*/ 225879 w 84"/>
                <a:gd name="T41" fmla="*/ 31530 h 36"/>
                <a:gd name="T42" fmla="*/ 187779 w 84"/>
                <a:gd name="T43" fmla="*/ 54460 h 36"/>
                <a:gd name="T44" fmla="*/ 157843 w 84"/>
                <a:gd name="T45" fmla="*/ 57327 h 36"/>
                <a:gd name="T46" fmla="*/ 152400 w 84"/>
                <a:gd name="T47" fmla="*/ 77391 h 36"/>
                <a:gd name="T48" fmla="*/ 136071 w 84"/>
                <a:gd name="T49" fmla="*/ 77391 h 36"/>
                <a:gd name="T50" fmla="*/ 127907 w 84"/>
                <a:gd name="T51" fmla="*/ 68792 h 36"/>
                <a:gd name="T52" fmla="*/ 92529 w 84"/>
                <a:gd name="T53" fmla="*/ 94589 h 36"/>
                <a:gd name="T54" fmla="*/ 89807 w 84"/>
                <a:gd name="T55" fmla="*/ 100322 h 36"/>
                <a:gd name="T56" fmla="*/ 89807 w 84"/>
                <a:gd name="T57" fmla="*/ 100322 h 36"/>
                <a:gd name="T58" fmla="*/ 48986 w 84"/>
                <a:gd name="T59" fmla="*/ 100322 h 36"/>
                <a:gd name="T60" fmla="*/ 21771 w 84"/>
                <a:gd name="T61" fmla="*/ 100322 h 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4" h="36">
                  <a:moveTo>
                    <a:pt x="8" y="35"/>
                  </a:moveTo>
                  <a:cubicBezTo>
                    <a:pt x="7" y="35"/>
                    <a:pt x="0" y="36"/>
                    <a:pt x="0" y="35"/>
                  </a:cubicBezTo>
                  <a:cubicBezTo>
                    <a:pt x="0" y="34"/>
                    <a:pt x="0" y="32"/>
                    <a:pt x="1" y="30"/>
                  </a:cubicBezTo>
                  <a:cubicBezTo>
                    <a:pt x="2" y="29"/>
                    <a:pt x="6" y="29"/>
                    <a:pt x="7" y="29"/>
                  </a:cubicBezTo>
                  <a:cubicBezTo>
                    <a:pt x="8" y="29"/>
                    <a:pt x="9" y="28"/>
                    <a:pt x="10" y="27"/>
                  </a:cubicBezTo>
                  <a:cubicBezTo>
                    <a:pt x="16" y="27"/>
                    <a:pt x="16" y="27"/>
                    <a:pt x="16" y="27"/>
                  </a:cubicBezTo>
                  <a:cubicBezTo>
                    <a:pt x="18" y="27"/>
                    <a:pt x="21" y="26"/>
                    <a:pt x="22" y="25"/>
                  </a:cubicBezTo>
                  <a:cubicBezTo>
                    <a:pt x="24" y="24"/>
                    <a:pt x="29" y="24"/>
                    <a:pt x="29" y="22"/>
                  </a:cubicBezTo>
                  <a:cubicBezTo>
                    <a:pt x="29" y="21"/>
                    <a:pt x="24" y="19"/>
                    <a:pt x="22" y="19"/>
                  </a:cubicBezTo>
                  <a:cubicBezTo>
                    <a:pt x="20" y="18"/>
                    <a:pt x="14" y="19"/>
                    <a:pt x="12" y="18"/>
                  </a:cubicBezTo>
                  <a:cubicBezTo>
                    <a:pt x="12" y="17"/>
                    <a:pt x="10" y="16"/>
                    <a:pt x="10" y="16"/>
                  </a:cubicBezTo>
                  <a:cubicBezTo>
                    <a:pt x="14" y="12"/>
                    <a:pt x="14" y="12"/>
                    <a:pt x="14" y="12"/>
                  </a:cubicBezTo>
                  <a:cubicBezTo>
                    <a:pt x="10" y="8"/>
                    <a:pt x="10" y="8"/>
                    <a:pt x="10" y="8"/>
                  </a:cubicBezTo>
                  <a:cubicBezTo>
                    <a:pt x="12" y="6"/>
                    <a:pt x="14" y="3"/>
                    <a:pt x="15" y="3"/>
                  </a:cubicBezTo>
                  <a:cubicBezTo>
                    <a:pt x="16" y="3"/>
                    <a:pt x="30" y="7"/>
                    <a:pt x="31" y="7"/>
                  </a:cubicBezTo>
                  <a:cubicBezTo>
                    <a:pt x="32" y="7"/>
                    <a:pt x="32" y="0"/>
                    <a:pt x="35" y="0"/>
                  </a:cubicBezTo>
                  <a:cubicBezTo>
                    <a:pt x="38" y="0"/>
                    <a:pt x="45" y="3"/>
                    <a:pt x="47" y="3"/>
                  </a:cubicBezTo>
                  <a:cubicBezTo>
                    <a:pt x="48" y="3"/>
                    <a:pt x="61" y="3"/>
                    <a:pt x="65" y="3"/>
                  </a:cubicBezTo>
                  <a:cubicBezTo>
                    <a:pt x="68" y="3"/>
                    <a:pt x="76" y="5"/>
                    <a:pt x="77" y="6"/>
                  </a:cubicBezTo>
                  <a:cubicBezTo>
                    <a:pt x="84" y="9"/>
                    <a:pt x="84" y="9"/>
                    <a:pt x="84" y="9"/>
                  </a:cubicBezTo>
                  <a:cubicBezTo>
                    <a:pt x="84" y="10"/>
                    <a:pt x="84" y="10"/>
                    <a:pt x="83" y="11"/>
                  </a:cubicBezTo>
                  <a:cubicBezTo>
                    <a:pt x="82" y="13"/>
                    <a:pt x="72" y="18"/>
                    <a:pt x="69" y="19"/>
                  </a:cubicBezTo>
                  <a:cubicBezTo>
                    <a:pt x="66" y="20"/>
                    <a:pt x="60" y="20"/>
                    <a:pt x="58" y="20"/>
                  </a:cubicBezTo>
                  <a:cubicBezTo>
                    <a:pt x="56" y="20"/>
                    <a:pt x="58" y="26"/>
                    <a:pt x="56" y="27"/>
                  </a:cubicBezTo>
                  <a:cubicBezTo>
                    <a:pt x="54" y="28"/>
                    <a:pt x="51" y="28"/>
                    <a:pt x="50" y="27"/>
                  </a:cubicBezTo>
                  <a:cubicBezTo>
                    <a:pt x="49" y="27"/>
                    <a:pt x="49" y="24"/>
                    <a:pt x="47" y="24"/>
                  </a:cubicBezTo>
                  <a:cubicBezTo>
                    <a:pt x="45" y="24"/>
                    <a:pt x="36" y="31"/>
                    <a:pt x="34" y="33"/>
                  </a:cubicBezTo>
                  <a:cubicBezTo>
                    <a:pt x="33" y="33"/>
                    <a:pt x="33" y="34"/>
                    <a:pt x="33" y="35"/>
                  </a:cubicBezTo>
                  <a:cubicBezTo>
                    <a:pt x="33" y="35"/>
                    <a:pt x="33" y="35"/>
                    <a:pt x="33" y="35"/>
                  </a:cubicBezTo>
                  <a:cubicBezTo>
                    <a:pt x="18" y="35"/>
                    <a:pt x="18" y="35"/>
                    <a:pt x="18" y="35"/>
                  </a:cubicBezTo>
                  <a:cubicBezTo>
                    <a:pt x="16" y="35"/>
                    <a:pt x="10" y="35"/>
                    <a:pt x="8" y="3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6" name="Freeform 203"/>
            <p:cNvSpPr>
              <a:spLocks/>
            </p:cNvSpPr>
            <p:nvPr>
              <p:custDataLst>
                <p:tags r:id="rId135"/>
              </p:custDataLst>
            </p:nvPr>
          </p:nvSpPr>
          <p:spPr bwMode="auto">
            <a:xfrm>
              <a:off x="3613" y="2141"/>
              <a:ext cx="100" cy="65"/>
            </a:xfrm>
            <a:custGeom>
              <a:avLst/>
              <a:gdLst>
                <a:gd name="T0" fmla="*/ 24216 w 59"/>
                <a:gd name="T1" fmla="*/ 70757 h 35"/>
                <a:gd name="T2" fmla="*/ 5381 w 59"/>
                <a:gd name="T3" fmla="*/ 38327 h 35"/>
                <a:gd name="T4" fmla="*/ 24216 w 59"/>
                <a:gd name="T5" fmla="*/ 26534 h 35"/>
                <a:gd name="T6" fmla="*/ 43051 w 59"/>
                <a:gd name="T7" fmla="*/ 5896 h 35"/>
                <a:gd name="T8" fmla="*/ 61886 w 59"/>
                <a:gd name="T9" fmla="*/ 0 h 35"/>
                <a:gd name="T10" fmla="*/ 69958 w 59"/>
                <a:gd name="T11" fmla="*/ 8845 h 35"/>
                <a:gd name="T12" fmla="*/ 69958 w 59"/>
                <a:gd name="T13" fmla="*/ 14741 h 35"/>
                <a:gd name="T14" fmla="*/ 61886 w 59"/>
                <a:gd name="T15" fmla="*/ 20638 h 35"/>
                <a:gd name="T16" fmla="*/ 45742 w 59"/>
                <a:gd name="T17" fmla="*/ 23586 h 35"/>
                <a:gd name="T18" fmla="*/ 43051 w 59"/>
                <a:gd name="T19" fmla="*/ 38327 h 35"/>
                <a:gd name="T20" fmla="*/ 64576 w 59"/>
                <a:gd name="T21" fmla="*/ 38327 h 35"/>
                <a:gd name="T22" fmla="*/ 91483 w 59"/>
                <a:gd name="T23" fmla="*/ 38327 h 35"/>
                <a:gd name="T24" fmla="*/ 131843 w 59"/>
                <a:gd name="T25" fmla="*/ 38327 h 35"/>
                <a:gd name="T26" fmla="*/ 131843 w 59"/>
                <a:gd name="T27" fmla="*/ 38327 h 35"/>
                <a:gd name="T28" fmla="*/ 137225 w 59"/>
                <a:gd name="T29" fmla="*/ 58965 h 35"/>
                <a:gd name="T30" fmla="*/ 156059 w 59"/>
                <a:gd name="T31" fmla="*/ 64861 h 35"/>
                <a:gd name="T32" fmla="*/ 158750 w 59"/>
                <a:gd name="T33" fmla="*/ 88447 h 35"/>
                <a:gd name="T34" fmla="*/ 142606 w 59"/>
                <a:gd name="T35" fmla="*/ 88447 h 35"/>
                <a:gd name="T36" fmla="*/ 115699 w 59"/>
                <a:gd name="T37" fmla="*/ 91395 h 35"/>
                <a:gd name="T38" fmla="*/ 91483 w 59"/>
                <a:gd name="T39" fmla="*/ 100240 h 35"/>
                <a:gd name="T40" fmla="*/ 88792 w 59"/>
                <a:gd name="T41" fmla="*/ 73706 h 35"/>
                <a:gd name="T42" fmla="*/ 72648 w 59"/>
                <a:gd name="T43" fmla="*/ 61913 h 35"/>
                <a:gd name="T44" fmla="*/ 59195 w 59"/>
                <a:gd name="T45" fmla="*/ 85499 h 35"/>
                <a:gd name="T46" fmla="*/ 21525 w 59"/>
                <a:gd name="T47" fmla="*/ 103188 h 35"/>
                <a:gd name="T48" fmla="*/ 5381 w 59"/>
                <a:gd name="T49" fmla="*/ 94343 h 35"/>
                <a:gd name="T50" fmla="*/ 16144 w 59"/>
                <a:gd name="T51" fmla="*/ 79602 h 35"/>
                <a:gd name="T52" fmla="*/ 24216 w 59"/>
                <a:gd name="T53" fmla="*/ 70757 h 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 h="35">
                  <a:moveTo>
                    <a:pt x="9" y="24"/>
                  </a:moveTo>
                  <a:cubicBezTo>
                    <a:pt x="8" y="22"/>
                    <a:pt x="0" y="15"/>
                    <a:pt x="2" y="13"/>
                  </a:cubicBezTo>
                  <a:cubicBezTo>
                    <a:pt x="3" y="11"/>
                    <a:pt x="8" y="11"/>
                    <a:pt x="9" y="9"/>
                  </a:cubicBezTo>
                  <a:cubicBezTo>
                    <a:pt x="10" y="8"/>
                    <a:pt x="15" y="3"/>
                    <a:pt x="16" y="2"/>
                  </a:cubicBezTo>
                  <a:cubicBezTo>
                    <a:pt x="18" y="2"/>
                    <a:pt x="23" y="0"/>
                    <a:pt x="23" y="0"/>
                  </a:cubicBezTo>
                  <a:cubicBezTo>
                    <a:pt x="23" y="0"/>
                    <a:pt x="26" y="2"/>
                    <a:pt x="26" y="3"/>
                  </a:cubicBezTo>
                  <a:cubicBezTo>
                    <a:pt x="26" y="4"/>
                    <a:pt x="26" y="4"/>
                    <a:pt x="26" y="5"/>
                  </a:cubicBezTo>
                  <a:cubicBezTo>
                    <a:pt x="25" y="6"/>
                    <a:pt x="24" y="7"/>
                    <a:pt x="23" y="7"/>
                  </a:cubicBezTo>
                  <a:cubicBezTo>
                    <a:pt x="22" y="7"/>
                    <a:pt x="18" y="7"/>
                    <a:pt x="17" y="8"/>
                  </a:cubicBezTo>
                  <a:cubicBezTo>
                    <a:pt x="16" y="10"/>
                    <a:pt x="16" y="12"/>
                    <a:pt x="16" y="13"/>
                  </a:cubicBezTo>
                  <a:cubicBezTo>
                    <a:pt x="16" y="14"/>
                    <a:pt x="23" y="13"/>
                    <a:pt x="24" y="13"/>
                  </a:cubicBezTo>
                  <a:cubicBezTo>
                    <a:pt x="26" y="13"/>
                    <a:pt x="32" y="13"/>
                    <a:pt x="34" y="13"/>
                  </a:cubicBezTo>
                  <a:cubicBezTo>
                    <a:pt x="49" y="13"/>
                    <a:pt x="49" y="13"/>
                    <a:pt x="49" y="13"/>
                  </a:cubicBezTo>
                  <a:cubicBezTo>
                    <a:pt x="49" y="13"/>
                    <a:pt x="49" y="13"/>
                    <a:pt x="49" y="13"/>
                  </a:cubicBezTo>
                  <a:cubicBezTo>
                    <a:pt x="48" y="16"/>
                    <a:pt x="49" y="19"/>
                    <a:pt x="51" y="20"/>
                  </a:cubicBezTo>
                  <a:cubicBezTo>
                    <a:pt x="53" y="21"/>
                    <a:pt x="56" y="21"/>
                    <a:pt x="58" y="22"/>
                  </a:cubicBezTo>
                  <a:cubicBezTo>
                    <a:pt x="59" y="22"/>
                    <a:pt x="59" y="26"/>
                    <a:pt x="59" y="30"/>
                  </a:cubicBezTo>
                  <a:cubicBezTo>
                    <a:pt x="53" y="30"/>
                    <a:pt x="53" y="30"/>
                    <a:pt x="53" y="30"/>
                  </a:cubicBezTo>
                  <a:cubicBezTo>
                    <a:pt x="53" y="30"/>
                    <a:pt x="45" y="30"/>
                    <a:pt x="43" y="31"/>
                  </a:cubicBezTo>
                  <a:cubicBezTo>
                    <a:pt x="41" y="32"/>
                    <a:pt x="36" y="34"/>
                    <a:pt x="34" y="34"/>
                  </a:cubicBezTo>
                  <a:cubicBezTo>
                    <a:pt x="32" y="35"/>
                    <a:pt x="34" y="25"/>
                    <a:pt x="33" y="25"/>
                  </a:cubicBezTo>
                  <a:cubicBezTo>
                    <a:pt x="33" y="24"/>
                    <a:pt x="29" y="20"/>
                    <a:pt x="27" y="21"/>
                  </a:cubicBezTo>
                  <a:cubicBezTo>
                    <a:pt x="26" y="22"/>
                    <a:pt x="23" y="27"/>
                    <a:pt x="22" y="29"/>
                  </a:cubicBezTo>
                  <a:cubicBezTo>
                    <a:pt x="21" y="30"/>
                    <a:pt x="10" y="34"/>
                    <a:pt x="8" y="35"/>
                  </a:cubicBezTo>
                  <a:cubicBezTo>
                    <a:pt x="7" y="35"/>
                    <a:pt x="4" y="32"/>
                    <a:pt x="2" y="32"/>
                  </a:cubicBezTo>
                  <a:cubicBezTo>
                    <a:pt x="6" y="27"/>
                    <a:pt x="6" y="27"/>
                    <a:pt x="6" y="27"/>
                  </a:cubicBezTo>
                  <a:cubicBezTo>
                    <a:pt x="7" y="26"/>
                    <a:pt x="9" y="26"/>
                    <a:pt x="9" y="2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7" name="Freeform 204"/>
            <p:cNvSpPr>
              <a:spLocks/>
            </p:cNvSpPr>
            <p:nvPr>
              <p:custDataLst>
                <p:tags r:id="rId136"/>
              </p:custDataLst>
            </p:nvPr>
          </p:nvSpPr>
          <p:spPr bwMode="auto">
            <a:xfrm>
              <a:off x="3465" y="2061"/>
              <a:ext cx="224" cy="139"/>
            </a:xfrm>
            <a:custGeom>
              <a:avLst/>
              <a:gdLst>
                <a:gd name="T0" fmla="*/ 21716 w 131"/>
                <a:gd name="T1" fmla="*/ 116138 h 76"/>
                <a:gd name="T2" fmla="*/ 0 w 131"/>
                <a:gd name="T3" fmla="*/ 116138 h 76"/>
                <a:gd name="T4" fmla="*/ 0 w 131"/>
                <a:gd name="T5" fmla="*/ 14517 h 76"/>
                <a:gd name="T6" fmla="*/ 54290 w 131"/>
                <a:gd name="T7" fmla="*/ 0 h 76"/>
                <a:gd name="T8" fmla="*/ 48861 w 131"/>
                <a:gd name="T9" fmla="*/ 17421 h 76"/>
                <a:gd name="T10" fmla="*/ 57005 w 131"/>
                <a:gd name="T11" fmla="*/ 40648 h 76"/>
                <a:gd name="T12" fmla="*/ 78721 w 131"/>
                <a:gd name="T13" fmla="*/ 46455 h 76"/>
                <a:gd name="T14" fmla="*/ 97722 w 131"/>
                <a:gd name="T15" fmla="*/ 31938 h 76"/>
                <a:gd name="T16" fmla="*/ 111295 w 131"/>
                <a:gd name="T17" fmla="*/ 40648 h 76"/>
                <a:gd name="T18" fmla="*/ 124867 w 131"/>
                <a:gd name="T19" fmla="*/ 58069 h 76"/>
                <a:gd name="T20" fmla="*/ 190015 w 131"/>
                <a:gd name="T21" fmla="*/ 49359 h 76"/>
                <a:gd name="T22" fmla="*/ 209017 w 131"/>
                <a:gd name="T23" fmla="*/ 95814 h 76"/>
                <a:gd name="T24" fmla="*/ 222589 w 131"/>
                <a:gd name="T25" fmla="*/ 101621 h 76"/>
                <a:gd name="T26" fmla="*/ 222589 w 131"/>
                <a:gd name="T27" fmla="*/ 119042 h 76"/>
                <a:gd name="T28" fmla="*/ 260592 w 131"/>
                <a:gd name="T29" fmla="*/ 121945 h 76"/>
                <a:gd name="T30" fmla="*/ 298595 w 131"/>
                <a:gd name="T31" fmla="*/ 92911 h 76"/>
                <a:gd name="T32" fmla="*/ 304024 w 131"/>
                <a:gd name="T33" fmla="*/ 87104 h 76"/>
                <a:gd name="T34" fmla="*/ 314882 w 131"/>
                <a:gd name="T35" fmla="*/ 98718 h 76"/>
                <a:gd name="T36" fmla="*/ 304024 w 131"/>
                <a:gd name="T37" fmla="*/ 110332 h 76"/>
                <a:gd name="T38" fmla="*/ 309453 w 131"/>
                <a:gd name="T39" fmla="*/ 116138 h 76"/>
                <a:gd name="T40" fmla="*/ 336598 w 131"/>
                <a:gd name="T41" fmla="*/ 119042 h 76"/>
                <a:gd name="T42" fmla="*/ 355600 w 131"/>
                <a:gd name="T43" fmla="*/ 127752 h 76"/>
                <a:gd name="T44" fmla="*/ 336598 w 131"/>
                <a:gd name="T45" fmla="*/ 136463 h 76"/>
                <a:gd name="T46" fmla="*/ 320311 w 131"/>
                <a:gd name="T47" fmla="*/ 142270 h 76"/>
                <a:gd name="T48" fmla="*/ 304024 w 131"/>
                <a:gd name="T49" fmla="*/ 142270 h 76"/>
                <a:gd name="T50" fmla="*/ 304024 w 131"/>
                <a:gd name="T51" fmla="*/ 136463 h 76"/>
                <a:gd name="T52" fmla="*/ 295881 w 131"/>
                <a:gd name="T53" fmla="*/ 127752 h 76"/>
                <a:gd name="T54" fmla="*/ 276879 w 131"/>
                <a:gd name="T55" fmla="*/ 133559 h 76"/>
                <a:gd name="T56" fmla="*/ 257878 w 131"/>
                <a:gd name="T57" fmla="*/ 153883 h 76"/>
                <a:gd name="T58" fmla="*/ 238876 w 131"/>
                <a:gd name="T59" fmla="*/ 165497 h 76"/>
                <a:gd name="T60" fmla="*/ 257878 w 131"/>
                <a:gd name="T61" fmla="*/ 197435 h 76"/>
                <a:gd name="T62" fmla="*/ 249734 w 131"/>
                <a:gd name="T63" fmla="*/ 206146 h 76"/>
                <a:gd name="T64" fmla="*/ 238876 w 131"/>
                <a:gd name="T65" fmla="*/ 220663 h 76"/>
                <a:gd name="T66" fmla="*/ 217160 w 131"/>
                <a:gd name="T67" fmla="*/ 220663 h 76"/>
                <a:gd name="T68" fmla="*/ 219875 w 131"/>
                <a:gd name="T69" fmla="*/ 203242 h 76"/>
                <a:gd name="T70" fmla="*/ 135725 w 131"/>
                <a:gd name="T71" fmla="*/ 150980 h 76"/>
                <a:gd name="T72" fmla="*/ 119438 w 131"/>
                <a:gd name="T73" fmla="*/ 119042 h 76"/>
                <a:gd name="T74" fmla="*/ 86864 w 131"/>
                <a:gd name="T75" fmla="*/ 116138 h 76"/>
                <a:gd name="T76" fmla="*/ 81435 w 131"/>
                <a:gd name="T77" fmla="*/ 92911 h 76"/>
                <a:gd name="T78" fmla="*/ 54290 w 131"/>
                <a:gd name="T79" fmla="*/ 78393 h 76"/>
                <a:gd name="T80" fmla="*/ 29860 w 131"/>
                <a:gd name="T81" fmla="*/ 90007 h 76"/>
                <a:gd name="T82" fmla="*/ 21716 w 131"/>
                <a:gd name="T83" fmla="*/ 116138 h 7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31" h="76">
                  <a:moveTo>
                    <a:pt x="8" y="40"/>
                  </a:moveTo>
                  <a:cubicBezTo>
                    <a:pt x="7" y="40"/>
                    <a:pt x="3" y="40"/>
                    <a:pt x="0" y="40"/>
                  </a:cubicBezTo>
                  <a:cubicBezTo>
                    <a:pt x="0" y="5"/>
                    <a:pt x="0" y="5"/>
                    <a:pt x="0" y="5"/>
                  </a:cubicBezTo>
                  <a:cubicBezTo>
                    <a:pt x="20" y="0"/>
                    <a:pt x="20" y="0"/>
                    <a:pt x="20" y="0"/>
                  </a:cubicBezTo>
                  <a:cubicBezTo>
                    <a:pt x="19" y="2"/>
                    <a:pt x="19" y="4"/>
                    <a:pt x="18" y="6"/>
                  </a:cubicBezTo>
                  <a:cubicBezTo>
                    <a:pt x="16" y="10"/>
                    <a:pt x="19" y="13"/>
                    <a:pt x="21" y="14"/>
                  </a:cubicBezTo>
                  <a:cubicBezTo>
                    <a:pt x="21" y="14"/>
                    <a:pt x="26" y="16"/>
                    <a:pt x="29" y="16"/>
                  </a:cubicBezTo>
                  <a:cubicBezTo>
                    <a:pt x="31" y="16"/>
                    <a:pt x="33" y="14"/>
                    <a:pt x="36" y="11"/>
                  </a:cubicBezTo>
                  <a:cubicBezTo>
                    <a:pt x="41" y="14"/>
                    <a:pt x="41" y="14"/>
                    <a:pt x="41" y="14"/>
                  </a:cubicBezTo>
                  <a:cubicBezTo>
                    <a:pt x="41" y="14"/>
                    <a:pt x="45" y="20"/>
                    <a:pt x="46" y="20"/>
                  </a:cubicBezTo>
                  <a:cubicBezTo>
                    <a:pt x="47" y="20"/>
                    <a:pt x="69" y="17"/>
                    <a:pt x="70" y="17"/>
                  </a:cubicBezTo>
                  <a:cubicBezTo>
                    <a:pt x="71" y="18"/>
                    <a:pt x="77" y="32"/>
                    <a:pt x="77" y="33"/>
                  </a:cubicBezTo>
                  <a:cubicBezTo>
                    <a:pt x="76" y="34"/>
                    <a:pt x="81" y="35"/>
                    <a:pt x="82" y="35"/>
                  </a:cubicBezTo>
                  <a:cubicBezTo>
                    <a:pt x="82" y="35"/>
                    <a:pt x="81" y="41"/>
                    <a:pt x="82" y="41"/>
                  </a:cubicBezTo>
                  <a:cubicBezTo>
                    <a:pt x="83" y="41"/>
                    <a:pt x="95" y="42"/>
                    <a:pt x="96" y="42"/>
                  </a:cubicBezTo>
                  <a:cubicBezTo>
                    <a:pt x="97" y="42"/>
                    <a:pt x="108" y="33"/>
                    <a:pt x="110" y="32"/>
                  </a:cubicBezTo>
                  <a:cubicBezTo>
                    <a:pt x="111" y="31"/>
                    <a:pt x="111" y="31"/>
                    <a:pt x="112" y="30"/>
                  </a:cubicBezTo>
                  <a:cubicBezTo>
                    <a:pt x="116" y="34"/>
                    <a:pt x="116" y="34"/>
                    <a:pt x="116" y="34"/>
                  </a:cubicBezTo>
                  <a:cubicBezTo>
                    <a:pt x="112" y="38"/>
                    <a:pt x="112" y="38"/>
                    <a:pt x="112" y="38"/>
                  </a:cubicBezTo>
                  <a:cubicBezTo>
                    <a:pt x="112" y="38"/>
                    <a:pt x="114" y="39"/>
                    <a:pt x="114" y="40"/>
                  </a:cubicBezTo>
                  <a:cubicBezTo>
                    <a:pt x="116" y="41"/>
                    <a:pt x="122" y="40"/>
                    <a:pt x="124" y="41"/>
                  </a:cubicBezTo>
                  <a:cubicBezTo>
                    <a:pt x="126" y="41"/>
                    <a:pt x="131" y="43"/>
                    <a:pt x="131" y="44"/>
                  </a:cubicBezTo>
                  <a:cubicBezTo>
                    <a:pt x="131" y="46"/>
                    <a:pt x="126" y="46"/>
                    <a:pt x="124" y="47"/>
                  </a:cubicBezTo>
                  <a:cubicBezTo>
                    <a:pt x="123" y="48"/>
                    <a:pt x="120" y="49"/>
                    <a:pt x="118" y="49"/>
                  </a:cubicBezTo>
                  <a:cubicBezTo>
                    <a:pt x="112" y="49"/>
                    <a:pt x="112" y="49"/>
                    <a:pt x="112" y="49"/>
                  </a:cubicBezTo>
                  <a:cubicBezTo>
                    <a:pt x="112" y="48"/>
                    <a:pt x="112" y="48"/>
                    <a:pt x="112" y="47"/>
                  </a:cubicBezTo>
                  <a:cubicBezTo>
                    <a:pt x="112" y="46"/>
                    <a:pt x="109" y="44"/>
                    <a:pt x="109" y="44"/>
                  </a:cubicBezTo>
                  <a:cubicBezTo>
                    <a:pt x="109" y="44"/>
                    <a:pt x="104" y="46"/>
                    <a:pt x="102" y="46"/>
                  </a:cubicBezTo>
                  <a:cubicBezTo>
                    <a:pt x="101" y="47"/>
                    <a:pt x="96" y="52"/>
                    <a:pt x="95" y="53"/>
                  </a:cubicBezTo>
                  <a:cubicBezTo>
                    <a:pt x="94" y="55"/>
                    <a:pt x="89" y="55"/>
                    <a:pt x="88" y="57"/>
                  </a:cubicBezTo>
                  <a:cubicBezTo>
                    <a:pt x="86" y="59"/>
                    <a:pt x="94" y="66"/>
                    <a:pt x="95" y="68"/>
                  </a:cubicBezTo>
                  <a:cubicBezTo>
                    <a:pt x="95" y="70"/>
                    <a:pt x="93" y="70"/>
                    <a:pt x="92" y="71"/>
                  </a:cubicBezTo>
                  <a:cubicBezTo>
                    <a:pt x="88" y="76"/>
                    <a:pt x="88" y="76"/>
                    <a:pt x="88" y="76"/>
                  </a:cubicBezTo>
                  <a:cubicBezTo>
                    <a:pt x="88" y="76"/>
                    <a:pt x="84" y="76"/>
                    <a:pt x="80" y="76"/>
                  </a:cubicBezTo>
                  <a:cubicBezTo>
                    <a:pt x="81" y="70"/>
                    <a:pt x="81" y="70"/>
                    <a:pt x="81" y="70"/>
                  </a:cubicBezTo>
                  <a:cubicBezTo>
                    <a:pt x="80" y="69"/>
                    <a:pt x="51" y="52"/>
                    <a:pt x="50" y="52"/>
                  </a:cubicBezTo>
                  <a:cubicBezTo>
                    <a:pt x="48" y="51"/>
                    <a:pt x="46" y="42"/>
                    <a:pt x="44" y="41"/>
                  </a:cubicBezTo>
                  <a:cubicBezTo>
                    <a:pt x="42" y="40"/>
                    <a:pt x="34" y="40"/>
                    <a:pt x="32" y="40"/>
                  </a:cubicBezTo>
                  <a:cubicBezTo>
                    <a:pt x="31" y="39"/>
                    <a:pt x="31" y="32"/>
                    <a:pt x="30" y="32"/>
                  </a:cubicBezTo>
                  <a:cubicBezTo>
                    <a:pt x="29" y="31"/>
                    <a:pt x="22" y="27"/>
                    <a:pt x="20" y="27"/>
                  </a:cubicBezTo>
                  <a:cubicBezTo>
                    <a:pt x="19" y="27"/>
                    <a:pt x="15" y="30"/>
                    <a:pt x="11" y="31"/>
                  </a:cubicBezTo>
                  <a:cubicBezTo>
                    <a:pt x="7" y="32"/>
                    <a:pt x="9" y="40"/>
                    <a:pt x="8" y="4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8" name="Freeform 205"/>
            <p:cNvSpPr>
              <a:spLocks/>
            </p:cNvSpPr>
            <p:nvPr>
              <p:custDataLst>
                <p:tags r:id="rId137"/>
              </p:custDataLst>
            </p:nvPr>
          </p:nvSpPr>
          <p:spPr bwMode="auto">
            <a:xfrm>
              <a:off x="3418" y="2110"/>
              <a:ext cx="185" cy="123"/>
            </a:xfrm>
            <a:custGeom>
              <a:avLst/>
              <a:gdLst>
                <a:gd name="T0" fmla="*/ 16316 w 108"/>
                <a:gd name="T1" fmla="*/ 14572 h 67"/>
                <a:gd name="T2" fmla="*/ 43509 w 108"/>
                <a:gd name="T3" fmla="*/ 14572 h 67"/>
                <a:gd name="T4" fmla="*/ 62545 w 108"/>
                <a:gd name="T5" fmla="*/ 37887 h 67"/>
                <a:gd name="T6" fmla="*/ 73422 w 108"/>
                <a:gd name="T7" fmla="*/ 37887 h 67"/>
                <a:gd name="T8" fmla="*/ 95177 w 108"/>
                <a:gd name="T9" fmla="*/ 37887 h 67"/>
                <a:gd name="T10" fmla="*/ 103335 w 108"/>
                <a:gd name="T11" fmla="*/ 11657 h 67"/>
                <a:gd name="T12" fmla="*/ 127809 w 108"/>
                <a:gd name="T13" fmla="*/ 0 h 67"/>
                <a:gd name="T14" fmla="*/ 155002 w 108"/>
                <a:gd name="T15" fmla="*/ 14572 h 67"/>
                <a:gd name="T16" fmla="*/ 160441 w 108"/>
                <a:gd name="T17" fmla="*/ 37887 h 67"/>
                <a:gd name="T18" fmla="*/ 193073 w 108"/>
                <a:gd name="T19" fmla="*/ 40801 h 67"/>
                <a:gd name="T20" fmla="*/ 209389 w 108"/>
                <a:gd name="T21" fmla="*/ 72859 h 67"/>
                <a:gd name="T22" fmla="*/ 293688 w 108"/>
                <a:gd name="T23" fmla="*/ 125318 h 67"/>
                <a:gd name="T24" fmla="*/ 290969 w 108"/>
                <a:gd name="T25" fmla="*/ 142804 h 67"/>
                <a:gd name="T26" fmla="*/ 258337 w 108"/>
                <a:gd name="T27" fmla="*/ 145719 h 67"/>
                <a:gd name="T28" fmla="*/ 244740 w 108"/>
                <a:gd name="T29" fmla="*/ 171948 h 67"/>
                <a:gd name="T30" fmla="*/ 217547 w 108"/>
                <a:gd name="T31" fmla="*/ 192349 h 67"/>
                <a:gd name="T32" fmla="*/ 198511 w 108"/>
                <a:gd name="T33" fmla="*/ 189434 h 67"/>
                <a:gd name="T34" fmla="*/ 182195 w 108"/>
                <a:gd name="T35" fmla="*/ 186520 h 67"/>
                <a:gd name="T36" fmla="*/ 182195 w 108"/>
                <a:gd name="T37" fmla="*/ 160291 h 67"/>
                <a:gd name="T38" fmla="*/ 160441 w 108"/>
                <a:gd name="T39" fmla="*/ 157376 h 67"/>
                <a:gd name="T40" fmla="*/ 135967 w 108"/>
                <a:gd name="T41" fmla="*/ 136976 h 67"/>
                <a:gd name="T42" fmla="*/ 100615 w 108"/>
                <a:gd name="T43" fmla="*/ 122404 h 67"/>
                <a:gd name="T44" fmla="*/ 67983 w 108"/>
                <a:gd name="T45" fmla="*/ 122404 h 67"/>
                <a:gd name="T46" fmla="*/ 46229 w 108"/>
                <a:gd name="T47" fmla="*/ 139890 h 67"/>
                <a:gd name="T48" fmla="*/ 29913 w 108"/>
                <a:gd name="T49" fmla="*/ 139890 h 67"/>
                <a:gd name="T50" fmla="*/ 29913 w 108"/>
                <a:gd name="T51" fmla="*/ 99089 h 67"/>
                <a:gd name="T52" fmla="*/ 8158 w 108"/>
                <a:gd name="T53" fmla="*/ 72859 h 67"/>
                <a:gd name="T54" fmla="*/ 8158 w 108"/>
                <a:gd name="T55" fmla="*/ 43716 h 67"/>
                <a:gd name="T56" fmla="*/ 0 w 108"/>
                <a:gd name="T57" fmla="*/ 23315 h 67"/>
                <a:gd name="T58" fmla="*/ 16316 w 108"/>
                <a:gd name="T59" fmla="*/ 14572 h 6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08" h="67">
                  <a:moveTo>
                    <a:pt x="6" y="5"/>
                  </a:moveTo>
                  <a:cubicBezTo>
                    <a:pt x="8" y="4"/>
                    <a:pt x="13" y="3"/>
                    <a:pt x="16" y="5"/>
                  </a:cubicBezTo>
                  <a:cubicBezTo>
                    <a:pt x="18" y="7"/>
                    <a:pt x="22" y="12"/>
                    <a:pt x="23" y="13"/>
                  </a:cubicBezTo>
                  <a:cubicBezTo>
                    <a:pt x="24" y="13"/>
                    <a:pt x="25" y="13"/>
                    <a:pt x="27" y="13"/>
                  </a:cubicBezTo>
                  <a:cubicBezTo>
                    <a:pt x="30" y="13"/>
                    <a:pt x="34" y="13"/>
                    <a:pt x="35" y="13"/>
                  </a:cubicBezTo>
                  <a:cubicBezTo>
                    <a:pt x="36" y="13"/>
                    <a:pt x="34" y="5"/>
                    <a:pt x="38" y="4"/>
                  </a:cubicBezTo>
                  <a:cubicBezTo>
                    <a:pt x="42" y="3"/>
                    <a:pt x="46" y="0"/>
                    <a:pt x="47" y="0"/>
                  </a:cubicBezTo>
                  <a:cubicBezTo>
                    <a:pt x="49" y="0"/>
                    <a:pt x="56" y="4"/>
                    <a:pt x="57" y="5"/>
                  </a:cubicBezTo>
                  <a:cubicBezTo>
                    <a:pt x="58" y="5"/>
                    <a:pt x="58" y="12"/>
                    <a:pt x="59" y="13"/>
                  </a:cubicBezTo>
                  <a:cubicBezTo>
                    <a:pt x="61" y="13"/>
                    <a:pt x="69" y="13"/>
                    <a:pt x="71" y="14"/>
                  </a:cubicBezTo>
                  <a:cubicBezTo>
                    <a:pt x="73" y="15"/>
                    <a:pt x="75" y="24"/>
                    <a:pt x="77" y="25"/>
                  </a:cubicBezTo>
                  <a:cubicBezTo>
                    <a:pt x="78" y="25"/>
                    <a:pt x="107" y="42"/>
                    <a:pt x="108" y="43"/>
                  </a:cubicBezTo>
                  <a:cubicBezTo>
                    <a:pt x="107" y="49"/>
                    <a:pt x="107" y="49"/>
                    <a:pt x="107" y="49"/>
                  </a:cubicBezTo>
                  <a:cubicBezTo>
                    <a:pt x="102" y="49"/>
                    <a:pt x="96" y="49"/>
                    <a:pt x="95" y="50"/>
                  </a:cubicBezTo>
                  <a:cubicBezTo>
                    <a:pt x="92" y="51"/>
                    <a:pt x="92" y="58"/>
                    <a:pt x="90" y="59"/>
                  </a:cubicBezTo>
                  <a:cubicBezTo>
                    <a:pt x="88" y="60"/>
                    <a:pt x="83" y="64"/>
                    <a:pt x="80" y="66"/>
                  </a:cubicBezTo>
                  <a:cubicBezTo>
                    <a:pt x="77" y="67"/>
                    <a:pt x="75" y="65"/>
                    <a:pt x="73" y="65"/>
                  </a:cubicBezTo>
                  <a:cubicBezTo>
                    <a:pt x="67" y="64"/>
                    <a:pt x="67" y="64"/>
                    <a:pt x="67" y="64"/>
                  </a:cubicBezTo>
                  <a:cubicBezTo>
                    <a:pt x="67" y="59"/>
                    <a:pt x="67" y="55"/>
                    <a:pt x="67" y="55"/>
                  </a:cubicBezTo>
                  <a:cubicBezTo>
                    <a:pt x="65" y="55"/>
                    <a:pt x="61" y="55"/>
                    <a:pt x="59" y="54"/>
                  </a:cubicBezTo>
                  <a:cubicBezTo>
                    <a:pt x="58" y="53"/>
                    <a:pt x="52" y="47"/>
                    <a:pt x="50" y="47"/>
                  </a:cubicBezTo>
                  <a:cubicBezTo>
                    <a:pt x="48" y="46"/>
                    <a:pt x="41" y="43"/>
                    <a:pt x="37" y="42"/>
                  </a:cubicBezTo>
                  <a:cubicBezTo>
                    <a:pt x="34" y="41"/>
                    <a:pt x="28" y="42"/>
                    <a:pt x="25" y="42"/>
                  </a:cubicBezTo>
                  <a:cubicBezTo>
                    <a:pt x="21" y="42"/>
                    <a:pt x="18" y="47"/>
                    <a:pt x="17" y="48"/>
                  </a:cubicBezTo>
                  <a:cubicBezTo>
                    <a:pt x="17" y="48"/>
                    <a:pt x="15" y="48"/>
                    <a:pt x="11" y="48"/>
                  </a:cubicBezTo>
                  <a:cubicBezTo>
                    <a:pt x="11" y="43"/>
                    <a:pt x="11" y="35"/>
                    <a:pt x="11" y="34"/>
                  </a:cubicBezTo>
                  <a:cubicBezTo>
                    <a:pt x="11" y="32"/>
                    <a:pt x="3" y="27"/>
                    <a:pt x="3" y="25"/>
                  </a:cubicBezTo>
                  <a:cubicBezTo>
                    <a:pt x="1" y="22"/>
                    <a:pt x="3" y="17"/>
                    <a:pt x="3" y="15"/>
                  </a:cubicBezTo>
                  <a:cubicBezTo>
                    <a:pt x="3" y="13"/>
                    <a:pt x="1" y="10"/>
                    <a:pt x="0" y="8"/>
                  </a:cubicBezTo>
                  <a:lnTo>
                    <a:pt x="6" y="5"/>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69" name="Freeform 206"/>
            <p:cNvSpPr>
              <a:spLocks/>
            </p:cNvSpPr>
            <p:nvPr>
              <p:custDataLst>
                <p:tags r:id="rId138"/>
              </p:custDataLst>
            </p:nvPr>
          </p:nvSpPr>
          <p:spPr bwMode="auto">
            <a:xfrm>
              <a:off x="3339" y="1881"/>
              <a:ext cx="536" cy="256"/>
            </a:xfrm>
            <a:custGeom>
              <a:avLst/>
              <a:gdLst>
                <a:gd name="T0" fmla="*/ 8182 w 312"/>
                <a:gd name="T1" fmla="*/ 165463 h 140"/>
                <a:gd name="T2" fmla="*/ 40909 w 312"/>
                <a:gd name="T3" fmla="*/ 168366 h 140"/>
                <a:gd name="T4" fmla="*/ 51818 w 312"/>
                <a:gd name="T5" fmla="*/ 139337 h 140"/>
                <a:gd name="T6" fmla="*/ 144544 w 312"/>
                <a:gd name="T7" fmla="*/ 116114 h 140"/>
                <a:gd name="T8" fmla="*/ 196362 w 312"/>
                <a:gd name="T9" fmla="*/ 145143 h 140"/>
                <a:gd name="T10" fmla="*/ 245452 w 312"/>
                <a:gd name="T11" fmla="*/ 127726 h 140"/>
                <a:gd name="T12" fmla="*/ 286361 w 312"/>
                <a:gd name="T13" fmla="*/ 139337 h 140"/>
                <a:gd name="T14" fmla="*/ 316360 w 312"/>
                <a:gd name="T15" fmla="*/ 119017 h 140"/>
                <a:gd name="T16" fmla="*/ 305451 w 312"/>
                <a:gd name="T17" fmla="*/ 89989 h 140"/>
                <a:gd name="T18" fmla="*/ 310906 w 312"/>
                <a:gd name="T19" fmla="*/ 43543 h 140"/>
                <a:gd name="T20" fmla="*/ 411814 w 312"/>
                <a:gd name="T21" fmla="*/ 23223 h 140"/>
                <a:gd name="T22" fmla="*/ 474540 w 312"/>
                <a:gd name="T23" fmla="*/ 0 h 140"/>
                <a:gd name="T24" fmla="*/ 515449 w 312"/>
                <a:gd name="T25" fmla="*/ 34834 h 140"/>
                <a:gd name="T26" fmla="*/ 564539 w 312"/>
                <a:gd name="T27" fmla="*/ 58057 h 140"/>
                <a:gd name="T28" fmla="*/ 629993 w 312"/>
                <a:gd name="T29" fmla="*/ 31931 h 140"/>
                <a:gd name="T30" fmla="*/ 698174 w 312"/>
                <a:gd name="T31" fmla="*/ 133531 h 140"/>
                <a:gd name="T32" fmla="*/ 739083 w 312"/>
                <a:gd name="T33" fmla="*/ 133531 h 140"/>
                <a:gd name="T34" fmla="*/ 801810 w 312"/>
                <a:gd name="T35" fmla="*/ 165463 h 140"/>
                <a:gd name="T36" fmla="*/ 839991 w 312"/>
                <a:gd name="T37" fmla="*/ 171269 h 140"/>
                <a:gd name="T38" fmla="*/ 834537 w 312"/>
                <a:gd name="T39" fmla="*/ 200297 h 140"/>
                <a:gd name="T40" fmla="*/ 812719 w 312"/>
                <a:gd name="T41" fmla="*/ 243840 h 140"/>
                <a:gd name="T42" fmla="*/ 744538 w 312"/>
                <a:gd name="T43" fmla="*/ 287383 h 140"/>
                <a:gd name="T44" fmla="*/ 711811 w 312"/>
                <a:gd name="T45" fmla="*/ 345440 h 140"/>
                <a:gd name="T46" fmla="*/ 687265 w 312"/>
                <a:gd name="T47" fmla="*/ 365760 h 140"/>
                <a:gd name="T48" fmla="*/ 605448 w 312"/>
                <a:gd name="T49" fmla="*/ 357051 h 140"/>
                <a:gd name="T50" fmla="*/ 561812 w 312"/>
                <a:gd name="T51" fmla="*/ 368663 h 140"/>
                <a:gd name="T52" fmla="*/ 504540 w 312"/>
                <a:gd name="T53" fmla="*/ 371566 h 140"/>
                <a:gd name="T54" fmla="*/ 460904 w 312"/>
                <a:gd name="T55" fmla="*/ 406400 h 140"/>
                <a:gd name="T56" fmla="*/ 422723 w 312"/>
                <a:gd name="T57" fmla="*/ 386080 h 140"/>
                <a:gd name="T58" fmla="*/ 389996 w 312"/>
                <a:gd name="T59" fmla="*/ 333829 h 140"/>
                <a:gd name="T60" fmla="*/ 310906 w 312"/>
                <a:gd name="T61" fmla="*/ 325120 h 140"/>
                <a:gd name="T62" fmla="*/ 299997 w 312"/>
                <a:gd name="T63" fmla="*/ 298994 h 140"/>
                <a:gd name="T64" fmla="*/ 308179 w 312"/>
                <a:gd name="T65" fmla="*/ 267063 h 140"/>
                <a:gd name="T66" fmla="*/ 280906 w 312"/>
                <a:gd name="T67" fmla="*/ 264160 h 140"/>
                <a:gd name="T68" fmla="*/ 253634 w 312"/>
                <a:gd name="T69" fmla="*/ 284480 h 140"/>
                <a:gd name="T70" fmla="*/ 199089 w 312"/>
                <a:gd name="T71" fmla="*/ 400594 h 140"/>
                <a:gd name="T72" fmla="*/ 169089 w 312"/>
                <a:gd name="T73" fmla="*/ 377371 h 140"/>
                <a:gd name="T74" fmla="*/ 125453 w 312"/>
                <a:gd name="T75" fmla="*/ 386080 h 140"/>
                <a:gd name="T76" fmla="*/ 128180 w 312"/>
                <a:gd name="T77" fmla="*/ 362857 h 140"/>
                <a:gd name="T78" fmla="*/ 100908 w 312"/>
                <a:gd name="T79" fmla="*/ 354149 h 140"/>
                <a:gd name="T80" fmla="*/ 84545 w 312"/>
                <a:gd name="T81" fmla="*/ 328023 h 140"/>
                <a:gd name="T82" fmla="*/ 100908 w 312"/>
                <a:gd name="T83" fmla="*/ 313509 h 140"/>
                <a:gd name="T84" fmla="*/ 100908 w 312"/>
                <a:gd name="T85" fmla="*/ 290286 h 140"/>
                <a:gd name="T86" fmla="*/ 136362 w 312"/>
                <a:gd name="T87" fmla="*/ 272869 h 140"/>
                <a:gd name="T88" fmla="*/ 100908 w 312"/>
                <a:gd name="T89" fmla="*/ 246743 h 140"/>
                <a:gd name="T90" fmla="*/ 59999 w 312"/>
                <a:gd name="T91" fmla="*/ 269966 h 140"/>
                <a:gd name="T92" fmla="*/ 46363 w 312"/>
                <a:gd name="T93" fmla="*/ 235131 h 140"/>
                <a:gd name="T94" fmla="*/ 0 w 312"/>
                <a:gd name="T95" fmla="*/ 206103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2" h="140">
                  <a:moveTo>
                    <a:pt x="0" y="71"/>
                  </a:moveTo>
                  <a:cubicBezTo>
                    <a:pt x="0" y="71"/>
                    <a:pt x="3" y="58"/>
                    <a:pt x="3" y="57"/>
                  </a:cubicBezTo>
                  <a:cubicBezTo>
                    <a:pt x="3" y="55"/>
                    <a:pt x="7" y="52"/>
                    <a:pt x="8" y="51"/>
                  </a:cubicBezTo>
                  <a:cubicBezTo>
                    <a:pt x="9" y="50"/>
                    <a:pt x="14" y="58"/>
                    <a:pt x="15" y="58"/>
                  </a:cubicBezTo>
                  <a:cubicBezTo>
                    <a:pt x="16" y="58"/>
                    <a:pt x="19" y="55"/>
                    <a:pt x="20" y="54"/>
                  </a:cubicBezTo>
                  <a:cubicBezTo>
                    <a:pt x="21" y="54"/>
                    <a:pt x="18" y="48"/>
                    <a:pt x="19" y="48"/>
                  </a:cubicBezTo>
                  <a:cubicBezTo>
                    <a:pt x="21" y="47"/>
                    <a:pt x="33" y="38"/>
                    <a:pt x="34" y="38"/>
                  </a:cubicBezTo>
                  <a:cubicBezTo>
                    <a:pt x="36" y="38"/>
                    <a:pt x="52" y="39"/>
                    <a:pt x="53" y="40"/>
                  </a:cubicBezTo>
                  <a:cubicBezTo>
                    <a:pt x="54" y="40"/>
                    <a:pt x="61" y="48"/>
                    <a:pt x="63" y="48"/>
                  </a:cubicBezTo>
                  <a:cubicBezTo>
                    <a:pt x="64" y="48"/>
                    <a:pt x="71" y="51"/>
                    <a:pt x="72" y="50"/>
                  </a:cubicBezTo>
                  <a:cubicBezTo>
                    <a:pt x="73" y="49"/>
                    <a:pt x="76" y="45"/>
                    <a:pt x="79" y="45"/>
                  </a:cubicBezTo>
                  <a:cubicBezTo>
                    <a:pt x="82" y="44"/>
                    <a:pt x="88" y="44"/>
                    <a:pt x="90" y="44"/>
                  </a:cubicBezTo>
                  <a:cubicBezTo>
                    <a:pt x="91" y="44"/>
                    <a:pt x="98" y="49"/>
                    <a:pt x="100" y="49"/>
                  </a:cubicBezTo>
                  <a:cubicBezTo>
                    <a:pt x="102" y="49"/>
                    <a:pt x="104" y="48"/>
                    <a:pt x="105" y="48"/>
                  </a:cubicBezTo>
                  <a:cubicBezTo>
                    <a:pt x="107" y="48"/>
                    <a:pt x="113" y="48"/>
                    <a:pt x="114" y="47"/>
                  </a:cubicBezTo>
                  <a:cubicBezTo>
                    <a:pt x="116" y="46"/>
                    <a:pt x="116" y="42"/>
                    <a:pt x="116" y="41"/>
                  </a:cubicBezTo>
                  <a:cubicBezTo>
                    <a:pt x="116" y="40"/>
                    <a:pt x="104" y="37"/>
                    <a:pt x="105" y="35"/>
                  </a:cubicBezTo>
                  <a:cubicBezTo>
                    <a:pt x="106" y="34"/>
                    <a:pt x="111" y="33"/>
                    <a:pt x="112" y="31"/>
                  </a:cubicBezTo>
                  <a:cubicBezTo>
                    <a:pt x="112" y="29"/>
                    <a:pt x="110" y="26"/>
                    <a:pt x="110" y="25"/>
                  </a:cubicBezTo>
                  <a:cubicBezTo>
                    <a:pt x="111" y="25"/>
                    <a:pt x="113" y="15"/>
                    <a:pt x="114" y="15"/>
                  </a:cubicBezTo>
                  <a:cubicBezTo>
                    <a:pt x="115" y="14"/>
                    <a:pt x="119" y="15"/>
                    <a:pt x="122" y="14"/>
                  </a:cubicBezTo>
                  <a:cubicBezTo>
                    <a:pt x="125" y="14"/>
                    <a:pt x="148" y="8"/>
                    <a:pt x="151" y="8"/>
                  </a:cubicBezTo>
                  <a:cubicBezTo>
                    <a:pt x="154" y="7"/>
                    <a:pt x="165" y="4"/>
                    <a:pt x="167" y="3"/>
                  </a:cubicBezTo>
                  <a:cubicBezTo>
                    <a:pt x="168" y="2"/>
                    <a:pt x="172" y="0"/>
                    <a:pt x="174" y="0"/>
                  </a:cubicBezTo>
                  <a:cubicBezTo>
                    <a:pt x="175" y="0"/>
                    <a:pt x="185" y="0"/>
                    <a:pt x="186" y="1"/>
                  </a:cubicBezTo>
                  <a:cubicBezTo>
                    <a:pt x="187" y="2"/>
                    <a:pt x="188" y="11"/>
                    <a:pt x="189" y="12"/>
                  </a:cubicBezTo>
                  <a:cubicBezTo>
                    <a:pt x="190" y="13"/>
                    <a:pt x="205" y="13"/>
                    <a:pt x="206" y="14"/>
                  </a:cubicBezTo>
                  <a:cubicBezTo>
                    <a:pt x="206" y="15"/>
                    <a:pt x="205" y="20"/>
                    <a:pt x="207" y="20"/>
                  </a:cubicBezTo>
                  <a:cubicBezTo>
                    <a:pt x="209" y="20"/>
                    <a:pt x="214" y="18"/>
                    <a:pt x="217" y="17"/>
                  </a:cubicBezTo>
                  <a:cubicBezTo>
                    <a:pt x="220" y="16"/>
                    <a:pt x="229" y="11"/>
                    <a:pt x="231" y="11"/>
                  </a:cubicBezTo>
                  <a:cubicBezTo>
                    <a:pt x="232" y="11"/>
                    <a:pt x="234" y="15"/>
                    <a:pt x="235" y="18"/>
                  </a:cubicBezTo>
                  <a:cubicBezTo>
                    <a:pt x="237" y="20"/>
                    <a:pt x="256" y="46"/>
                    <a:pt x="256" y="46"/>
                  </a:cubicBezTo>
                  <a:cubicBezTo>
                    <a:pt x="256" y="46"/>
                    <a:pt x="263" y="43"/>
                    <a:pt x="264" y="43"/>
                  </a:cubicBezTo>
                  <a:cubicBezTo>
                    <a:pt x="266" y="43"/>
                    <a:pt x="267" y="44"/>
                    <a:pt x="271" y="46"/>
                  </a:cubicBezTo>
                  <a:cubicBezTo>
                    <a:pt x="275" y="48"/>
                    <a:pt x="281" y="45"/>
                    <a:pt x="284" y="46"/>
                  </a:cubicBezTo>
                  <a:cubicBezTo>
                    <a:pt x="287" y="47"/>
                    <a:pt x="292" y="54"/>
                    <a:pt x="294" y="57"/>
                  </a:cubicBezTo>
                  <a:cubicBezTo>
                    <a:pt x="297" y="59"/>
                    <a:pt x="299" y="60"/>
                    <a:pt x="302" y="59"/>
                  </a:cubicBezTo>
                  <a:cubicBezTo>
                    <a:pt x="305" y="59"/>
                    <a:pt x="306" y="57"/>
                    <a:pt x="308" y="59"/>
                  </a:cubicBezTo>
                  <a:cubicBezTo>
                    <a:pt x="309" y="60"/>
                    <a:pt x="311" y="61"/>
                    <a:pt x="312" y="62"/>
                  </a:cubicBezTo>
                  <a:cubicBezTo>
                    <a:pt x="306" y="69"/>
                    <a:pt x="306" y="69"/>
                    <a:pt x="306" y="69"/>
                  </a:cubicBezTo>
                  <a:cubicBezTo>
                    <a:pt x="305" y="70"/>
                    <a:pt x="303" y="70"/>
                    <a:pt x="301" y="71"/>
                  </a:cubicBezTo>
                  <a:cubicBezTo>
                    <a:pt x="299" y="72"/>
                    <a:pt x="301" y="82"/>
                    <a:pt x="298" y="84"/>
                  </a:cubicBezTo>
                  <a:cubicBezTo>
                    <a:pt x="295" y="85"/>
                    <a:pt x="281" y="82"/>
                    <a:pt x="281" y="82"/>
                  </a:cubicBezTo>
                  <a:cubicBezTo>
                    <a:pt x="281" y="82"/>
                    <a:pt x="275" y="99"/>
                    <a:pt x="273" y="99"/>
                  </a:cubicBezTo>
                  <a:cubicBezTo>
                    <a:pt x="272" y="99"/>
                    <a:pt x="258" y="103"/>
                    <a:pt x="258" y="103"/>
                  </a:cubicBezTo>
                  <a:cubicBezTo>
                    <a:pt x="258" y="103"/>
                    <a:pt x="261" y="118"/>
                    <a:pt x="261" y="119"/>
                  </a:cubicBezTo>
                  <a:cubicBezTo>
                    <a:pt x="261" y="120"/>
                    <a:pt x="260" y="125"/>
                    <a:pt x="259" y="129"/>
                  </a:cubicBezTo>
                  <a:cubicBezTo>
                    <a:pt x="252" y="126"/>
                    <a:pt x="252" y="126"/>
                    <a:pt x="252" y="126"/>
                  </a:cubicBezTo>
                  <a:cubicBezTo>
                    <a:pt x="251" y="125"/>
                    <a:pt x="243" y="123"/>
                    <a:pt x="240" y="123"/>
                  </a:cubicBezTo>
                  <a:cubicBezTo>
                    <a:pt x="236" y="123"/>
                    <a:pt x="223" y="123"/>
                    <a:pt x="222" y="123"/>
                  </a:cubicBezTo>
                  <a:cubicBezTo>
                    <a:pt x="220" y="123"/>
                    <a:pt x="213" y="120"/>
                    <a:pt x="210" y="120"/>
                  </a:cubicBezTo>
                  <a:cubicBezTo>
                    <a:pt x="207" y="120"/>
                    <a:pt x="207" y="127"/>
                    <a:pt x="206" y="127"/>
                  </a:cubicBezTo>
                  <a:cubicBezTo>
                    <a:pt x="205" y="127"/>
                    <a:pt x="191" y="123"/>
                    <a:pt x="190" y="123"/>
                  </a:cubicBezTo>
                  <a:cubicBezTo>
                    <a:pt x="189" y="123"/>
                    <a:pt x="187" y="126"/>
                    <a:pt x="185" y="128"/>
                  </a:cubicBezTo>
                  <a:cubicBezTo>
                    <a:pt x="184" y="129"/>
                    <a:pt x="184" y="129"/>
                    <a:pt x="183" y="130"/>
                  </a:cubicBezTo>
                  <a:cubicBezTo>
                    <a:pt x="181" y="131"/>
                    <a:pt x="170" y="140"/>
                    <a:pt x="169" y="140"/>
                  </a:cubicBezTo>
                  <a:cubicBezTo>
                    <a:pt x="168" y="140"/>
                    <a:pt x="156" y="139"/>
                    <a:pt x="155" y="139"/>
                  </a:cubicBezTo>
                  <a:cubicBezTo>
                    <a:pt x="154" y="139"/>
                    <a:pt x="155" y="133"/>
                    <a:pt x="155" y="133"/>
                  </a:cubicBezTo>
                  <a:cubicBezTo>
                    <a:pt x="154" y="133"/>
                    <a:pt x="149" y="132"/>
                    <a:pt x="150" y="131"/>
                  </a:cubicBezTo>
                  <a:cubicBezTo>
                    <a:pt x="150" y="130"/>
                    <a:pt x="144" y="116"/>
                    <a:pt x="143" y="115"/>
                  </a:cubicBezTo>
                  <a:cubicBezTo>
                    <a:pt x="142" y="115"/>
                    <a:pt x="120" y="118"/>
                    <a:pt x="119" y="118"/>
                  </a:cubicBezTo>
                  <a:cubicBezTo>
                    <a:pt x="118" y="118"/>
                    <a:pt x="114" y="112"/>
                    <a:pt x="114" y="112"/>
                  </a:cubicBezTo>
                  <a:cubicBezTo>
                    <a:pt x="109" y="109"/>
                    <a:pt x="109" y="109"/>
                    <a:pt x="109" y="109"/>
                  </a:cubicBezTo>
                  <a:cubicBezTo>
                    <a:pt x="112" y="106"/>
                    <a:pt x="110" y="106"/>
                    <a:pt x="110" y="103"/>
                  </a:cubicBezTo>
                  <a:cubicBezTo>
                    <a:pt x="110" y="100"/>
                    <a:pt x="108" y="98"/>
                    <a:pt x="108" y="96"/>
                  </a:cubicBezTo>
                  <a:cubicBezTo>
                    <a:pt x="108" y="93"/>
                    <a:pt x="111" y="94"/>
                    <a:pt x="113" y="92"/>
                  </a:cubicBezTo>
                  <a:cubicBezTo>
                    <a:pt x="115" y="90"/>
                    <a:pt x="110" y="89"/>
                    <a:pt x="108" y="88"/>
                  </a:cubicBezTo>
                  <a:cubicBezTo>
                    <a:pt x="107" y="88"/>
                    <a:pt x="104" y="89"/>
                    <a:pt x="103" y="91"/>
                  </a:cubicBezTo>
                  <a:cubicBezTo>
                    <a:pt x="102" y="92"/>
                    <a:pt x="99" y="94"/>
                    <a:pt x="97" y="94"/>
                  </a:cubicBezTo>
                  <a:cubicBezTo>
                    <a:pt x="95" y="94"/>
                    <a:pt x="94" y="96"/>
                    <a:pt x="93" y="98"/>
                  </a:cubicBezTo>
                  <a:cubicBezTo>
                    <a:pt x="73" y="103"/>
                    <a:pt x="73" y="103"/>
                    <a:pt x="73" y="103"/>
                  </a:cubicBezTo>
                  <a:cubicBezTo>
                    <a:pt x="73" y="138"/>
                    <a:pt x="73" y="138"/>
                    <a:pt x="73" y="138"/>
                  </a:cubicBezTo>
                  <a:cubicBezTo>
                    <a:pt x="71" y="138"/>
                    <a:pt x="70" y="138"/>
                    <a:pt x="69" y="138"/>
                  </a:cubicBezTo>
                  <a:cubicBezTo>
                    <a:pt x="68" y="137"/>
                    <a:pt x="64" y="132"/>
                    <a:pt x="62" y="130"/>
                  </a:cubicBezTo>
                  <a:cubicBezTo>
                    <a:pt x="59" y="128"/>
                    <a:pt x="54" y="129"/>
                    <a:pt x="52" y="130"/>
                  </a:cubicBezTo>
                  <a:cubicBezTo>
                    <a:pt x="46" y="133"/>
                    <a:pt x="46" y="133"/>
                    <a:pt x="46" y="133"/>
                  </a:cubicBezTo>
                  <a:cubicBezTo>
                    <a:pt x="46" y="133"/>
                    <a:pt x="46" y="132"/>
                    <a:pt x="45" y="132"/>
                  </a:cubicBezTo>
                  <a:cubicBezTo>
                    <a:pt x="45" y="130"/>
                    <a:pt x="47" y="126"/>
                    <a:pt x="47" y="125"/>
                  </a:cubicBezTo>
                  <a:cubicBezTo>
                    <a:pt x="47" y="125"/>
                    <a:pt x="44" y="121"/>
                    <a:pt x="41" y="121"/>
                  </a:cubicBezTo>
                  <a:cubicBezTo>
                    <a:pt x="39" y="121"/>
                    <a:pt x="38" y="123"/>
                    <a:pt x="37" y="122"/>
                  </a:cubicBezTo>
                  <a:cubicBezTo>
                    <a:pt x="36" y="120"/>
                    <a:pt x="39" y="119"/>
                    <a:pt x="37" y="117"/>
                  </a:cubicBezTo>
                  <a:cubicBezTo>
                    <a:pt x="35" y="115"/>
                    <a:pt x="33" y="114"/>
                    <a:pt x="31" y="113"/>
                  </a:cubicBezTo>
                  <a:cubicBezTo>
                    <a:pt x="29" y="111"/>
                    <a:pt x="30" y="111"/>
                    <a:pt x="29" y="109"/>
                  </a:cubicBezTo>
                  <a:cubicBezTo>
                    <a:pt x="29" y="107"/>
                    <a:pt x="36" y="109"/>
                    <a:pt x="37" y="108"/>
                  </a:cubicBezTo>
                  <a:cubicBezTo>
                    <a:pt x="38" y="108"/>
                    <a:pt x="35" y="105"/>
                    <a:pt x="34" y="104"/>
                  </a:cubicBezTo>
                  <a:cubicBezTo>
                    <a:pt x="33" y="102"/>
                    <a:pt x="36" y="101"/>
                    <a:pt x="37" y="100"/>
                  </a:cubicBezTo>
                  <a:cubicBezTo>
                    <a:pt x="39" y="99"/>
                    <a:pt x="47" y="99"/>
                    <a:pt x="48" y="99"/>
                  </a:cubicBezTo>
                  <a:cubicBezTo>
                    <a:pt x="49" y="99"/>
                    <a:pt x="49" y="95"/>
                    <a:pt x="50" y="94"/>
                  </a:cubicBezTo>
                  <a:cubicBezTo>
                    <a:pt x="50" y="92"/>
                    <a:pt x="50" y="88"/>
                    <a:pt x="48" y="87"/>
                  </a:cubicBezTo>
                  <a:cubicBezTo>
                    <a:pt x="47" y="85"/>
                    <a:pt x="39" y="85"/>
                    <a:pt x="37" y="85"/>
                  </a:cubicBezTo>
                  <a:cubicBezTo>
                    <a:pt x="35" y="85"/>
                    <a:pt x="28" y="88"/>
                    <a:pt x="27" y="90"/>
                  </a:cubicBezTo>
                  <a:cubicBezTo>
                    <a:pt x="26" y="91"/>
                    <a:pt x="24" y="92"/>
                    <a:pt x="22" y="93"/>
                  </a:cubicBezTo>
                  <a:cubicBezTo>
                    <a:pt x="17" y="87"/>
                    <a:pt x="17" y="87"/>
                    <a:pt x="17" y="87"/>
                  </a:cubicBezTo>
                  <a:cubicBezTo>
                    <a:pt x="18" y="86"/>
                    <a:pt x="18" y="83"/>
                    <a:pt x="17" y="81"/>
                  </a:cubicBezTo>
                  <a:cubicBezTo>
                    <a:pt x="15" y="79"/>
                    <a:pt x="9" y="78"/>
                    <a:pt x="7" y="77"/>
                  </a:cubicBezTo>
                  <a:cubicBezTo>
                    <a:pt x="5" y="76"/>
                    <a:pt x="0" y="71"/>
                    <a:pt x="0" y="7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0" name="Freeform 218"/>
            <p:cNvSpPr>
              <a:spLocks/>
            </p:cNvSpPr>
            <p:nvPr>
              <p:custDataLst>
                <p:tags r:id="rId139"/>
              </p:custDataLst>
            </p:nvPr>
          </p:nvSpPr>
          <p:spPr bwMode="auto">
            <a:xfrm>
              <a:off x="3035" y="1866"/>
              <a:ext cx="124" cy="93"/>
            </a:xfrm>
            <a:custGeom>
              <a:avLst/>
              <a:gdLst>
                <a:gd name="T0" fmla="*/ 13483 w 73"/>
                <a:gd name="T1" fmla="*/ 124479 h 51"/>
                <a:gd name="T2" fmla="*/ 0 w 73"/>
                <a:gd name="T3" fmla="*/ 115795 h 51"/>
                <a:gd name="T4" fmla="*/ 16179 w 73"/>
                <a:gd name="T5" fmla="*/ 92636 h 51"/>
                <a:gd name="T6" fmla="*/ 8090 w 73"/>
                <a:gd name="T7" fmla="*/ 66582 h 51"/>
                <a:gd name="T8" fmla="*/ 35055 w 73"/>
                <a:gd name="T9" fmla="*/ 63687 h 51"/>
                <a:gd name="T10" fmla="*/ 51235 w 73"/>
                <a:gd name="T11" fmla="*/ 52108 h 51"/>
                <a:gd name="T12" fmla="*/ 56628 w 73"/>
                <a:gd name="T13" fmla="*/ 37633 h 51"/>
                <a:gd name="T14" fmla="*/ 70111 w 73"/>
                <a:gd name="T15" fmla="*/ 31843 h 51"/>
                <a:gd name="T16" fmla="*/ 72808 w 73"/>
                <a:gd name="T17" fmla="*/ 14474 h 51"/>
                <a:gd name="T18" fmla="*/ 102470 w 73"/>
                <a:gd name="T19" fmla="*/ 0 h 51"/>
                <a:gd name="T20" fmla="*/ 129436 w 73"/>
                <a:gd name="T21" fmla="*/ 5790 h 51"/>
                <a:gd name="T22" fmla="*/ 159098 w 73"/>
                <a:gd name="T23" fmla="*/ 14474 h 51"/>
                <a:gd name="T24" fmla="*/ 159098 w 73"/>
                <a:gd name="T25" fmla="*/ 37633 h 51"/>
                <a:gd name="T26" fmla="*/ 175277 w 73"/>
                <a:gd name="T27" fmla="*/ 60792 h 51"/>
                <a:gd name="T28" fmla="*/ 194153 w 73"/>
                <a:gd name="T29" fmla="*/ 86846 h 51"/>
                <a:gd name="T30" fmla="*/ 169884 w 73"/>
                <a:gd name="T31" fmla="*/ 92636 h 51"/>
                <a:gd name="T32" fmla="*/ 175277 w 73"/>
                <a:gd name="T33" fmla="*/ 118689 h 51"/>
                <a:gd name="T34" fmla="*/ 161795 w 73"/>
                <a:gd name="T35" fmla="*/ 124479 h 51"/>
                <a:gd name="T36" fmla="*/ 153705 w 73"/>
                <a:gd name="T37" fmla="*/ 144743 h 51"/>
                <a:gd name="T38" fmla="*/ 129436 w 73"/>
                <a:gd name="T39" fmla="*/ 141848 h 51"/>
                <a:gd name="T40" fmla="*/ 94380 w 73"/>
                <a:gd name="T41" fmla="*/ 133164 h 51"/>
                <a:gd name="T42" fmla="*/ 53932 w 73"/>
                <a:gd name="T43" fmla="*/ 124479 h 51"/>
                <a:gd name="T44" fmla="*/ 32359 w 73"/>
                <a:gd name="T45" fmla="*/ 130269 h 51"/>
                <a:gd name="T46" fmla="*/ 10786 w 73"/>
                <a:gd name="T47" fmla="*/ 138953 h 51"/>
                <a:gd name="T48" fmla="*/ 10786 w 73"/>
                <a:gd name="T49" fmla="*/ 138953 h 51"/>
                <a:gd name="T50" fmla="*/ 13483 w 73"/>
                <a:gd name="T51" fmla="*/ 124479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51">
                  <a:moveTo>
                    <a:pt x="5" y="43"/>
                  </a:moveTo>
                  <a:cubicBezTo>
                    <a:pt x="3" y="42"/>
                    <a:pt x="0" y="41"/>
                    <a:pt x="0" y="40"/>
                  </a:cubicBezTo>
                  <a:cubicBezTo>
                    <a:pt x="0" y="39"/>
                    <a:pt x="6" y="34"/>
                    <a:pt x="6" y="32"/>
                  </a:cubicBezTo>
                  <a:cubicBezTo>
                    <a:pt x="6" y="31"/>
                    <a:pt x="4" y="26"/>
                    <a:pt x="3" y="23"/>
                  </a:cubicBezTo>
                  <a:cubicBezTo>
                    <a:pt x="3" y="23"/>
                    <a:pt x="11" y="23"/>
                    <a:pt x="13" y="22"/>
                  </a:cubicBezTo>
                  <a:cubicBezTo>
                    <a:pt x="14" y="20"/>
                    <a:pt x="18" y="19"/>
                    <a:pt x="19" y="18"/>
                  </a:cubicBezTo>
                  <a:cubicBezTo>
                    <a:pt x="20" y="17"/>
                    <a:pt x="21" y="13"/>
                    <a:pt x="21" y="13"/>
                  </a:cubicBezTo>
                  <a:cubicBezTo>
                    <a:pt x="26" y="11"/>
                    <a:pt x="26" y="11"/>
                    <a:pt x="26" y="11"/>
                  </a:cubicBezTo>
                  <a:cubicBezTo>
                    <a:pt x="27" y="5"/>
                    <a:pt x="27" y="5"/>
                    <a:pt x="27" y="5"/>
                  </a:cubicBezTo>
                  <a:cubicBezTo>
                    <a:pt x="29" y="5"/>
                    <a:pt x="38" y="0"/>
                    <a:pt x="38" y="0"/>
                  </a:cubicBezTo>
                  <a:cubicBezTo>
                    <a:pt x="40" y="0"/>
                    <a:pt x="45" y="1"/>
                    <a:pt x="48" y="2"/>
                  </a:cubicBezTo>
                  <a:cubicBezTo>
                    <a:pt x="51" y="3"/>
                    <a:pt x="57" y="3"/>
                    <a:pt x="59" y="5"/>
                  </a:cubicBezTo>
                  <a:cubicBezTo>
                    <a:pt x="61" y="7"/>
                    <a:pt x="59" y="11"/>
                    <a:pt x="59" y="13"/>
                  </a:cubicBezTo>
                  <a:cubicBezTo>
                    <a:pt x="59" y="15"/>
                    <a:pt x="63" y="18"/>
                    <a:pt x="65" y="21"/>
                  </a:cubicBezTo>
                  <a:cubicBezTo>
                    <a:pt x="67" y="23"/>
                    <a:pt x="73" y="28"/>
                    <a:pt x="72" y="30"/>
                  </a:cubicBezTo>
                  <a:cubicBezTo>
                    <a:pt x="72" y="32"/>
                    <a:pt x="63" y="30"/>
                    <a:pt x="63" y="32"/>
                  </a:cubicBezTo>
                  <a:cubicBezTo>
                    <a:pt x="62" y="33"/>
                    <a:pt x="65" y="41"/>
                    <a:pt x="65" y="41"/>
                  </a:cubicBezTo>
                  <a:cubicBezTo>
                    <a:pt x="63" y="42"/>
                    <a:pt x="61" y="43"/>
                    <a:pt x="60" y="43"/>
                  </a:cubicBezTo>
                  <a:cubicBezTo>
                    <a:pt x="59" y="44"/>
                    <a:pt x="59" y="49"/>
                    <a:pt x="57" y="50"/>
                  </a:cubicBezTo>
                  <a:cubicBezTo>
                    <a:pt x="56" y="51"/>
                    <a:pt x="51" y="50"/>
                    <a:pt x="48" y="49"/>
                  </a:cubicBezTo>
                  <a:cubicBezTo>
                    <a:pt x="45" y="49"/>
                    <a:pt x="38" y="47"/>
                    <a:pt x="35" y="46"/>
                  </a:cubicBezTo>
                  <a:cubicBezTo>
                    <a:pt x="33" y="46"/>
                    <a:pt x="23" y="43"/>
                    <a:pt x="20" y="43"/>
                  </a:cubicBezTo>
                  <a:cubicBezTo>
                    <a:pt x="17" y="43"/>
                    <a:pt x="14" y="44"/>
                    <a:pt x="12" y="45"/>
                  </a:cubicBezTo>
                  <a:cubicBezTo>
                    <a:pt x="4" y="48"/>
                    <a:pt x="4" y="48"/>
                    <a:pt x="4" y="48"/>
                  </a:cubicBezTo>
                  <a:cubicBezTo>
                    <a:pt x="4" y="48"/>
                    <a:pt x="4" y="48"/>
                    <a:pt x="4" y="48"/>
                  </a:cubicBezTo>
                  <a:cubicBezTo>
                    <a:pt x="5" y="46"/>
                    <a:pt x="6" y="45"/>
                    <a:pt x="5" y="4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1" name="Freeform 207"/>
            <p:cNvSpPr>
              <a:spLocks/>
            </p:cNvSpPr>
            <p:nvPr>
              <p:custDataLst>
                <p:tags r:id="rId140"/>
              </p:custDataLst>
            </p:nvPr>
          </p:nvSpPr>
          <p:spPr bwMode="auto">
            <a:xfrm>
              <a:off x="5074" y="1516"/>
              <a:ext cx="51" cy="21"/>
            </a:xfrm>
            <a:custGeom>
              <a:avLst/>
              <a:gdLst>
                <a:gd name="T0" fmla="*/ 80963 w 30"/>
                <a:gd name="T1" fmla="*/ 13891 h 12"/>
                <a:gd name="T2" fmla="*/ 64770 w 30"/>
                <a:gd name="T3" fmla="*/ 27782 h 12"/>
                <a:gd name="T4" fmla="*/ 21590 w 30"/>
                <a:gd name="T5" fmla="*/ 30560 h 12"/>
                <a:gd name="T6" fmla="*/ 0 w 30"/>
                <a:gd name="T7" fmla="*/ 27782 h 12"/>
                <a:gd name="T8" fmla="*/ 32385 w 30"/>
                <a:gd name="T9" fmla="*/ 5556 h 12"/>
                <a:gd name="T10" fmla="*/ 80963 w 30"/>
                <a:gd name="T11" fmla="*/ 13891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2">
                  <a:moveTo>
                    <a:pt x="30" y="5"/>
                  </a:moveTo>
                  <a:cubicBezTo>
                    <a:pt x="30" y="8"/>
                    <a:pt x="27" y="10"/>
                    <a:pt x="24" y="10"/>
                  </a:cubicBezTo>
                  <a:cubicBezTo>
                    <a:pt x="22" y="11"/>
                    <a:pt x="13" y="11"/>
                    <a:pt x="8" y="11"/>
                  </a:cubicBezTo>
                  <a:cubicBezTo>
                    <a:pt x="4" y="11"/>
                    <a:pt x="0" y="12"/>
                    <a:pt x="0" y="10"/>
                  </a:cubicBezTo>
                  <a:cubicBezTo>
                    <a:pt x="0" y="8"/>
                    <a:pt x="9" y="3"/>
                    <a:pt x="12" y="2"/>
                  </a:cubicBezTo>
                  <a:cubicBezTo>
                    <a:pt x="16" y="0"/>
                    <a:pt x="30" y="3"/>
                    <a:pt x="30"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2" name="Freeform 208"/>
            <p:cNvSpPr>
              <a:spLocks/>
            </p:cNvSpPr>
            <p:nvPr>
              <p:custDataLst>
                <p:tags r:id="rId141"/>
              </p:custDataLst>
            </p:nvPr>
          </p:nvSpPr>
          <p:spPr bwMode="auto">
            <a:xfrm>
              <a:off x="4652" y="1409"/>
              <a:ext cx="62" cy="20"/>
            </a:xfrm>
            <a:custGeom>
              <a:avLst/>
              <a:gdLst>
                <a:gd name="T0" fmla="*/ 5468 w 36"/>
                <a:gd name="T1" fmla="*/ 23091 h 11"/>
                <a:gd name="T2" fmla="*/ 0 w 36"/>
                <a:gd name="T3" fmla="*/ 0 h 11"/>
                <a:gd name="T4" fmla="*/ 27340 w 36"/>
                <a:gd name="T5" fmla="*/ 0 h 11"/>
                <a:gd name="T6" fmla="*/ 54681 w 36"/>
                <a:gd name="T7" fmla="*/ 11545 h 11"/>
                <a:gd name="T8" fmla="*/ 92957 w 36"/>
                <a:gd name="T9" fmla="*/ 17318 h 11"/>
                <a:gd name="T10" fmla="*/ 82021 w 36"/>
                <a:gd name="T11" fmla="*/ 31750 h 11"/>
                <a:gd name="T12" fmla="*/ 49213 w 36"/>
                <a:gd name="T13" fmla="*/ 31750 h 11"/>
                <a:gd name="T14" fmla="*/ 5468 w 36"/>
                <a:gd name="T15" fmla="*/ 23091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11">
                  <a:moveTo>
                    <a:pt x="2" y="8"/>
                  </a:moveTo>
                  <a:cubicBezTo>
                    <a:pt x="0" y="7"/>
                    <a:pt x="0" y="3"/>
                    <a:pt x="0" y="0"/>
                  </a:cubicBezTo>
                  <a:cubicBezTo>
                    <a:pt x="0" y="0"/>
                    <a:pt x="8" y="0"/>
                    <a:pt x="10" y="0"/>
                  </a:cubicBezTo>
                  <a:cubicBezTo>
                    <a:pt x="12" y="0"/>
                    <a:pt x="18" y="3"/>
                    <a:pt x="20" y="4"/>
                  </a:cubicBezTo>
                  <a:cubicBezTo>
                    <a:pt x="22" y="5"/>
                    <a:pt x="32" y="4"/>
                    <a:pt x="34" y="6"/>
                  </a:cubicBezTo>
                  <a:cubicBezTo>
                    <a:pt x="36" y="8"/>
                    <a:pt x="33" y="10"/>
                    <a:pt x="30" y="11"/>
                  </a:cubicBezTo>
                  <a:cubicBezTo>
                    <a:pt x="28" y="11"/>
                    <a:pt x="22" y="11"/>
                    <a:pt x="18" y="11"/>
                  </a:cubicBezTo>
                  <a:cubicBezTo>
                    <a:pt x="14" y="11"/>
                    <a:pt x="4" y="9"/>
                    <a:pt x="2"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3" name="Freeform 209"/>
            <p:cNvSpPr>
              <a:spLocks/>
            </p:cNvSpPr>
            <p:nvPr>
              <p:custDataLst>
                <p:tags r:id="rId142"/>
              </p:custDataLst>
            </p:nvPr>
          </p:nvSpPr>
          <p:spPr bwMode="auto">
            <a:xfrm>
              <a:off x="4590" y="1892"/>
              <a:ext cx="33" cy="159"/>
            </a:xfrm>
            <a:custGeom>
              <a:avLst/>
              <a:gdLst>
                <a:gd name="T0" fmla="*/ 13097 w 20"/>
                <a:gd name="T1" fmla="*/ 101545 h 87"/>
                <a:gd name="T2" fmla="*/ 5239 w 20"/>
                <a:gd name="T3" fmla="*/ 78335 h 87"/>
                <a:gd name="T4" fmla="*/ 5239 w 20"/>
                <a:gd name="T5" fmla="*/ 37717 h 87"/>
                <a:gd name="T6" fmla="*/ 13097 w 20"/>
                <a:gd name="T7" fmla="*/ 26112 h 87"/>
                <a:gd name="T8" fmla="*/ 20955 w 20"/>
                <a:gd name="T9" fmla="*/ 0 h 87"/>
                <a:gd name="T10" fmla="*/ 28813 w 20"/>
                <a:gd name="T11" fmla="*/ 31914 h 87"/>
                <a:gd name="T12" fmla="*/ 31433 w 20"/>
                <a:gd name="T13" fmla="*/ 66730 h 87"/>
                <a:gd name="T14" fmla="*/ 34052 w 20"/>
                <a:gd name="T15" fmla="*/ 89940 h 87"/>
                <a:gd name="T16" fmla="*/ 49769 w 20"/>
                <a:gd name="T17" fmla="*/ 145065 h 87"/>
                <a:gd name="T18" fmla="*/ 47149 w 20"/>
                <a:gd name="T19" fmla="*/ 162473 h 87"/>
                <a:gd name="T20" fmla="*/ 31433 w 20"/>
                <a:gd name="T21" fmla="*/ 162473 h 87"/>
                <a:gd name="T22" fmla="*/ 26194 w 20"/>
                <a:gd name="T23" fmla="*/ 205992 h 87"/>
                <a:gd name="T24" fmla="*/ 36672 w 20"/>
                <a:gd name="T25" fmla="*/ 223400 h 87"/>
                <a:gd name="T26" fmla="*/ 34052 w 20"/>
                <a:gd name="T27" fmla="*/ 249512 h 87"/>
                <a:gd name="T28" fmla="*/ 20955 w 20"/>
                <a:gd name="T29" fmla="*/ 235005 h 87"/>
                <a:gd name="T30" fmla="*/ 10478 w 20"/>
                <a:gd name="T31" fmla="*/ 249512 h 87"/>
                <a:gd name="T32" fmla="*/ 2619 w 20"/>
                <a:gd name="T33" fmla="*/ 237907 h 87"/>
                <a:gd name="T34" fmla="*/ 5239 w 20"/>
                <a:gd name="T35" fmla="*/ 217597 h 87"/>
                <a:gd name="T36" fmla="*/ 7858 w 20"/>
                <a:gd name="T37" fmla="*/ 191486 h 87"/>
                <a:gd name="T38" fmla="*/ 2619 w 20"/>
                <a:gd name="T39" fmla="*/ 171177 h 87"/>
                <a:gd name="T40" fmla="*/ 10478 w 20"/>
                <a:gd name="T41" fmla="*/ 147966 h 87"/>
                <a:gd name="T42" fmla="*/ 5239 w 20"/>
                <a:gd name="T43" fmla="*/ 121855 h 87"/>
                <a:gd name="T44" fmla="*/ 13097 w 20"/>
                <a:gd name="T45" fmla="*/ 10154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87">
                  <a:moveTo>
                    <a:pt x="5" y="35"/>
                  </a:moveTo>
                  <a:cubicBezTo>
                    <a:pt x="5" y="33"/>
                    <a:pt x="4" y="28"/>
                    <a:pt x="2" y="27"/>
                  </a:cubicBezTo>
                  <a:cubicBezTo>
                    <a:pt x="1" y="26"/>
                    <a:pt x="3" y="15"/>
                    <a:pt x="2" y="13"/>
                  </a:cubicBezTo>
                  <a:cubicBezTo>
                    <a:pt x="2" y="13"/>
                    <a:pt x="4" y="10"/>
                    <a:pt x="5" y="9"/>
                  </a:cubicBezTo>
                  <a:cubicBezTo>
                    <a:pt x="6" y="8"/>
                    <a:pt x="5" y="0"/>
                    <a:pt x="8" y="0"/>
                  </a:cubicBezTo>
                  <a:cubicBezTo>
                    <a:pt x="11" y="1"/>
                    <a:pt x="10" y="8"/>
                    <a:pt x="11" y="11"/>
                  </a:cubicBezTo>
                  <a:cubicBezTo>
                    <a:pt x="12" y="14"/>
                    <a:pt x="13" y="20"/>
                    <a:pt x="12" y="23"/>
                  </a:cubicBezTo>
                  <a:cubicBezTo>
                    <a:pt x="11" y="27"/>
                    <a:pt x="12" y="29"/>
                    <a:pt x="13" y="31"/>
                  </a:cubicBezTo>
                  <a:cubicBezTo>
                    <a:pt x="14" y="33"/>
                    <a:pt x="18" y="47"/>
                    <a:pt x="19" y="50"/>
                  </a:cubicBezTo>
                  <a:cubicBezTo>
                    <a:pt x="20" y="53"/>
                    <a:pt x="20" y="58"/>
                    <a:pt x="18" y="56"/>
                  </a:cubicBezTo>
                  <a:cubicBezTo>
                    <a:pt x="16" y="54"/>
                    <a:pt x="14" y="55"/>
                    <a:pt x="12" y="56"/>
                  </a:cubicBezTo>
                  <a:cubicBezTo>
                    <a:pt x="9" y="58"/>
                    <a:pt x="8" y="69"/>
                    <a:pt x="10" y="71"/>
                  </a:cubicBezTo>
                  <a:cubicBezTo>
                    <a:pt x="13" y="73"/>
                    <a:pt x="14" y="75"/>
                    <a:pt x="14" y="77"/>
                  </a:cubicBezTo>
                  <a:cubicBezTo>
                    <a:pt x="14" y="79"/>
                    <a:pt x="14" y="86"/>
                    <a:pt x="13" y="86"/>
                  </a:cubicBezTo>
                  <a:cubicBezTo>
                    <a:pt x="12" y="86"/>
                    <a:pt x="10" y="82"/>
                    <a:pt x="8" y="81"/>
                  </a:cubicBezTo>
                  <a:cubicBezTo>
                    <a:pt x="7" y="80"/>
                    <a:pt x="5" y="86"/>
                    <a:pt x="4" y="86"/>
                  </a:cubicBezTo>
                  <a:cubicBezTo>
                    <a:pt x="2" y="87"/>
                    <a:pt x="1" y="84"/>
                    <a:pt x="1" y="82"/>
                  </a:cubicBezTo>
                  <a:cubicBezTo>
                    <a:pt x="1" y="81"/>
                    <a:pt x="1" y="77"/>
                    <a:pt x="2" y="75"/>
                  </a:cubicBezTo>
                  <a:cubicBezTo>
                    <a:pt x="3" y="72"/>
                    <a:pt x="3" y="68"/>
                    <a:pt x="3" y="66"/>
                  </a:cubicBezTo>
                  <a:cubicBezTo>
                    <a:pt x="3" y="64"/>
                    <a:pt x="3" y="62"/>
                    <a:pt x="1" y="59"/>
                  </a:cubicBezTo>
                  <a:cubicBezTo>
                    <a:pt x="0" y="57"/>
                    <a:pt x="3" y="55"/>
                    <a:pt x="4" y="51"/>
                  </a:cubicBezTo>
                  <a:cubicBezTo>
                    <a:pt x="5" y="47"/>
                    <a:pt x="3" y="44"/>
                    <a:pt x="2" y="42"/>
                  </a:cubicBezTo>
                  <a:cubicBezTo>
                    <a:pt x="2" y="40"/>
                    <a:pt x="5" y="37"/>
                    <a:pt x="5" y="3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4" name="Freeform 210"/>
            <p:cNvSpPr>
              <a:spLocks/>
            </p:cNvSpPr>
            <p:nvPr>
              <p:custDataLst>
                <p:tags r:id="rId143"/>
              </p:custDataLst>
            </p:nvPr>
          </p:nvSpPr>
          <p:spPr bwMode="auto">
            <a:xfrm>
              <a:off x="4560" y="1451"/>
              <a:ext cx="53" cy="26"/>
            </a:xfrm>
            <a:custGeom>
              <a:avLst/>
              <a:gdLst>
                <a:gd name="T0" fmla="*/ 15776 w 32"/>
                <a:gd name="T1" fmla="*/ 8845 h 14"/>
                <a:gd name="T2" fmla="*/ 42069 w 32"/>
                <a:gd name="T3" fmla="*/ 0 h 14"/>
                <a:gd name="T4" fmla="*/ 73621 w 32"/>
                <a:gd name="T5" fmla="*/ 11793 h 14"/>
                <a:gd name="T6" fmla="*/ 73621 w 32"/>
                <a:gd name="T7" fmla="*/ 35379 h 14"/>
                <a:gd name="T8" fmla="*/ 26293 w 32"/>
                <a:gd name="T9" fmla="*/ 26534 h 14"/>
                <a:gd name="T10" fmla="*/ 5259 w 32"/>
                <a:gd name="T11" fmla="*/ 23586 h 14"/>
                <a:gd name="T12" fmla="*/ 15776 w 32"/>
                <a:gd name="T13" fmla="*/ 8845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4">
                  <a:moveTo>
                    <a:pt x="6" y="3"/>
                  </a:moveTo>
                  <a:cubicBezTo>
                    <a:pt x="8" y="1"/>
                    <a:pt x="12" y="0"/>
                    <a:pt x="16" y="0"/>
                  </a:cubicBezTo>
                  <a:cubicBezTo>
                    <a:pt x="16" y="0"/>
                    <a:pt x="24" y="1"/>
                    <a:pt x="28" y="4"/>
                  </a:cubicBezTo>
                  <a:cubicBezTo>
                    <a:pt x="32" y="6"/>
                    <a:pt x="30" y="10"/>
                    <a:pt x="28" y="12"/>
                  </a:cubicBezTo>
                  <a:cubicBezTo>
                    <a:pt x="26" y="14"/>
                    <a:pt x="14" y="9"/>
                    <a:pt x="10" y="9"/>
                  </a:cubicBezTo>
                  <a:cubicBezTo>
                    <a:pt x="6" y="8"/>
                    <a:pt x="4" y="9"/>
                    <a:pt x="2" y="8"/>
                  </a:cubicBezTo>
                  <a:cubicBezTo>
                    <a:pt x="0" y="6"/>
                    <a:pt x="4" y="4"/>
                    <a:pt x="6"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5" name="Freeform 211"/>
            <p:cNvSpPr>
              <a:spLocks/>
            </p:cNvSpPr>
            <p:nvPr>
              <p:custDataLst>
                <p:tags r:id="rId144"/>
              </p:custDataLst>
            </p:nvPr>
          </p:nvSpPr>
          <p:spPr bwMode="auto">
            <a:xfrm>
              <a:off x="4525" y="1386"/>
              <a:ext cx="109" cy="54"/>
            </a:xfrm>
            <a:custGeom>
              <a:avLst/>
              <a:gdLst>
                <a:gd name="T0" fmla="*/ 8111 w 64"/>
                <a:gd name="T1" fmla="*/ 57150 h 30"/>
                <a:gd name="T2" fmla="*/ 13519 w 64"/>
                <a:gd name="T3" fmla="*/ 22860 h 30"/>
                <a:gd name="T4" fmla="*/ 48667 w 64"/>
                <a:gd name="T5" fmla="*/ 5715 h 30"/>
                <a:gd name="T6" fmla="*/ 81112 w 64"/>
                <a:gd name="T7" fmla="*/ 34290 h 30"/>
                <a:gd name="T8" fmla="*/ 89223 w 64"/>
                <a:gd name="T9" fmla="*/ 11430 h 30"/>
                <a:gd name="T10" fmla="*/ 118964 w 64"/>
                <a:gd name="T11" fmla="*/ 25718 h 30"/>
                <a:gd name="T12" fmla="*/ 170334 w 64"/>
                <a:gd name="T13" fmla="*/ 34290 h 30"/>
                <a:gd name="T14" fmla="*/ 164927 w 64"/>
                <a:gd name="T15" fmla="*/ 57150 h 30"/>
                <a:gd name="T16" fmla="*/ 113556 w 64"/>
                <a:gd name="T17" fmla="*/ 68580 h 30"/>
                <a:gd name="T18" fmla="*/ 62186 w 64"/>
                <a:gd name="T19" fmla="*/ 65723 h 30"/>
                <a:gd name="T20" fmla="*/ 43260 w 64"/>
                <a:gd name="T21" fmla="*/ 80010 h 30"/>
                <a:gd name="T22" fmla="*/ 8111 w 64"/>
                <a:gd name="T23" fmla="*/ 5715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4" h="30">
                  <a:moveTo>
                    <a:pt x="3" y="20"/>
                  </a:moveTo>
                  <a:cubicBezTo>
                    <a:pt x="0" y="17"/>
                    <a:pt x="2" y="10"/>
                    <a:pt x="5" y="8"/>
                  </a:cubicBezTo>
                  <a:cubicBezTo>
                    <a:pt x="8" y="6"/>
                    <a:pt x="14" y="0"/>
                    <a:pt x="18" y="2"/>
                  </a:cubicBezTo>
                  <a:cubicBezTo>
                    <a:pt x="20" y="4"/>
                    <a:pt x="26" y="12"/>
                    <a:pt x="30" y="12"/>
                  </a:cubicBezTo>
                  <a:cubicBezTo>
                    <a:pt x="32" y="11"/>
                    <a:pt x="30" y="5"/>
                    <a:pt x="33" y="4"/>
                  </a:cubicBezTo>
                  <a:cubicBezTo>
                    <a:pt x="36" y="3"/>
                    <a:pt x="40" y="9"/>
                    <a:pt x="44" y="9"/>
                  </a:cubicBezTo>
                  <a:cubicBezTo>
                    <a:pt x="48" y="9"/>
                    <a:pt x="63" y="11"/>
                    <a:pt x="63" y="12"/>
                  </a:cubicBezTo>
                  <a:cubicBezTo>
                    <a:pt x="63" y="14"/>
                    <a:pt x="64" y="18"/>
                    <a:pt x="61" y="20"/>
                  </a:cubicBezTo>
                  <a:cubicBezTo>
                    <a:pt x="58" y="21"/>
                    <a:pt x="48" y="25"/>
                    <a:pt x="42" y="24"/>
                  </a:cubicBezTo>
                  <a:cubicBezTo>
                    <a:pt x="36" y="22"/>
                    <a:pt x="26" y="23"/>
                    <a:pt x="23" y="23"/>
                  </a:cubicBezTo>
                  <a:cubicBezTo>
                    <a:pt x="20" y="24"/>
                    <a:pt x="22" y="30"/>
                    <a:pt x="16" y="28"/>
                  </a:cubicBezTo>
                  <a:cubicBezTo>
                    <a:pt x="12" y="27"/>
                    <a:pt x="3" y="20"/>
                    <a:pt x="3" y="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6" name="Freeform 212"/>
            <p:cNvSpPr>
              <a:spLocks/>
            </p:cNvSpPr>
            <p:nvPr>
              <p:custDataLst>
                <p:tags r:id="rId145"/>
              </p:custDataLst>
            </p:nvPr>
          </p:nvSpPr>
          <p:spPr bwMode="auto">
            <a:xfrm>
              <a:off x="4034" y="1293"/>
              <a:ext cx="79" cy="51"/>
            </a:xfrm>
            <a:custGeom>
              <a:avLst/>
              <a:gdLst>
                <a:gd name="T0" fmla="*/ 40896 w 46"/>
                <a:gd name="T1" fmla="*/ 62971 h 27"/>
                <a:gd name="T2" fmla="*/ 2726 w 46"/>
                <a:gd name="T3" fmla="*/ 71967 h 27"/>
                <a:gd name="T4" fmla="*/ 19085 w 46"/>
                <a:gd name="T5" fmla="*/ 44979 h 27"/>
                <a:gd name="T6" fmla="*/ 46348 w 46"/>
                <a:gd name="T7" fmla="*/ 5997 h 27"/>
                <a:gd name="T8" fmla="*/ 57254 w 46"/>
                <a:gd name="T9" fmla="*/ 8996 h 27"/>
                <a:gd name="T10" fmla="*/ 68159 w 46"/>
                <a:gd name="T11" fmla="*/ 0 h 27"/>
                <a:gd name="T12" fmla="*/ 68159 w 46"/>
                <a:gd name="T13" fmla="*/ 32985 h 27"/>
                <a:gd name="T14" fmla="*/ 89970 w 46"/>
                <a:gd name="T15" fmla="*/ 14993 h 27"/>
                <a:gd name="T16" fmla="*/ 117234 w 46"/>
                <a:gd name="T17" fmla="*/ 32985 h 27"/>
                <a:gd name="T18" fmla="*/ 125413 w 46"/>
                <a:gd name="T19" fmla="*/ 47978 h 27"/>
                <a:gd name="T20" fmla="*/ 111781 w 46"/>
                <a:gd name="T21" fmla="*/ 59973 h 27"/>
                <a:gd name="T22" fmla="*/ 89970 w 46"/>
                <a:gd name="T23" fmla="*/ 59973 h 27"/>
                <a:gd name="T24" fmla="*/ 40896 w 46"/>
                <a:gd name="T25" fmla="*/ 62971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27">
                  <a:moveTo>
                    <a:pt x="15" y="21"/>
                  </a:moveTo>
                  <a:cubicBezTo>
                    <a:pt x="12" y="21"/>
                    <a:pt x="2" y="27"/>
                    <a:pt x="1" y="24"/>
                  </a:cubicBezTo>
                  <a:cubicBezTo>
                    <a:pt x="0" y="21"/>
                    <a:pt x="5" y="18"/>
                    <a:pt x="7" y="15"/>
                  </a:cubicBezTo>
                  <a:cubicBezTo>
                    <a:pt x="9" y="13"/>
                    <a:pt x="14" y="2"/>
                    <a:pt x="17" y="2"/>
                  </a:cubicBezTo>
                  <a:cubicBezTo>
                    <a:pt x="20" y="1"/>
                    <a:pt x="18" y="3"/>
                    <a:pt x="21" y="3"/>
                  </a:cubicBezTo>
                  <a:cubicBezTo>
                    <a:pt x="24" y="3"/>
                    <a:pt x="23" y="0"/>
                    <a:pt x="25" y="0"/>
                  </a:cubicBezTo>
                  <a:cubicBezTo>
                    <a:pt x="26" y="0"/>
                    <a:pt x="22" y="11"/>
                    <a:pt x="25" y="11"/>
                  </a:cubicBezTo>
                  <a:cubicBezTo>
                    <a:pt x="28" y="11"/>
                    <a:pt x="32" y="4"/>
                    <a:pt x="33" y="5"/>
                  </a:cubicBezTo>
                  <a:cubicBezTo>
                    <a:pt x="35" y="5"/>
                    <a:pt x="42" y="11"/>
                    <a:pt x="43" y="11"/>
                  </a:cubicBezTo>
                  <a:cubicBezTo>
                    <a:pt x="44" y="11"/>
                    <a:pt x="46" y="14"/>
                    <a:pt x="46" y="16"/>
                  </a:cubicBezTo>
                  <a:cubicBezTo>
                    <a:pt x="46" y="17"/>
                    <a:pt x="44" y="20"/>
                    <a:pt x="41" y="20"/>
                  </a:cubicBezTo>
                  <a:cubicBezTo>
                    <a:pt x="39" y="20"/>
                    <a:pt x="35" y="20"/>
                    <a:pt x="33" y="20"/>
                  </a:cubicBezTo>
                  <a:cubicBezTo>
                    <a:pt x="30" y="20"/>
                    <a:pt x="18" y="20"/>
                    <a:pt x="15"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7" name="Freeform 213"/>
            <p:cNvSpPr>
              <a:spLocks/>
            </p:cNvSpPr>
            <p:nvPr>
              <p:custDataLst>
                <p:tags r:id="rId146"/>
              </p:custDataLst>
            </p:nvPr>
          </p:nvSpPr>
          <p:spPr bwMode="auto">
            <a:xfrm>
              <a:off x="3959" y="1271"/>
              <a:ext cx="84" cy="42"/>
            </a:xfrm>
            <a:custGeom>
              <a:avLst/>
              <a:gdLst>
                <a:gd name="T0" fmla="*/ 2721 w 49"/>
                <a:gd name="T1" fmla="*/ 26090 h 23"/>
                <a:gd name="T2" fmla="*/ 27214 w 49"/>
                <a:gd name="T3" fmla="*/ 11596 h 23"/>
                <a:gd name="T4" fmla="*/ 65314 w 49"/>
                <a:gd name="T5" fmla="*/ 2899 h 23"/>
                <a:gd name="T6" fmla="*/ 87086 w 49"/>
                <a:gd name="T7" fmla="*/ 2899 h 23"/>
                <a:gd name="T8" fmla="*/ 76200 w 49"/>
                <a:gd name="T9" fmla="*/ 17393 h 23"/>
                <a:gd name="T10" fmla="*/ 97971 w 49"/>
                <a:gd name="T11" fmla="*/ 17393 h 23"/>
                <a:gd name="T12" fmla="*/ 108857 w 49"/>
                <a:gd name="T13" fmla="*/ 5798 h 23"/>
                <a:gd name="T14" fmla="*/ 133350 w 49"/>
                <a:gd name="T15" fmla="*/ 14495 h 23"/>
                <a:gd name="T16" fmla="*/ 125186 w 49"/>
                <a:gd name="T17" fmla="*/ 40585 h 23"/>
                <a:gd name="T18" fmla="*/ 130629 w 49"/>
                <a:gd name="T19" fmla="*/ 55079 h 23"/>
                <a:gd name="T20" fmla="*/ 122464 w 49"/>
                <a:gd name="T21" fmla="*/ 60877 h 23"/>
                <a:gd name="T22" fmla="*/ 81643 w 49"/>
                <a:gd name="T23" fmla="*/ 60877 h 23"/>
                <a:gd name="T24" fmla="*/ 65314 w 49"/>
                <a:gd name="T25" fmla="*/ 55079 h 23"/>
                <a:gd name="T26" fmla="*/ 24493 w 49"/>
                <a:gd name="T27" fmla="*/ 52180 h 23"/>
                <a:gd name="T28" fmla="*/ 16329 w 49"/>
                <a:gd name="T29" fmla="*/ 34787 h 23"/>
                <a:gd name="T30" fmla="*/ 2721 w 49"/>
                <a:gd name="T31" fmla="*/ 2609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9" h="23">
                  <a:moveTo>
                    <a:pt x="1" y="9"/>
                  </a:moveTo>
                  <a:cubicBezTo>
                    <a:pt x="2" y="7"/>
                    <a:pt x="7" y="4"/>
                    <a:pt x="10" y="4"/>
                  </a:cubicBezTo>
                  <a:cubicBezTo>
                    <a:pt x="12" y="3"/>
                    <a:pt x="20" y="1"/>
                    <a:pt x="24" y="1"/>
                  </a:cubicBezTo>
                  <a:cubicBezTo>
                    <a:pt x="27" y="1"/>
                    <a:pt x="32" y="0"/>
                    <a:pt x="32" y="1"/>
                  </a:cubicBezTo>
                  <a:cubicBezTo>
                    <a:pt x="32" y="3"/>
                    <a:pt x="28" y="5"/>
                    <a:pt x="28" y="6"/>
                  </a:cubicBezTo>
                  <a:cubicBezTo>
                    <a:pt x="30" y="7"/>
                    <a:pt x="34" y="7"/>
                    <a:pt x="36" y="6"/>
                  </a:cubicBezTo>
                  <a:cubicBezTo>
                    <a:pt x="38" y="5"/>
                    <a:pt x="38" y="2"/>
                    <a:pt x="40" y="2"/>
                  </a:cubicBezTo>
                  <a:cubicBezTo>
                    <a:pt x="42" y="2"/>
                    <a:pt x="49" y="3"/>
                    <a:pt x="49" y="5"/>
                  </a:cubicBezTo>
                  <a:cubicBezTo>
                    <a:pt x="49" y="7"/>
                    <a:pt x="46" y="12"/>
                    <a:pt x="46" y="14"/>
                  </a:cubicBezTo>
                  <a:cubicBezTo>
                    <a:pt x="47" y="15"/>
                    <a:pt x="48" y="18"/>
                    <a:pt x="48" y="19"/>
                  </a:cubicBezTo>
                  <a:cubicBezTo>
                    <a:pt x="48" y="20"/>
                    <a:pt x="45" y="21"/>
                    <a:pt x="45" y="21"/>
                  </a:cubicBezTo>
                  <a:cubicBezTo>
                    <a:pt x="43" y="21"/>
                    <a:pt x="34" y="23"/>
                    <a:pt x="30" y="21"/>
                  </a:cubicBezTo>
                  <a:cubicBezTo>
                    <a:pt x="27" y="20"/>
                    <a:pt x="26" y="19"/>
                    <a:pt x="24" y="19"/>
                  </a:cubicBezTo>
                  <a:cubicBezTo>
                    <a:pt x="22" y="19"/>
                    <a:pt x="12" y="19"/>
                    <a:pt x="9" y="18"/>
                  </a:cubicBezTo>
                  <a:cubicBezTo>
                    <a:pt x="7" y="16"/>
                    <a:pt x="6" y="13"/>
                    <a:pt x="6" y="12"/>
                  </a:cubicBezTo>
                  <a:cubicBezTo>
                    <a:pt x="6" y="11"/>
                    <a:pt x="0" y="10"/>
                    <a:pt x="1"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8" name="Freeform 214"/>
            <p:cNvSpPr>
              <a:spLocks/>
            </p:cNvSpPr>
            <p:nvPr>
              <p:custDataLst>
                <p:tags r:id="rId147"/>
              </p:custDataLst>
            </p:nvPr>
          </p:nvSpPr>
          <p:spPr bwMode="auto">
            <a:xfrm>
              <a:off x="3928" y="1235"/>
              <a:ext cx="89" cy="51"/>
            </a:xfrm>
            <a:custGeom>
              <a:avLst/>
              <a:gdLst>
                <a:gd name="T0" fmla="*/ 5434 w 52"/>
                <a:gd name="T1" fmla="*/ 78071 h 28"/>
                <a:gd name="T2" fmla="*/ 0 w 52"/>
                <a:gd name="T3" fmla="*/ 63614 h 28"/>
                <a:gd name="T4" fmla="*/ 10868 w 52"/>
                <a:gd name="T5" fmla="*/ 60722 h 28"/>
                <a:gd name="T6" fmla="*/ 32605 w 52"/>
                <a:gd name="T7" fmla="*/ 57831 h 28"/>
                <a:gd name="T8" fmla="*/ 21737 w 52"/>
                <a:gd name="T9" fmla="*/ 43373 h 28"/>
                <a:gd name="T10" fmla="*/ 38039 w 52"/>
                <a:gd name="T11" fmla="*/ 31807 h 28"/>
                <a:gd name="T12" fmla="*/ 38039 w 52"/>
                <a:gd name="T13" fmla="*/ 17349 h 28"/>
                <a:gd name="T14" fmla="*/ 62493 w 52"/>
                <a:gd name="T15" fmla="*/ 11566 h 28"/>
                <a:gd name="T16" fmla="*/ 84229 w 52"/>
                <a:gd name="T17" fmla="*/ 0 h 28"/>
                <a:gd name="T18" fmla="*/ 95098 w 52"/>
                <a:gd name="T19" fmla="*/ 0 h 28"/>
                <a:gd name="T20" fmla="*/ 114117 w 52"/>
                <a:gd name="T21" fmla="*/ 17349 h 28"/>
                <a:gd name="T22" fmla="*/ 138571 w 52"/>
                <a:gd name="T23" fmla="*/ 23132 h 28"/>
                <a:gd name="T24" fmla="*/ 141288 w 52"/>
                <a:gd name="T25" fmla="*/ 31807 h 28"/>
                <a:gd name="T26" fmla="*/ 124986 w 52"/>
                <a:gd name="T27" fmla="*/ 37590 h 28"/>
                <a:gd name="T28" fmla="*/ 124986 w 52"/>
                <a:gd name="T29" fmla="*/ 40482 h 28"/>
                <a:gd name="T30" fmla="*/ 103249 w 52"/>
                <a:gd name="T31" fmla="*/ 49156 h 28"/>
                <a:gd name="T32" fmla="*/ 65210 w 52"/>
                <a:gd name="T33" fmla="*/ 57831 h 28"/>
                <a:gd name="T34" fmla="*/ 48907 w 52"/>
                <a:gd name="T35" fmla="*/ 66505 h 28"/>
                <a:gd name="T36" fmla="*/ 32605 w 52"/>
                <a:gd name="T37" fmla="*/ 80963 h 28"/>
                <a:gd name="T38" fmla="*/ 5434 w 52"/>
                <a:gd name="T39" fmla="*/ 78071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2" h="28">
                  <a:moveTo>
                    <a:pt x="2" y="27"/>
                  </a:moveTo>
                  <a:cubicBezTo>
                    <a:pt x="0" y="26"/>
                    <a:pt x="0" y="24"/>
                    <a:pt x="0" y="22"/>
                  </a:cubicBezTo>
                  <a:cubicBezTo>
                    <a:pt x="0" y="20"/>
                    <a:pt x="2" y="21"/>
                    <a:pt x="4" y="21"/>
                  </a:cubicBezTo>
                  <a:cubicBezTo>
                    <a:pt x="6" y="21"/>
                    <a:pt x="11" y="20"/>
                    <a:pt x="12" y="20"/>
                  </a:cubicBezTo>
                  <a:cubicBezTo>
                    <a:pt x="13" y="20"/>
                    <a:pt x="8" y="17"/>
                    <a:pt x="8" y="15"/>
                  </a:cubicBezTo>
                  <a:cubicBezTo>
                    <a:pt x="7" y="12"/>
                    <a:pt x="13" y="13"/>
                    <a:pt x="14" y="11"/>
                  </a:cubicBezTo>
                  <a:cubicBezTo>
                    <a:pt x="15" y="9"/>
                    <a:pt x="12" y="7"/>
                    <a:pt x="14" y="6"/>
                  </a:cubicBezTo>
                  <a:cubicBezTo>
                    <a:pt x="16" y="6"/>
                    <a:pt x="23" y="4"/>
                    <a:pt x="23" y="4"/>
                  </a:cubicBezTo>
                  <a:cubicBezTo>
                    <a:pt x="27" y="3"/>
                    <a:pt x="30" y="0"/>
                    <a:pt x="31" y="0"/>
                  </a:cubicBezTo>
                  <a:cubicBezTo>
                    <a:pt x="32" y="0"/>
                    <a:pt x="35" y="0"/>
                    <a:pt x="35" y="0"/>
                  </a:cubicBezTo>
                  <a:cubicBezTo>
                    <a:pt x="35" y="0"/>
                    <a:pt x="41" y="5"/>
                    <a:pt x="42" y="6"/>
                  </a:cubicBezTo>
                  <a:cubicBezTo>
                    <a:pt x="44" y="6"/>
                    <a:pt x="51" y="8"/>
                    <a:pt x="51" y="8"/>
                  </a:cubicBezTo>
                  <a:cubicBezTo>
                    <a:pt x="52" y="11"/>
                    <a:pt x="52" y="11"/>
                    <a:pt x="52" y="11"/>
                  </a:cubicBezTo>
                  <a:cubicBezTo>
                    <a:pt x="52" y="11"/>
                    <a:pt x="46" y="12"/>
                    <a:pt x="46" y="13"/>
                  </a:cubicBezTo>
                  <a:cubicBezTo>
                    <a:pt x="45" y="14"/>
                    <a:pt x="46" y="13"/>
                    <a:pt x="46" y="14"/>
                  </a:cubicBezTo>
                  <a:cubicBezTo>
                    <a:pt x="46" y="15"/>
                    <a:pt x="42" y="17"/>
                    <a:pt x="38" y="17"/>
                  </a:cubicBezTo>
                  <a:cubicBezTo>
                    <a:pt x="34" y="17"/>
                    <a:pt x="27" y="18"/>
                    <a:pt x="24" y="20"/>
                  </a:cubicBezTo>
                  <a:cubicBezTo>
                    <a:pt x="20" y="21"/>
                    <a:pt x="19" y="21"/>
                    <a:pt x="18" y="23"/>
                  </a:cubicBezTo>
                  <a:cubicBezTo>
                    <a:pt x="16" y="24"/>
                    <a:pt x="14" y="28"/>
                    <a:pt x="12" y="28"/>
                  </a:cubicBezTo>
                  <a:cubicBezTo>
                    <a:pt x="10" y="28"/>
                    <a:pt x="4" y="28"/>
                    <a:pt x="2" y="2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79" name="Freeform 215"/>
            <p:cNvSpPr>
              <a:spLocks/>
            </p:cNvSpPr>
            <p:nvPr>
              <p:custDataLst>
                <p:tags r:id="rId148"/>
              </p:custDataLst>
            </p:nvPr>
          </p:nvSpPr>
          <p:spPr bwMode="auto">
            <a:xfrm>
              <a:off x="3403" y="1365"/>
              <a:ext cx="233" cy="179"/>
            </a:xfrm>
            <a:custGeom>
              <a:avLst/>
              <a:gdLst>
                <a:gd name="T0" fmla="*/ 43516 w 136"/>
                <a:gd name="T1" fmla="*/ 255167 h 98"/>
                <a:gd name="T2" fmla="*/ 13599 w 136"/>
                <a:gd name="T3" fmla="*/ 246468 h 98"/>
                <a:gd name="T4" fmla="*/ 10879 w 136"/>
                <a:gd name="T5" fmla="*/ 220371 h 98"/>
                <a:gd name="T6" fmla="*/ 29917 w 136"/>
                <a:gd name="T7" fmla="*/ 211672 h 98"/>
                <a:gd name="T8" fmla="*/ 43516 w 136"/>
                <a:gd name="T9" fmla="*/ 173977 h 98"/>
                <a:gd name="T10" fmla="*/ 65274 w 136"/>
                <a:gd name="T11" fmla="*/ 162379 h 98"/>
                <a:gd name="T12" fmla="*/ 59835 w 136"/>
                <a:gd name="T13" fmla="*/ 144981 h 98"/>
                <a:gd name="T14" fmla="*/ 92472 w 136"/>
                <a:gd name="T15" fmla="*/ 115985 h 98"/>
                <a:gd name="T16" fmla="*/ 108791 w 136"/>
                <a:gd name="T17" fmla="*/ 104386 h 98"/>
                <a:gd name="T18" fmla="*/ 114230 w 136"/>
                <a:gd name="T19" fmla="*/ 78290 h 98"/>
                <a:gd name="T20" fmla="*/ 146867 w 136"/>
                <a:gd name="T21" fmla="*/ 63792 h 98"/>
                <a:gd name="T22" fmla="*/ 193103 w 136"/>
                <a:gd name="T23" fmla="*/ 43494 h 98"/>
                <a:gd name="T24" fmla="*/ 217581 w 136"/>
                <a:gd name="T25" fmla="*/ 31896 h 98"/>
                <a:gd name="T26" fmla="*/ 244779 w 136"/>
                <a:gd name="T27" fmla="*/ 34795 h 98"/>
                <a:gd name="T28" fmla="*/ 299174 w 136"/>
                <a:gd name="T29" fmla="*/ 23197 h 98"/>
                <a:gd name="T30" fmla="*/ 342690 w 136"/>
                <a:gd name="T31" fmla="*/ 0 h 98"/>
                <a:gd name="T32" fmla="*/ 369888 w 136"/>
                <a:gd name="T33" fmla="*/ 14498 h 98"/>
                <a:gd name="T34" fmla="*/ 350850 w 136"/>
                <a:gd name="T35" fmla="*/ 40595 h 98"/>
                <a:gd name="T36" fmla="*/ 206702 w 136"/>
                <a:gd name="T37" fmla="*/ 84089 h 98"/>
                <a:gd name="T38" fmla="*/ 163186 w 136"/>
                <a:gd name="T39" fmla="*/ 118885 h 98"/>
                <a:gd name="T40" fmla="*/ 119670 w 136"/>
                <a:gd name="T41" fmla="*/ 156580 h 98"/>
                <a:gd name="T42" fmla="*/ 87032 w 136"/>
                <a:gd name="T43" fmla="*/ 202974 h 98"/>
                <a:gd name="T44" fmla="*/ 95192 w 136"/>
                <a:gd name="T45" fmla="*/ 240669 h 98"/>
                <a:gd name="T46" fmla="*/ 135988 w 136"/>
                <a:gd name="T47" fmla="*/ 275464 h 98"/>
                <a:gd name="T48" fmla="*/ 97912 w 136"/>
                <a:gd name="T49" fmla="*/ 278364 h 98"/>
                <a:gd name="T50" fmla="*/ 62555 w 136"/>
                <a:gd name="T51" fmla="*/ 275464 h 98"/>
                <a:gd name="T52" fmla="*/ 43516 w 136"/>
                <a:gd name="T53" fmla="*/ 255167 h 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6" h="98">
                  <a:moveTo>
                    <a:pt x="16" y="88"/>
                  </a:moveTo>
                  <a:cubicBezTo>
                    <a:pt x="14" y="85"/>
                    <a:pt x="7" y="87"/>
                    <a:pt x="5" y="85"/>
                  </a:cubicBezTo>
                  <a:cubicBezTo>
                    <a:pt x="3" y="83"/>
                    <a:pt x="0" y="78"/>
                    <a:pt x="4" y="76"/>
                  </a:cubicBezTo>
                  <a:cubicBezTo>
                    <a:pt x="7" y="74"/>
                    <a:pt x="11" y="73"/>
                    <a:pt x="11" y="73"/>
                  </a:cubicBezTo>
                  <a:cubicBezTo>
                    <a:pt x="11" y="73"/>
                    <a:pt x="14" y="63"/>
                    <a:pt x="16" y="60"/>
                  </a:cubicBezTo>
                  <a:cubicBezTo>
                    <a:pt x="18" y="58"/>
                    <a:pt x="24" y="58"/>
                    <a:pt x="24" y="56"/>
                  </a:cubicBezTo>
                  <a:cubicBezTo>
                    <a:pt x="26" y="55"/>
                    <a:pt x="22" y="52"/>
                    <a:pt x="22" y="50"/>
                  </a:cubicBezTo>
                  <a:cubicBezTo>
                    <a:pt x="23" y="48"/>
                    <a:pt x="32" y="41"/>
                    <a:pt x="34" y="40"/>
                  </a:cubicBezTo>
                  <a:cubicBezTo>
                    <a:pt x="35" y="38"/>
                    <a:pt x="40" y="38"/>
                    <a:pt x="40" y="36"/>
                  </a:cubicBezTo>
                  <a:cubicBezTo>
                    <a:pt x="42" y="34"/>
                    <a:pt x="40" y="29"/>
                    <a:pt x="42" y="27"/>
                  </a:cubicBezTo>
                  <a:cubicBezTo>
                    <a:pt x="44" y="26"/>
                    <a:pt x="52" y="23"/>
                    <a:pt x="54" y="22"/>
                  </a:cubicBezTo>
                  <a:cubicBezTo>
                    <a:pt x="56" y="20"/>
                    <a:pt x="71" y="15"/>
                    <a:pt x="71" y="15"/>
                  </a:cubicBezTo>
                  <a:cubicBezTo>
                    <a:pt x="71" y="15"/>
                    <a:pt x="79" y="11"/>
                    <a:pt x="80" y="11"/>
                  </a:cubicBezTo>
                  <a:cubicBezTo>
                    <a:pt x="82" y="11"/>
                    <a:pt x="86" y="12"/>
                    <a:pt x="90" y="12"/>
                  </a:cubicBezTo>
                  <a:cubicBezTo>
                    <a:pt x="93" y="12"/>
                    <a:pt x="108" y="10"/>
                    <a:pt x="110" y="8"/>
                  </a:cubicBezTo>
                  <a:cubicBezTo>
                    <a:pt x="114" y="6"/>
                    <a:pt x="120" y="0"/>
                    <a:pt x="126" y="0"/>
                  </a:cubicBezTo>
                  <a:cubicBezTo>
                    <a:pt x="132" y="0"/>
                    <a:pt x="136" y="1"/>
                    <a:pt x="136" y="5"/>
                  </a:cubicBezTo>
                  <a:cubicBezTo>
                    <a:pt x="135" y="8"/>
                    <a:pt x="132" y="14"/>
                    <a:pt x="129" y="14"/>
                  </a:cubicBezTo>
                  <a:cubicBezTo>
                    <a:pt x="126" y="14"/>
                    <a:pt x="82" y="26"/>
                    <a:pt x="76" y="29"/>
                  </a:cubicBezTo>
                  <a:cubicBezTo>
                    <a:pt x="69" y="32"/>
                    <a:pt x="63" y="40"/>
                    <a:pt x="60" y="41"/>
                  </a:cubicBezTo>
                  <a:cubicBezTo>
                    <a:pt x="56" y="43"/>
                    <a:pt x="48" y="50"/>
                    <a:pt x="44" y="54"/>
                  </a:cubicBezTo>
                  <a:cubicBezTo>
                    <a:pt x="41" y="58"/>
                    <a:pt x="32" y="65"/>
                    <a:pt x="32" y="70"/>
                  </a:cubicBezTo>
                  <a:cubicBezTo>
                    <a:pt x="32" y="76"/>
                    <a:pt x="32" y="80"/>
                    <a:pt x="35" y="83"/>
                  </a:cubicBezTo>
                  <a:cubicBezTo>
                    <a:pt x="38" y="87"/>
                    <a:pt x="52" y="93"/>
                    <a:pt x="50" y="95"/>
                  </a:cubicBezTo>
                  <a:cubicBezTo>
                    <a:pt x="48" y="97"/>
                    <a:pt x="40" y="98"/>
                    <a:pt x="36" y="96"/>
                  </a:cubicBezTo>
                  <a:cubicBezTo>
                    <a:pt x="30" y="95"/>
                    <a:pt x="23" y="95"/>
                    <a:pt x="23" y="95"/>
                  </a:cubicBezTo>
                  <a:cubicBezTo>
                    <a:pt x="18" y="93"/>
                    <a:pt x="18" y="90"/>
                    <a:pt x="16" y="8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0" name="Freeform 216"/>
            <p:cNvSpPr>
              <a:spLocks/>
            </p:cNvSpPr>
            <p:nvPr>
              <p:custDataLst>
                <p:tags r:id="rId149"/>
              </p:custDataLst>
            </p:nvPr>
          </p:nvSpPr>
          <p:spPr bwMode="auto">
            <a:xfrm>
              <a:off x="3360" y="1571"/>
              <a:ext cx="33" cy="20"/>
            </a:xfrm>
            <a:custGeom>
              <a:avLst/>
              <a:gdLst>
                <a:gd name="T0" fmla="*/ 24815 w 19"/>
                <a:gd name="T1" fmla="*/ 31750 h 11"/>
                <a:gd name="T2" fmla="*/ 2757 w 19"/>
                <a:gd name="T3" fmla="*/ 25977 h 11"/>
                <a:gd name="T4" fmla="*/ 16544 w 19"/>
                <a:gd name="T5" fmla="*/ 0 h 11"/>
                <a:gd name="T6" fmla="*/ 41359 w 19"/>
                <a:gd name="T7" fmla="*/ 2886 h 11"/>
                <a:gd name="T8" fmla="*/ 49631 w 19"/>
                <a:gd name="T9" fmla="*/ 17318 h 11"/>
                <a:gd name="T10" fmla="*/ 24815 w 19"/>
                <a:gd name="T11" fmla="*/ 31750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1">
                  <a:moveTo>
                    <a:pt x="9" y="11"/>
                  </a:moveTo>
                  <a:cubicBezTo>
                    <a:pt x="7" y="11"/>
                    <a:pt x="2" y="10"/>
                    <a:pt x="1" y="9"/>
                  </a:cubicBezTo>
                  <a:cubicBezTo>
                    <a:pt x="0" y="7"/>
                    <a:pt x="4" y="1"/>
                    <a:pt x="6" y="0"/>
                  </a:cubicBezTo>
                  <a:cubicBezTo>
                    <a:pt x="7" y="0"/>
                    <a:pt x="12" y="0"/>
                    <a:pt x="15" y="1"/>
                  </a:cubicBezTo>
                  <a:cubicBezTo>
                    <a:pt x="17" y="3"/>
                    <a:pt x="19" y="5"/>
                    <a:pt x="18" y="6"/>
                  </a:cubicBezTo>
                  <a:cubicBezTo>
                    <a:pt x="17" y="7"/>
                    <a:pt x="12" y="11"/>
                    <a:pt x="9"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1" name="Freeform 217"/>
            <p:cNvSpPr>
              <a:spLocks/>
            </p:cNvSpPr>
            <p:nvPr>
              <p:custDataLst>
                <p:tags r:id="rId150"/>
              </p:custDataLst>
            </p:nvPr>
          </p:nvSpPr>
          <p:spPr bwMode="auto">
            <a:xfrm>
              <a:off x="3089" y="1345"/>
              <a:ext cx="2137" cy="790"/>
            </a:xfrm>
            <a:custGeom>
              <a:avLst/>
              <a:gdLst>
                <a:gd name="T0" fmla="*/ 59899 w 1246"/>
                <a:gd name="T1" fmla="*/ 698353 h 431"/>
                <a:gd name="T2" fmla="*/ 49009 w 1246"/>
                <a:gd name="T3" fmla="*/ 535404 h 431"/>
                <a:gd name="T4" fmla="*/ 57177 w 1246"/>
                <a:gd name="T5" fmla="*/ 363725 h 431"/>
                <a:gd name="T6" fmla="*/ 272270 w 1246"/>
                <a:gd name="T7" fmla="*/ 419012 h 431"/>
                <a:gd name="T8" fmla="*/ 95295 w 1246"/>
                <a:gd name="T9" fmla="*/ 448110 h 431"/>
                <a:gd name="T10" fmla="*/ 220539 w 1246"/>
                <a:gd name="T11" fmla="*/ 570321 h 431"/>
                <a:gd name="T12" fmla="*/ 258657 w 1246"/>
                <a:gd name="T13" fmla="*/ 509215 h 431"/>
                <a:gd name="T14" fmla="*/ 353951 w 1246"/>
                <a:gd name="T15" fmla="*/ 424831 h 431"/>
                <a:gd name="T16" fmla="*/ 397515 w 1246"/>
                <a:gd name="T17" fmla="*/ 462659 h 431"/>
                <a:gd name="T18" fmla="*/ 598995 w 1246"/>
                <a:gd name="T19" fmla="*/ 389914 h 431"/>
                <a:gd name="T20" fmla="*/ 656171 w 1246"/>
                <a:gd name="T21" fmla="*/ 322988 h 431"/>
                <a:gd name="T22" fmla="*/ 841315 w 1246"/>
                <a:gd name="T23" fmla="*/ 354996 h 431"/>
                <a:gd name="T24" fmla="*/ 944778 w 1246"/>
                <a:gd name="T25" fmla="*/ 229874 h 431"/>
                <a:gd name="T26" fmla="*/ 947501 w 1246"/>
                <a:gd name="T27" fmla="*/ 413192 h 431"/>
                <a:gd name="T28" fmla="*/ 969282 w 1246"/>
                <a:gd name="T29" fmla="*/ 439380 h 431"/>
                <a:gd name="T30" fmla="*/ 1061854 w 1246"/>
                <a:gd name="T31" fmla="*/ 430651 h 431"/>
                <a:gd name="T32" fmla="*/ 969282 w 1246"/>
                <a:gd name="T33" fmla="*/ 331718 h 431"/>
                <a:gd name="T34" fmla="*/ 1001955 w 1246"/>
                <a:gd name="T35" fmla="*/ 267702 h 431"/>
                <a:gd name="T36" fmla="*/ 1029182 w 1246"/>
                <a:gd name="T37" fmla="*/ 256063 h 431"/>
                <a:gd name="T38" fmla="*/ 1127199 w 1246"/>
                <a:gd name="T39" fmla="*/ 267702 h 431"/>
                <a:gd name="T40" fmla="*/ 1173485 w 1246"/>
                <a:gd name="T41" fmla="*/ 314259 h 431"/>
                <a:gd name="T42" fmla="*/ 1238830 w 1246"/>
                <a:gd name="T43" fmla="*/ 174588 h 431"/>
                <a:gd name="T44" fmla="*/ 1410360 w 1246"/>
                <a:gd name="T45" fmla="*/ 72745 h 431"/>
                <a:gd name="T46" fmla="*/ 1603672 w 1246"/>
                <a:gd name="T47" fmla="*/ 0 h 431"/>
                <a:gd name="T48" fmla="*/ 1728916 w 1246"/>
                <a:gd name="T49" fmla="*/ 43647 h 431"/>
                <a:gd name="T50" fmla="*/ 1655403 w 1246"/>
                <a:gd name="T51" fmla="*/ 183318 h 431"/>
                <a:gd name="T52" fmla="*/ 1777925 w 1246"/>
                <a:gd name="T53" fmla="*/ 180408 h 431"/>
                <a:gd name="T54" fmla="*/ 1995741 w 1246"/>
                <a:gd name="T55" fmla="*/ 192047 h 431"/>
                <a:gd name="T56" fmla="*/ 2110095 w 1246"/>
                <a:gd name="T57" fmla="*/ 258972 h 431"/>
                <a:gd name="T58" fmla="*/ 2251675 w 1246"/>
                <a:gd name="T59" fmla="*/ 270612 h 431"/>
                <a:gd name="T60" fmla="*/ 2325188 w 1246"/>
                <a:gd name="T61" fmla="*/ 244423 h 431"/>
                <a:gd name="T62" fmla="*/ 2534837 w 1246"/>
                <a:gd name="T63" fmla="*/ 244423 h 431"/>
                <a:gd name="T64" fmla="*/ 2755375 w 1246"/>
                <a:gd name="T65" fmla="*/ 346267 h 431"/>
                <a:gd name="T66" fmla="*/ 2956856 w 1246"/>
                <a:gd name="T67" fmla="*/ 372455 h 431"/>
                <a:gd name="T68" fmla="*/ 3199176 w 1246"/>
                <a:gd name="T69" fmla="*/ 387004 h 431"/>
                <a:gd name="T70" fmla="*/ 3359816 w 1246"/>
                <a:gd name="T71" fmla="*/ 506306 h 431"/>
                <a:gd name="T72" fmla="*/ 3220958 w 1246"/>
                <a:gd name="T73" fmla="*/ 512125 h 431"/>
                <a:gd name="T74" fmla="*/ 3101159 w 1246"/>
                <a:gd name="T75" fmla="*/ 544133 h 431"/>
                <a:gd name="T76" fmla="*/ 3019478 w 1246"/>
                <a:gd name="T77" fmla="*/ 663435 h 431"/>
                <a:gd name="T78" fmla="*/ 2826166 w 1246"/>
                <a:gd name="T79" fmla="*/ 727451 h 431"/>
                <a:gd name="T80" fmla="*/ 2807107 w 1246"/>
                <a:gd name="T81" fmla="*/ 826384 h 431"/>
                <a:gd name="T82" fmla="*/ 2722703 w 1246"/>
                <a:gd name="T83" fmla="*/ 957325 h 431"/>
                <a:gd name="T84" fmla="*/ 2801661 w 1246"/>
                <a:gd name="T85" fmla="*/ 689623 h 431"/>
                <a:gd name="T86" fmla="*/ 2768989 w 1246"/>
                <a:gd name="T87" fmla="*/ 675074 h 431"/>
                <a:gd name="T88" fmla="*/ 2638299 w 1246"/>
                <a:gd name="T89" fmla="*/ 736180 h 431"/>
                <a:gd name="T90" fmla="*/ 2355138 w 1246"/>
                <a:gd name="T91" fmla="*/ 771098 h 431"/>
                <a:gd name="T92" fmla="*/ 2317020 w 1246"/>
                <a:gd name="T93" fmla="*/ 881670 h 431"/>
                <a:gd name="T94" fmla="*/ 2229894 w 1246"/>
                <a:gd name="T95" fmla="*/ 1198839 h 431"/>
                <a:gd name="T96" fmla="*/ 2202667 w 1246"/>
                <a:gd name="T97" fmla="*/ 1149372 h 431"/>
                <a:gd name="T98" fmla="*/ 2050195 w 1246"/>
                <a:gd name="T99" fmla="*/ 925317 h 431"/>
                <a:gd name="T100" fmla="*/ 1835102 w 1246"/>
                <a:gd name="T101" fmla="*/ 1006792 h 431"/>
                <a:gd name="T102" fmla="*/ 1489319 w 1246"/>
                <a:gd name="T103" fmla="*/ 945686 h 431"/>
                <a:gd name="T104" fmla="*/ 1260612 w 1246"/>
                <a:gd name="T105" fmla="*/ 1035890 h 431"/>
                <a:gd name="T106" fmla="*/ 1037350 w 1246"/>
                <a:gd name="T107" fmla="*/ 902039 h 431"/>
                <a:gd name="T108" fmla="*/ 808643 w 1246"/>
                <a:gd name="T109" fmla="*/ 872941 h 431"/>
                <a:gd name="T110" fmla="*/ 669785 w 1246"/>
                <a:gd name="T111" fmla="*/ 992243 h 431"/>
                <a:gd name="T112" fmla="*/ 438355 w 1246"/>
                <a:gd name="T113" fmla="*/ 1018431 h 431"/>
                <a:gd name="T114" fmla="*/ 432910 w 1246"/>
                <a:gd name="T115" fmla="*/ 1131913 h 431"/>
                <a:gd name="T116" fmla="*/ 405683 w 1246"/>
                <a:gd name="T117" fmla="*/ 1242486 h 431"/>
                <a:gd name="T118" fmla="*/ 234152 w 1246"/>
                <a:gd name="T119" fmla="*/ 1172651 h 431"/>
                <a:gd name="T120" fmla="*/ 228707 w 1246"/>
                <a:gd name="T121" fmla="*/ 1088266 h 431"/>
                <a:gd name="T122" fmla="*/ 136135 w 1246"/>
                <a:gd name="T123" fmla="*/ 939866 h 4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46" h="431">
                  <a:moveTo>
                    <a:pt x="16" y="286"/>
                  </a:moveTo>
                  <a:cubicBezTo>
                    <a:pt x="13" y="285"/>
                    <a:pt x="8" y="284"/>
                    <a:pt x="6" y="284"/>
                  </a:cubicBezTo>
                  <a:cubicBezTo>
                    <a:pt x="5" y="284"/>
                    <a:pt x="5" y="278"/>
                    <a:pt x="4" y="276"/>
                  </a:cubicBezTo>
                  <a:cubicBezTo>
                    <a:pt x="4" y="274"/>
                    <a:pt x="3" y="268"/>
                    <a:pt x="2" y="268"/>
                  </a:cubicBezTo>
                  <a:cubicBezTo>
                    <a:pt x="1" y="267"/>
                    <a:pt x="0" y="261"/>
                    <a:pt x="1" y="258"/>
                  </a:cubicBezTo>
                  <a:cubicBezTo>
                    <a:pt x="5" y="247"/>
                    <a:pt x="5" y="247"/>
                    <a:pt x="5" y="247"/>
                  </a:cubicBezTo>
                  <a:cubicBezTo>
                    <a:pt x="6" y="247"/>
                    <a:pt x="6" y="243"/>
                    <a:pt x="7" y="242"/>
                  </a:cubicBezTo>
                  <a:cubicBezTo>
                    <a:pt x="9" y="242"/>
                    <a:pt x="18" y="242"/>
                    <a:pt x="19" y="242"/>
                  </a:cubicBezTo>
                  <a:cubicBezTo>
                    <a:pt x="20" y="242"/>
                    <a:pt x="22" y="241"/>
                    <a:pt x="22" y="240"/>
                  </a:cubicBezTo>
                  <a:cubicBezTo>
                    <a:pt x="22" y="239"/>
                    <a:pt x="15" y="238"/>
                    <a:pt x="14" y="237"/>
                  </a:cubicBezTo>
                  <a:cubicBezTo>
                    <a:pt x="13" y="236"/>
                    <a:pt x="10" y="234"/>
                    <a:pt x="10" y="232"/>
                  </a:cubicBezTo>
                  <a:cubicBezTo>
                    <a:pt x="10" y="232"/>
                    <a:pt x="10" y="232"/>
                    <a:pt x="8" y="232"/>
                  </a:cubicBezTo>
                  <a:cubicBezTo>
                    <a:pt x="12" y="227"/>
                    <a:pt x="12" y="227"/>
                    <a:pt x="12" y="227"/>
                  </a:cubicBezTo>
                  <a:cubicBezTo>
                    <a:pt x="14" y="225"/>
                    <a:pt x="30" y="212"/>
                    <a:pt x="31" y="209"/>
                  </a:cubicBezTo>
                  <a:cubicBezTo>
                    <a:pt x="32" y="206"/>
                    <a:pt x="31" y="203"/>
                    <a:pt x="28" y="202"/>
                  </a:cubicBezTo>
                  <a:cubicBezTo>
                    <a:pt x="26" y="201"/>
                    <a:pt x="21" y="199"/>
                    <a:pt x="21" y="197"/>
                  </a:cubicBezTo>
                  <a:cubicBezTo>
                    <a:pt x="20" y="196"/>
                    <a:pt x="25" y="192"/>
                    <a:pt x="24" y="190"/>
                  </a:cubicBezTo>
                  <a:cubicBezTo>
                    <a:pt x="23" y="188"/>
                    <a:pt x="18" y="187"/>
                    <a:pt x="18" y="184"/>
                  </a:cubicBezTo>
                  <a:cubicBezTo>
                    <a:pt x="19" y="180"/>
                    <a:pt x="20" y="177"/>
                    <a:pt x="20" y="174"/>
                  </a:cubicBezTo>
                  <a:cubicBezTo>
                    <a:pt x="20" y="172"/>
                    <a:pt x="20" y="168"/>
                    <a:pt x="19" y="166"/>
                  </a:cubicBezTo>
                  <a:cubicBezTo>
                    <a:pt x="18" y="163"/>
                    <a:pt x="13" y="160"/>
                    <a:pt x="14" y="157"/>
                  </a:cubicBezTo>
                  <a:cubicBezTo>
                    <a:pt x="14" y="154"/>
                    <a:pt x="20" y="150"/>
                    <a:pt x="20" y="147"/>
                  </a:cubicBezTo>
                  <a:cubicBezTo>
                    <a:pt x="20" y="145"/>
                    <a:pt x="13" y="143"/>
                    <a:pt x="11" y="141"/>
                  </a:cubicBezTo>
                  <a:cubicBezTo>
                    <a:pt x="10" y="139"/>
                    <a:pt x="10" y="136"/>
                    <a:pt x="10" y="136"/>
                  </a:cubicBezTo>
                  <a:cubicBezTo>
                    <a:pt x="12" y="131"/>
                    <a:pt x="12" y="131"/>
                    <a:pt x="12" y="131"/>
                  </a:cubicBezTo>
                  <a:cubicBezTo>
                    <a:pt x="14" y="132"/>
                    <a:pt x="16" y="132"/>
                    <a:pt x="16" y="130"/>
                  </a:cubicBezTo>
                  <a:cubicBezTo>
                    <a:pt x="16" y="124"/>
                    <a:pt x="19" y="127"/>
                    <a:pt x="21" y="125"/>
                  </a:cubicBezTo>
                  <a:cubicBezTo>
                    <a:pt x="22" y="123"/>
                    <a:pt x="23" y="119"/>
                    <a:pt x="23" y="119"/>
                  </a:cubicBezTo>
                  <a:cubicBezTo>
                    <a:pt x="26" y="120"/>
                    <a:pt x="34" y="122"/>
                    <a:pt x="35" y="122"/>
                  </a:cubicBezTo>
                  <a:cubicBezTo>
                    <a:pt x="36" y="122"/>
                    <a:pt x="35" y="118"/>
                    <a:pt x="38" y="119"/>
                  </a:cubicBezTo>
                  <a:cubicBezTo>
                    <a:pt x="41" y="119"/>
                    <a:pt x="45" y="119"/>
                    <a:pt x="45" y="120"/>
                  </a:cubicBezTo>
                  <a:cubicBezTo>
                    <a:pt x="45" y="121"/>
                    <a:pt x="41" y="122"/>
                    <a:pt x="41" y="124"/>
                  </a:cubicBezTo>
                  <a:cubicBezTo>
                    <a:pt x="41" y="125"/>
                    <a:pt x="46" y="125"/>
                    <a:pt x="50" y="125"/>
                  </a:cubicBezTo>
                  <a:cubicBezTo>
                    <a:pt x="54" y="126"/>
                    <a:pt x="61" y="126"/>
                    <a:pt x="64" y="127"/>
                  </a:cubicBezTo>
                  <a:cubicBezTo>
                    <a:pt x="68" y="128"/>
                    <a:pt x="80" y="133"/>
                    <a:pt x="83" y="136"/>
                  </a:cubicBezTo>
                  <a:cubicBezTo>
                    <a:pt x="86" y="138"/>
                    <a:pt x="98" y="144"/>
                    <a:pt x="100" y="144"/>
                  </a:cubicBezTo>
                  <a:cubicBezTo>
                    <a:pt x="102" y="144"/>
                    <a:pt x="105" y="145"/>
                    <a:pt x="105" y="146"/>
                  </a:cubicBezTo>
                  <a:cubicBezTo>
                    <a:pt x="106" y="147"/>
                    <a:pt x="105" y="151"/>
                    <a:pt x="106" y="152"/>
                  </a:cubicBezTo>
                  <a:cubicBezTo>
                    <a:pt x="107" y="154"/>
                    <a:pt x="108" y="157"/>
                    <a:pt x="105" y="159"/>
                  </a:cubicBezTo>
                  <a:cubicBezTo>
                    <a:pt x="103" y="160"/>
                    <a:pt x="100" y="165"/>
                    <a:pt x="93" y="166"/>
                  </a:cubicBezTo>
                  <a:cubicBezTo>
                    <a:pt x="79" y="169"/>
                    <a:pt x="75" y="165"/>
                    <a:pt x="73" y="164"/>
                  </a:cubicBezTo>
                  <a:cubicBezTo>
                    <a:pt x="70" y="164"/>
                    <a:pt x="64" y="163"/>
                    <a:pt x="61" y="162"/>
                  </a:cubicBezTo>
                  <a:cubicBezTo>
                    <a:pt x="58" y="160"/>
                    <a:pt x="52" y="158"/>
                    <a:pt x="49" y="157"/>
                  </a:cubicBezTo>
                  <a:cubicBezTo>
                    <a:pt x="46" y="156"/>
                    <a:pt x="44" y="155"/>
                    <a:pt x="42" y="154"/>
                  </a:cubicBezTo>
                  <a:cubicBezTo>
                    <a:pt x="39" y="153"/>
                    <a:pt x="36" y="153"/>
                    <a:pt x="35" y="154"/>
                  </a:cubicBezTo>
                  <a:cubicBezTo>
                    <a:pt x="34" y="154"/>
                    <a:pt x="38" y="157"/>
                    <a:pt x="39" y="159"/>
                  </a:cubicBezTo>
                  <a:cubicBezTo>
                    <a:pt x="41" y="160"/>
                    <a:pt x="46" y="164"/>
                    <a:pt x="50" y="166"/>
                  </a:cubicBezTo>
                  <a:cubicBezTo>
                    <a:pt x="53" y="168"/>
                    <a:pt x="57" y="169"/>
                    <a:pt x="57" y="171"/>
                  </a:cubicBezTo>
                  <a:cubicBezTo>
                    <a:pt x="56" y="173"/>
                    <a:pt x="53" y="176"/>
                    <a:pt x="54" y="177"/>
                  </a:cubicBezTo>
                  <a:cubicBezTo>
                    <a:pt x="55" y="178"/>
                    <a:pt x="58" y="182"/>
                    <a:pt x="58" y="183"/>
                  </a:cubicBezTo>
                  <a:cubicBezTo>
                    <a:pt x="58" y="185"/>
                    <a:pt x="58" y="187"/>
                    <a:pt x="59" y="188"/>
                  </a:cubicBezTo>
                  <a:cubicBezTo>
                    <a:pt x="61" y="190"/>
                    <a:pt x="66" y="189"/>
                    <a:pt x="66" y="190"/>
                  </a:cubicBezTo>
                  <a:cubicBezTo>
                    <a:pt x="67" y="192"/>
                    <a:pt x="69" y="194"/>
                    <a:pt x="72" y="195"/>
                  </a:cubicBezTo>
                  <a:cubicBezTo>
                    <a:pt x="74" y="196"/>
                    <a:pt x="80" y="197"/>
                    <a:pt x="81" y="196"/>
                  </a:cubicBezTo>
                  <a:cubicBezTo>
                    <a:pt x="82" y="195"/>
                    <a:pt x="83" y="191"/>
                    <a:pt x="81" y="189"/>
                  </a:cubicBezTo>
                  <a:cubicBezTo>
                    <a:pt x="79" y="187"/>
                    <a:pt x="76" y="188"/>
                    <a:pt x="74" y="187"/>
                  </a:cubicBezTo>
                  <a:cubicBezTo>
                    <a:pt x="73" y="186"/>
                    <a:pt x="70" y="184"/>
                    <a:pt x="70" y="183"/>
                  </a:cubicBezTo>
                  <a:cubicBezTo>
                    <a:pt x="70" y="182"/>
                    <a:pt x="72" y="179"/>
                    <a:pt x="73" y="179"/>
                  </a:cubicBezTo>
                  <a:cubicBezTo>
                    <a:pt x="74" y="179"/>
                    <a:pt x="78" y="179"/>
                    <a:pt x="79" y="181"/>
                  </a:cubicBezTo>
                  <a:cubicBezTo>
                    <a:pt x="80" y="182"/>
                    <a:pt x="92" y="187"/>
                    <a:pt x="94" y="187"/>
                  </a:cubicBezTo>
                  <a:cubicBezTo>
                    <a:pt x="95" y="187"/>
                    <a:pt x="99" y="186"/>
                    <a:pt x="100" y="185"/>
                  </a:cubicBezTo>
                  <a:cubicBezTo>
                    <a:pt x="102" y="183"/>
                    <a:pt x="100" y="182"/>
                    <a:pt x="99" y="180"/>
                  </a:cubicBezTo>
                  <a:cubicBezTo>
                    <a:pt x="97" y="178"/>
                    <a:pt x="95" y="177"/>
                    <a:pt x="95" y="175"/>
                  </a:cubicBezTo>
                  <a:cubicBezTo>
                    <a:pt x="95" y="174"/>
                    <a:pt x="98" y="172"/>
                    <a:pt x="98" y="172"/>
                  </a:cubicBezTo>
                  <a:cubicBezTo>
                    <a:pt x="98" y="172"/>
                    <a:pt x="103" y="170"/>
                    <a:pt x="105" y="169"/>
                  </a:cubicBezTo>
                  <a:cubicBezTo>
                    <a:pt x="106" y="168"/>
                    <a:pt x="114" y="162"/>
                    <a:pt x="115" y="162"/>
                  </a:cubicBezTo>
                  <a:cubicBezTo>
                    <a:pt x="116" y="162"/>
                    <a:pt x="120" y="162"/>
                    <a:pt x="121" y="164"/>
                  </a:cubicBezTo>
                  <a:cubicBezTo>
                    <a:pt x="123" y="165"/>
                    <a:pt x="126" y="169"/>
                    <a:pt x="128" y="169"/>
                  </a:cubicBezTo>
                  <a:cubicBezTo>
                    <a:pt x="131" y="168"/>
                    <a:pt x="131" y="162"/>
                    <a:pt x="132" y="160"/>
                  </a:cubicBezTo>
                  <a:cubicBezTo>
                    <a:pt x="132" y="158"/>
                    <a:pt x="132" y="155"/>
                    <a:pt x="130" y="155"/>
                  </a:cubicBezTo>
                  <a:cubicBezTo>
                    <a:pt x="128" y="154"/>
                    <a:pt x="126" y="154"/>
                    <a:pt x="126" y="152"/>
                  </a:cubicBezTo>
                  <a:cubicBezTo>
                    <a:pt x="126" y="151"/>
                    <a:pt x="130" y="148"/>
                    <a:pt x="130" y="146"/>
                  </a:cubicBezTo>
                  <a:cubicBezTo>
                    <a:pt x="130" y="143"/>
                    <a:pt x="129" y="139"/>
                    <a:pt x="127" y="138"/>
                  </a:cubicBezTo>
                  <a:cubicBezTo>
                    <a:pt x="125" y="137"/>
                    <a:pt x="122" y="135"/>
                    <a:pt x="123" y="134"/>
                  </a:cubicBezTo>
                  <a:cubicBezTo>
                    <a:pt x="123" y="133"/>
                    <a:pt x="128" y="135"/>
                    <a:pt x="130" y="135"/>
                  </a:cubicBezTo>
                  <a:cubicBezTo>
                    <a:pt x="131" y="135"/>
                    <a:pt x="141" y="135"/>
                    <a:pt x="142" y="136"/>
                  </a:cubicBezTo>
                  <a:cubicBezTo>
                    <a:pt x="144" y="137"/>
                    <a:pt x="150" y="144"/>
                    <a:pt x="149" y="145"/>
                  </a:cubicBezTo>
                  <a:cubicBezTo>
                    <a:pt x="148" y="146"/>
                    <a:pt x="141" y="146"/>
                    <a:pt x="139" y="146"/>
                  </a:cubicBezTo>
                  <a:cubicBezTo>
                    <a:pt x="137" y="146"/>
                    <a:pt x="135" y="149"/>
                    <a:pt x="135" y="151"/>
                  </a:cubicBezTo>
                  <a:cubicBezTo>
                    <a:pt x="135" y="153"/>
                    <a:pt x="139" y="153"/>
                    <a:pt x="140" y="154"/>
                  </a:cubicBezTo>
                  <a:cubicBezTo>
                    <a:pt x="141" y="156"/>
                    <a:pt x="142" y="159"/>
                    <a:pt x="146" y="159"/>
                  </a:cubicBezTo>
                  <a:cubicBezTo>
                    <a:pt x="149" y="159"/>
                    <a:pt x="155" y="159"/>
                    <a:pt x="156" y="157"/>
                  </a:cubicBezTo>
                  <a:cubicBezTo>
                    <a:pt x="157" y="155"/>
                    <a:pt x="156" y="147"/>
                    <a:pt x="158" y="147"/>
                  </a:cubicBezTo>
                  <a:cubicBezTo>
                    <a:pt x="160" y="147"/>
                    <a:pt x="167" y="146"/>
                    <a:pt x="170" y="144"/>
                  </a:cubicBezTo>
                  <a:cubicBezTo>
                    <a:pt x="173" y="143"/>
                    <a:pt x="180" y="137"/>
                    <a:pt x="182" y="137"/>
                  </a:cubicBezTo>
                  <a:cubicBezTo>
                    <a:pt x="184" y="137"/>
                    <a:pt x="188" y="135"/>
                    <a:pt x="191" y="134"/>
                  </a:cubicBezTo>
                  <a:cubicBezTo>
                    <a:pt x="195" y="134"/>
                    <a:pt x="206" y="129"/>
                    <a:pt x="208" y="129"/>
                  </a:cubicBezTo>
                  <a:cubicBezTo>
                    <a:pt x="210" y="128"/>
                    <a:pt x="204" y="136"/>
                    <a:pt x="204" y="137"/>
                  </a:cubicBezTo>
                  <a:cubicBezTo>
                    <a:pt x="204" y="139"/>
                    <a:pt x="207" y="140"/>
                    <a:pt x="210" y="140"/>
                  </a:cubicBezTo>
                  <a:cubicBezTo>
                    <a:pt x="213" y="139"/>
                    <a:pt x="218" y="134"/>
                    <a:pt x="220" y="134"/>
                  </a:cubicBezTo>
                  <a:cubicBezTo>
                    <a:pt x="222" y="134"/>
                    <a:pt x="224" y="136"/>
                    <a:pt x="227" y="136"/>
                  </a:cubicBezTo>
                  <a:cubicBezTo>
                    <a:pt x="229" y="135"/>
                    <a:pt x="235" y="132"/>
                    <a:pt x="238" y="131"/>
                  </a:cubicBezTo>
                  <a:cubicBezTo>
                    <a:pt x="241" y="130"/>
                    <a:pt x="243" y="130"/>
                    <a:pt x="244" y="132"/>
                  </a:cubicBezTo>
                  <a:cubicBezTo>
                    <a:pt x="245" y="133"/>
                    <a:pt x="241" y="138"/>
                    <a:pt x="244" y="138"/>
                  </a:cubicBezTo>
                  <a:cubicBezTo>
                    <a:pt x="248" y="138"/>
                    <a:pt x="250" y="137"/>
                    <a:pt x="250" y="137"/>
                  </a:cubicBezTo>
                  <a:cubicBezTo>
                    <a:pt x="251" y="136"/>
                    <a:pt x="258" y="132"/>
                    <a:pt x="256" y="129"/>
                  </a:cubicBezTo>
                  <a:cubicBezTo>
                    <a:pt x="254" y="127"/>
                    <a:pt x="253" y="124"/>
                    <a:pt x="252" y="122"/>
                  </a:cubicBezTo>
                  <a:cubicBezTo>
                    <a:pt x="250" y="120"/>
                    <a:pt x="241" y="117"/>
                    <a:pt x="240" y="115"/>
                  </a:cubicBezTo>
                  <a:cubicBezTo>
                    <a:pt x="239" y="114"/>
                    <a:pt x="239" y="112"/>
                    <a:pt x="241" y="111"/>
                  </a:cubicBezTo>
                  <a:cubicBezTo>
                    <a:pt x="243" y="110"/>
                    <a:pt x="245" y="111"/>
                    <a:pt x="247" y="113"/>
                  </a:cubicBezTo>
                  <a:cubicBezTo>
                    <a:pt x="249" y="114"/>
                    <a:pt x="256" y="118"/>
                    <a:pt x="257" y="118"/>
                  </a:cubicBezTo>
                  <a:cubicBezTo>
                    <a:pt x="264" y="119"/>
                    <a:pt x="272" y="118"/>
                    <a:pt x="276" y="119"/>
                  </a:cubicBezTo>
                  <a:cubicBezTo>
                    <a:pt x="280" y="121"/>
                    <a:pt x="290" y="126"/>
                    <a:pt x="291" y="126"/>
                  </a:cubicBezTo>
                  <a:cubicBezTo>
                    <a:pt x="292" y="127"/>
                    <a:pt x="307" y="134"/>
                    <a:pt x="308" y="135"/>
                  </a:cubicBezTo>
                  <a:cubicBezTo>
                    <a:pt x="309" y="136"/>
                    <a:pt x="311" y="141"/>
                    <a:pt x="313" y="141"/>
                  </a:cubicBezTo>
                  <a:cubicBezTo>
                    <a:pt x="316" y="141"/>
                    <a:pt x="318" y="133"/>
                    <a:pt x="319" y="131"/>
                  </a:cubicBezTo>
                  <a:cubicBezTo>
                    <a:pt x="320" y="129"/>
                    <a:pt x="314" y="129"/>
                    <a:pt x="313" y="127"/>
                  </a:cubicBezTo>
                  <a:cubicBezTo>
                    <a:pt x="313" y="125"/>
                    <a:pt x="310" y="122"/>
                    <a:pt x="309" y="122"/>
                  </a:cubicBezTo>
                  <a:cubicBezTo>
                    <a:pt x="308" y="121"/>
                    <a:pt x="303" y="121"/>
                    <a:pt x="302" y="121"/>
                  </a:cubicBezTo>
                  <a:cubicBezTo>
                    <a:pt x="302" y="120"/>
                    <a:pt x="303" y="117"/>
                    <a:pt x="303" y="116"/>
                  </a:cubicBezTo>
                  <a:cubicBezTo>
                    <a:pt x="303" y="114"/>
                    <a:pt x="308" y="106"/>
                    <a:pt x="307" y="105"/>
                  </a:cubicBezTo>
                  <a:cubicBezTo>
                    <a:pt x="305" y="104"/>
                    <a:pt x="300" y="107"/>
                    <a:pt x="299" y="104"/>
                  </a:cubicBezTo>
                  <a:cubicBezTo>
                    <a:pt x="299" y="101"/>
                    <a:pt x="301" y="98"/>
                    <a:pt x="303" y="98"/>
                  </a:cubicBezTo>
                  <a:cubicBezTo>
                    <a:pt x="304" y="97"/>
                    <a:pt x="312" y="95"/>
                    <a:pt x="313" y="93"/>
                  </a:cubicBezTo>
                  <a:cubicBezTo>
                    <a:pt x="313" y="91"/>
                    <a:pt x="319" y="75"/>
                    <a:pt x="321" y="74"/>
                  </a:cubicBezTo>
                  <a:cubicBezTo>
                    <a:pt x="322" y="74"/>
                    <a:pt x="334" y="76"/>
                    <a:pt x="336" y="76"/>
                  </a:cubicBezTo>
                  <a:cubicBezTo>
                    <a:pt x="339" y="76"/>
                    <a:pt x="347" y="78"/>
                    <a:pt x="347" y="79"/>
                  </a:cubicBezTo>
                  <a:cubicBezTo>
                    <a:pt x="348" y="81"/>
                    <a:pt x="348" y="84"/>
                    <a:pt x="346" y="86"/>
                  </a:cubicBezTo>
                  <a:cubicBezTo>
                    <a:pt x="345" y="88"/>
                    <a:pt x="340" y="93"/>
                    <a:pt x="340" y="95"/>
                  </a:cubicBezTo>
                  <a:cubicBezTo>
                    <a:pt x="340" y="97"/>
                    <a:pt x="346" y="99"/>
                    <a:pt x="346" y="102"/>
                  </a:cubicBezTo>
                  <a:cubicBezTo>
                    <a:pt x="347" y="104"/>
                    <a:pt x="347" y="110"/>
                    <a:pt x="346" y="111"/>
                  </a:cubicBezTo>
                  <a:cubicBezTo>
                    <a:pt x="345" y="113"/>
                    <a:pt x="343" y="112"/>
                    <a:pt x="344" y="115"/>
                  </a:cubicBezTo>
                  <a:cubicBezTo>
                    <a:pt x="345" y="117"/>
                    <a:pt x="346" y="119"/>
                    <a:pt x="346" y="121"/>
                  </a:cubicBezTo>
                  <a:cubicBezTo>
                    <a:pt x="346" y="123"/>
                    <a:pt x="344" y="127"/>
                    <a:pt x="345" y="130"/>
                  </a:cubicBezTo>
                  <a:cubicBezTo>
                    <a:pt x="346" y="132"/>
                    <a:pt x="354" y="135"/>
                    <a:pt x="353" y="137"/>
                  </a:cubicBezTo>
                  <a:cubicBezTo>
                    <a:pt x="352" y="138"/>
                    <a:pt x="347" y="139"/>
                    <a:pt x="348" y="142"/>
                  </a:cubicBezTo>
                  <a:cubicBezTo>
                    <a:pt x="349" y="144"/>
                    <a:pt x="350" y="147"/>
                    <a:pt x="349" y="147"/>
                  </a:cubicBezTo>
                  <a:cubicBezTo>
                    <a:pt x="349" y="148"/>
                    <a:pt x="342" y="153"/>
                    <a:pt x="340" y="155"/>
                  </a:cubicBezTo>
                  <a:cubicBezTo>
                    <a:pt x="339" y="157"/>
                    <a:pt x="330" y="160"/>
                    <a:pt x="328" y="159"/>
                  </a:cubicBezTo>
                  <a:cubicBezTo>
                    <a:pt x="326" y="158"/>
                    <a:pt x="320" y="156"/>
                    <a:pt x="319" y="158"/>
                  </a:cubicBezTo>
                  <a:cubicBezTo>
                    <a:pt x="318" y="160"/>
                    <a:pt x="322" y="163"/>
                    <a:pt x="325" y="164"/>
                  </a:cubicBezTo>
                  <a:cubicBezTo>
                    <a:pt x="328" y="165"/>
                    <a:pt x="341" y="166"/>
                    <a:pt x="343" y="166"/>
                  </a:cubicBezTo>
                  <a:cubicBezTo>
                    <a:pt x="345" y="166"/>
                    <a:pt x="344" y="160"/>
                    <a:pt x="347" y="160"/>
                  </a:cubicBezTo>
                  <a:cubicBezTo>
                    <a:pt x="349" y="160"/>
                    <a:pt x="354" y="159"/>
                    <a:pt x="355" y="158"/>
                  </a:cubicBezTo>
                  <a:cubicBezTo>
                    <a:pt x="357" y="157"/>
                    <a:pt x="355" y="152"/>
                    <a:pt x="356" y="151"/>
                  </a:cubicBezTo>
                  <a:cubicBezTo>
                    <a:pt x="357" y="150"/>
                    <a:pt x="362" y="150"/>
                    <a:pt x="362" y="147"/>
                  </a:cubicBezTo>
                  <a:cubicBezTo>
                    <a:pt x="362" y="144"/>
                    <a:pt x="363" y="141"/>
                    <a:pt x="362" y="140"/>
                  </a:cubicBezTo>
                  <a:cubicBezTo>
                    <a:pt x="361" y="139"/>
                    <a:pt x="360" y="137"/>
                    <a:pt x="360" y="136"/>
                  </a:cubicBezTo>
                  <a:cubicBezTo>
                    <a:pt x="361" y="134"/>
                    <a:pt x="363" y="132"/>
                    <a:pt x="363" y="132"/>
                  </a:cubicBezTo>
                  <a:cubicBezTo>
                    <a:pt x="363" y="132"/>
                    <a:pt x="374" y="130"/>
                    <a:pt x="376" y="130"/>
                  </a:cubicBezTo>
                  <a:cubicBezTo>
                    <a:pt x="377" y="131"/>
                    <a:pt x="381" y="136"/>
                    <a:pt x="381" y="137"/>
                  </a:cubicBezTo>
                  <a:cubicBezTo>
                    <a:pt x="381" y="138"/>
                    <a:pt x="379" y="144"/>
                    <a:pt x="380" y="146"/>
                  </a:cubicBezTo>
                  <a:cubicBezTo>
                    <a:pt x="382" y="148"/>
                    <a:pt x="385" y="150"/>
                    <a:pt x="386" y="150"/>
                  </a:cubicBezTo>
                  <a:cubicBezTo>
                    <a:pt x="386" y="150"/>
                    <a:pt x="389" y="148"/>
                    <a:pt x="390" y="148"/>
                  </a:cubicBezTo>
                  <a:cubicBezTo>
                    <a:pt x="391" y="148"/>
                    <a:pt x="386" y="145"/>
                    <a:pt x="386" y="144"/>
                  </a:cubicBezTo>
                  <a:cubicBezTo>
                    <a:pt x="385" y="143"/>
                    <a:pt x="385" y="141"/>
                    <a:pt x="387" y="141"/>
                  </a:cubicBezTo>
                  <a:cubicBezTo>
                    <a:pt x="389" y="141"/>
                    <a:pt x="389" y="139"/>
                    <a:pt x="388" y="137"/>
                  </a:cubicBezTo>
                  <a:cubicBezTo>
                    <a:pt x="387" y="136"/>
                    <a:pt x="385" y="132"/>
                    <a:pt x="385" y="130"/>
                  </a:cubicBezTo>
                  <a:cubicBezTo>
                    <a:pt x="384" y="128"/>
                    <a:pt x="379" y="127"/>
                    <a:pt x="377" y="126"/>
                  </a:cubicBezTo>
                  <a:cubicBezTo>
                    <a:pt x="375" y="125"/>
                    <a:pt x="372" y="124"/>
                    <a:pt x="368" y="125"/>
                  </a:cubicBezTo>
                  <a:cubicBezTo>
                    <a:pt x="364" y="126"/>
                    <a:pt x="359" y="128"/>
                    <a:pt x="357" y="127"/>
                  </a:cubicBezTo>
                  <a:cubicBezTo>
                    <a:pt x="355" y="127"/>
                    <a:pt x="357" y="124"/>
                    <a:pt x="356" y="122"/>
                  </a:cubicBezTo>
                  <a:cubicBezTo>
                    <a:pt x="355" y="120"/>
                    <a:pt x="354" y="116"/>
                    <a:pt x="356" y="114"/>
                  </a:cubicBezTo>
                  <a:cubicBezTo>
                    <a:pt x="358" y="113"/>
                    <a:pt x="362" y="110"/>
                    <a:pt x="361" y="107"/>
                  </a:cubicBezTo>
                  <a:cubicBezTo>
                    <a:pt x="360" y="104"/>
                    <a:pt x="351" y="98"/>
                    <a:pt x="351" y="96"/>
                  </a:cubicBezTo>
                  <a:cubicBezTo>
                    <a:pt x="351" y="94"/>
                    <a:pt x="354" y="91"/>
                    <a:pt x="354" y="91"/>
                  </a:cubicBezTo>
                  <a:cubicBezTo>
                    <a:pt x="354" y="91"/>
                    <a:pt x="363" y="89"/>
                    <a:pt x="363" y="88"/>
                  </a:cubicBezTo>
                  <a:cubicBezTo>
                    <a:pt x="363" y="87"/>
                    <a:pt x="366" y="82"/>
                    <a:pt x="363" y="79"/>
                  </a:cubicBezTo>
                  <a:cubicBezTo>
                    <a:pt x="361" y="76"/>
                    <a:pt x="357" y="75"/>
                    <a:pt x="358" y="73"/>
                  </a:cubicBezTo>
                  <a:cubicBezTo>
                    <a:pt x="359" y="72"/>
                    <a:pt x="363" y="73"/>
                    <a:pt x="365" y="73"/>
                  </a:cubicBezTo>
                  <a:cubicBezTo>
                    <a:pt x="366" y="74"/>
                    <a:pt x="371" y="79"/>
                    <a:pt x="371" y="81"/>
                  </a:cubicBezTo>
                  <a:cubicBezTo>
                    <a:pt x="371" y="83"/>
                    <a:pt x="368" y="90"/>
                    <a:pt x="368" y="92"/>
                  </a:cubicBezTo>
                  <a:cubicBezTo>
                    <a:pt x="367" y="94"/>
                    <a:pt x="366" y="96"/>
                    <a:pt x="368" y="98"/>
                  </a:cubicBezTo>
                  <a:cubicBezTo>
                    <a:pt x="370" y="100"/>
                    <a:pt x="375" y="101"/>
                    <a:pt x="377" y="101"/>
                  </a:cubicBezTo>
                  <a:cubicBezTo>
                    <a:pt x="380" y="101"/>
                    <a:pt x="382" y="101"/>
                    <a:pt x="384" y="101"/>
                  </a:cubicBezTo>
                  <a:cubicBezTo>
                    <a:pt x="385" y="102"/>
                    <a:pt x="389" y="105"/>
                    <a:pt x="390" y="104"/>
                  </a:cubicBezTo>
                  <a:cubicBezTo>
                    <a:pt x="391" y="103"/>
                    <a:pt x="390" y="100"/>
                    <a:pt x="390" y="99"/>
                  </a:cubicBezTo>
                  <a:cubicBezTo>
                    <a:pt x="389" y="97"/>
                    <a:pt x="388" y="97"/>
                    <a:pt x="386" y="97"/>
                  </a:cubicBezTo>
                  <a:cubicBezTo>
                    <a:pt x="385" y="97"/>
                    <a:pt x="380" y="96"/>
                    <a:pt x="378" y="95"/>
                  </a:cubicBezTo>
                  <a:cubicBezTo>
                    <a:pt x="376" y="93"/>
                    <a:pt x="373" y="92"/>
                    <a:pt x="373" y="90"/>
                  </a:cubicBezTo>
                  <a:cubicBezTo>
                    <a:pt x="374" y="89"/>
                    <a:pt x="377" y="88"/>
                    <a:pt x="378" y="88"/>
                  </a:cubicBezTo>
                  <a:cubicBezTo>
                    <a:pt x="379" y="88"/>
                    <a:pt x="382" y="91"/>
                    <a:pt x="384" y="91"/>
                  </a:cubicBezTo>
                  <a:cubicBezTo>
                    <a:pt x="386" y="91"/>
                    <a:pt x="389" y="91"/>
                    <a:pt x="389" y="89"/>
                  </a:cubicBezTo>
                  <a:cubicBezTo>
                    <a:pt x="389" y="87"/>
                    <a:pt x="386" y="84"/>
                    <a:pt x="384" y="84"/>
                  </a:cubicBezTo>
                  <a:cubicBezTo>
                    <a:pt x="381" y="84"/>
                    <a:pt x="379" y="83"/>
                    <a:pt x="379" y="82"/>
                  </a:cubicBezTo>
                  <a:cubicBezTo>
                    <a:pt x="379" y="81"/>
                    <a:pt x="384" y="80"/>
                    <a:pt x="385" y="80"/>
                  </a:cubicBezTo>
                  <a:cubicBezTo>
                    <a:pt x="386" y="79"/>
                    <a:pt x="389" y="80"/>
                    <a:pt x="390" y="81"/>
                  </a:cubicBezTo>
                  <a:cubicBezTo>
                    <a:pt x="391" y="83"/>
                    <a:pt x="394" y="84"/>
                    <a:pt x="395" y="84"/>
                  </a:cubicBezTo>
                  <a:cubicBezTo>
                    <a:pt x="398" y="83"/>
                    <a:pt x="403" y="86"/>
                    <a:pt x="404" y="86"/>
                  </a:cubicBezTo>
                  <a:cubicBezTo>
                    <a:pt x="406" y="86"/>
                    <a:pt x="411" y="92"/>
                    <a:pt x="414" y="92"/>
                  </a:cubicBezTo>
                  <a:cubicBezTo>
                    <a:pt x="417" y="93"/>
                    <a:pt x="424" y="92"/>
                    <a:pt x="424" y="93"/>
                  </a:cubicBezTo>
                  <a:cubicBezTo>
                    <a:pt x="425" y="97"/>
                    <a:pt x="419" y="96"/>
                    <a:pt x="419" y="98"/>
                  </a:cubicBezTo>
                  <a:cubicBezTo>
                    <a:pt x="419" y="100"/>
                    <a:pt x="418" y="101"/>
                    <a:pt x="420" y="103"/>
                  </a:cubicBezTo>
                  <a:cubicBezTo>
                    <a:pt x="422" y="104"/>
                    <a:pt x="420" y="106"/>
                    <a:pt x="419" y="108"/>
                  </a:cubicBezTo>
                  <a:cubicBezTo>
                    <a:pt x="418" y="110"/>
                    <a:pt x="417" y="111"/>
                    <a:pt x="420" y="113"/>
                  </a:cubicBezTo>
                  <a:cubicBezTo>
                    <a:pt x="422" y="115"/>
                    <a:pt x="429" y="119"/>
                    <a:pt x="430" y="119"/>
                  </a:cubicBezTo>
                  <a:cubicBezTo>
                    <a:pt x="432" y="120"/>
                    <a:pt x="434" y="121"/>
                    <a:pt x="435" y="120"/>
                  </a:cubicBezTo>
                  <a:cubicBezTo>
                    <a:pt x="435" y="119"/>
                    <a:pt x="427" y="113"/>
                    <a:pt x="427" y="112"/>
                  </a:cubicBezTo>
                  <a:cubicBezTo>
                    <a:pt x="427" y="110"/>
                    <a:pt x="432" y="110"/>
                    <a:pt x="431" y="108"/>
                  </a:cubicBezTo>
                  <a:cubicBezTo>
                    <a:pt x="430" y="105"/>
                    <a:pt x="428" y="101"/>
                    <a:pt x="428" y="99"/>
                  </a:cubicBezTo>
                  <a:cubicBezTo>
                    <a:pt x="429" y="97"/>
                    <a:pt x="432" y="95"/>
                    <a:pt x="431" y="92"/>
                  </a:cubicBezTo>
                  <a:cubicBezTo>
                    <a:pt x="429" y="90"/>
                    <a:pt x="426" y="88"/>
                    <a:pt x="424" y="87"/>
                  </a:cubicBezTo>
                  <a:cubicBezTo>
                    <a:pt x="422" y="85"/>
                    <a:pt x="413" y="82"/>
                    <a:pt x="410" y="82"/>
                  </a:cubicBezTo>
                  <a:cubicBezTo>
                    <a:pt x="408" y="82"/>
                    <a:pt x="411" y="76"/>
                    <a:pt x="410" y="74"/>
                  </a:cubicBezTo>
                  <a:cubicBezTo>
                    <a:pt x="408" y="72"/>
                    <a:pt x="404" y="68"/>
                    <a:pt x="405" y="67"/>
                  </a:cubicBezTo>
                  <a:cubicBezTo>
                    <a:pt x="407" y="66"/>
                    <a:pt x="411" y="65"/>
                    <a:pt x="414" y="65"/>
                  </a:cubicBezTo>
                  <a:cubicBezTo>
                    <a:pt x="417" y="65"/>
                    <a:pt x="438" y="63"/>
                    <a:pt x="441" y="63"/>
                  </a:cubicBezTo>
                  <a:cubicBezTo>
                    <a:pt x="443" y="63"/>
                    <a:pt x="455" y="63"/>
                    <a:pt x="455" y="60"/>
                  </a:cubicBezTo>
                  <a:cubicBezTo>
                    <a:pt x="455" y="58"/>
                    <a:pt x="455" y="56"/>
                    <a:pt x="454" y="55"/>
                  </a:cubicBezTo>
                  <a:cubicBezTo>
                    <a:pt x="452" y="54"/>
                    <a:pt x="448" y="55"/>
                    <a:pt x="448" y="53"/>
                  </a:cubicBezTo>
                  <a:cubicBezTo>
                    <a:pt x="448" y="51"/>
                    <a:pt x="440" y="53"/>
                    <a:pt x="440" y="51"/>
                  </a:cubicBezTo>
                  <a:cubicBezTo>
                    <a:pt x="441" y="49"/>
                    <a:pt x="449" y="49"/>
                    <a:pt x="451" y="48"/>
                  </a:cubicBezTo>
                  <a:cubicBezTo>
                    <a:pt x="453" y="48"/>
                    <a:pt x="455" y="45"/>
                    <a:pt x="457" y="45"/>
                  </a:cubicBezTo>
                  <a:cubicBezTo>
                    <a:pt x="460" y="44"/>
                    <a:pt x="467" y="38"/>
                    <a:pt x="471" y="37"/>
                  </a:cubicBezTo>
                  <a:cubicBezTo>
                    <a:pt x="476" y="36"/>
                    <a:pt x="495" y="32"/>
                    <a:pt x="497" y="32"/>
                  </a:cubicBezTo>
                  <a:cubicBezTo>
                    <a:pt x="499" y="32"/>
                    <a:pt x="502" y="27"/>
                    <a:pt x="503" y="27"/>
                  </a:cubicBezTo>
                  <a:cubicBezTo>
                    <a:pt x="504" y="26"/>
                    <a:pt x="514" y="26"/>
                    <a:pt x="518" y="25"/>
                  </a:cubicBezTo>
                  <a:cubicBezTo>
                    <a:pt x="521" y="25"/>
                    <a:pt x="533" y="21"/>
                    <a:pt x="533" y="23"/>
                  </a:cubicBezTo>
                  <a:cubicBezTo>
                    <a:pt x="533" y="25"/>
                    <a:pt x="530" y="27"/>
                    <a:pt x="531" y="28"/>
                  </a:cubicBezTo>
                  <a:cubicBezTo>
                    <a:pt x="531" y="29"/>
                    <a:pt x="545" y="25"/>
                    <a:pt x="548" y="25"/>
                  </a:cubicBezTo>
                  <a:cubicBezTo>
                    <a:pt x="551" y="25"/>
                    <a:pt x="546" y="20"/>
                    <a:pt x="547" y="20"/>
                  </a:cubicBezTo>
                  <a:cubicBezTo>
                    <a:pt x="548" y="20"/>
                    <a:pt x="560" y="21"/>
                    <a:pt x="562" y="20"/>
                  </a:cubicBezTo>
                  <a:cubicBezTo>
                    <a:pt x="563" y="19"/>
                    <a:pt x="565" y="18"/>
                    <a:pt x="565" y="16"/>
                  </a:cubicBezTo>
                  <a:cubicBezTo>
                    <a:pt x="565" y="15"/>
                    <a:pt x="562" y="13"/>
                    <a:pt x="563" y="12"/>
                  </a:cubicBezTo>
                  <a:cubicBezTo>
                    <a:pt x="565" y="11"/>
                    <a:pt x="574" y="5"/>
                    <a:pt x="576" y="3"/>
                  </a:cubicBezTo>
                  <a:cubicBezTo>
                    <a:pt x="578" y="2"/>
                    <a:pt x="586" y="0"/>
                    <a:pt x="589" y="0"/>
                  </a:cubicBezTo>
                  <a:cubicBezTo>
                    <a:pt x="591" y="0"/>
                    <a:pt x="600" y="2"/>
                    <a:pt x="601" y="4"/>
                  </a:cubicBezTo>
                  <a:cubicBezTo>
                    <a:pt x="602" y="5"/>
                    <a:pt x="602" y="6"/>
                    <a:pt x="602" y="7"/>
                  </a:cubicBezTo>
                  <a:cubicBezTo>
                    <a:pt x="602" y="8"/>
                    <a:pt x="589" y="10"/>
                    <a:pt x="589" y="11"/>
                  </a:cubicBezTo>
                  <a:cubicBezTo>
                    <a:pt x="590" y="13"/>
                    <a:pt x="598" y="13"/>
                    <a:pt x="601" y="13"/>
                  </a:cubicBezTo>
                  <a:cubicBezTo>
                    <a:pt x="604" y="12"/>
                    <a:pt x="612" y="11"/>
                    <a:pt x="612" y="13"/>
                  </a:cubicBezTo>
                  <a:cubicBezTo>
                    <a:pt x="612" y="15"/>
                    <a:pt x="603" y="19"/>
                    <a:pt x="607" y="19"/>
                  </a:cubicBezTo>
                  <a:cubicBezTo>
                    <a:pt x="610" y="20"/>
                    <a:pt x="615" y="19"/>
                    <a:pt x="616" y="19"/>
                  </a:cubicBezTo>
                  <a:cubicBezTo>
                    <a:pt x="618" y="19"/>
                    <a:pt x="617" y="15"/>
                    <a:pt x="619" y="15"/>
                  </a:cubicBezTo>
                  <a:cubicBezTo>
                    <a:pt x="620" y="15"/>
                    <a:pt x="630" y="15"/>
                    <a:pt x="635" y="15"/>
                  </a:cubicBezTo>
                  <a:cubicBezTo>
                    <a:pt x="639" y="15"/>
                    <a:pt x="643" y="16"/>
                    <a:pt x="648" y="18"/>
                  </a:cubicBezTo>
                  <a:cubicBezTo>
                    <a:pt x="653" y="20"/>
                    <a:pt x="656" y="23"/>
                    <a:pt x="658" y="25"/>
                  </a:cubicBezTo>
                  <a:cubicBezTo>
                    <a:pt x="660" y="28"/>
                    <a:pt x="662" y="28"/>
                    <a:pt x="662" y="30"/>
                  </a:cubicBezTo>
                  <a:cubicBezTo>
                    <a:pt x="662" y="32"/>
                    <a:pt x="657" y="32"/>
                    <a:pt x="657" y="33"/>
                  </a:cubicBezTo>
                  <a:cubicBezTo>
                    <a:pt x="657" y="34"/>
                    <a:pt x="662" y="35"/>
                    <a:pt x="660" y="38"/>
                  </a:cubicBezTo>
                  <a:cubicBezTo>
                    <a:pt x="658" y="41"/>
                    <a:pt x="648" y="46"/>
                    <a:pt x="647" y="46"/>
                  </a:cubicBezTo>
                  <a:cubicBezTo>
                    <a:pt x="645" y="46"/>
                    <a:pt x="634" y="51"/>
                    <a:pt x="632" y="53"/>
                  </a:cubicBezTo>
                  <a:cubicBezTo>
                    <a:pt x="630" y="54"/>
                    <a:pt x="623" y="60"/>
                    <a:pt x="621" y="61"/>
                  </a:cubicBezTo>
                  <a:cubicBezTo>
                    <a:pt x="620" y="61"/>
                    <a:pt x="611" y="62"/>
                    <a:pt x="608" y="63"/>
                  </a:cubicBezTo>
                  <a:cubicBezTo>
                    <a:pt x="605" y="65"/>
                    <a:pt x="604" y="69"/>
                    <a:pt x="603" y="70"/>
                  </a:cubicBezTo>
                  <a:cubicBezTo>
                    <a:pt x="602" y="70"/>
                    <a:pt x="599" y="75"/>
                    <a:pt x="601" y="75"/>
                  </a:cubicBezTo>
                  <a:cubicBezTo>
                    <a:pt x="603" y="76"/>
                    <a:pt x="608" y="71"/>
                    <a:pt x="611" y="71"/>
                  </a:cubicBezTo>
                  <a:cubicBezTo>
                    <a:pt x="613" y="71"/>
                    <a:pt x="617" y="69"/>
                    <a:pt x="620" y="69"/>
                  </a:cubicBezTo>
                  <a:cubicBezTo>
                    <a:pt x="624" y="69"/>
                    <a:pt x="634" y="68"/>
                    <a:pt x="634" y="66"/>
                  </a:cubicBezTo>
                  <a:cubicBezTo>
                    <a:pt x="634" y="64"/>
                    <a:pt x="628" y="64"/>
                    <a:pt x="628" y="63"/>
                  </a:cubicBezTo>
                  <a:cubicBezTo>
                    <a:pt x="629" y="62"/>
                    <a:pt x="633" y="59"/>
                    <a:pt x="634" y="59"/>
                  </a:cubicBezTo>
                  <a:cubicBezTo>
                    <a:pt x="635" y="59"/>
                    <a:pt x="640" y="62"/>
                    <a:pt x="643" y="62"/>
                  </a:cubicBezTo>
                  <a:cubicBezTo>
                    <a:pt x="647" y="63"/>
                    <a:pt x="653" y="63"/>
                    <a:pt x="653" y="62"/>
                  </a:cubicBezTo>
                  <a:cubicBezTo>
                    <a:pt x="653" y="61"/>
                    <a:pt x="653" y="60"/>
                    <a:pt x="654" y="59"/>
                  </a:cubicBezTo>
                  <a:cubicBezTo>
                    <a:pt x="655" y="59"/>
                    <a:pt x="658" y="63"/>
                    <a:pt x="659" y="64"/>
                  </a:cubicBezTo>
                  <a:cubicBezTo>
                    <a:pt x="660" y="65"/>
                    <a:pt x="666" y="65"/>
                    <a:pt x="668" y="65"/>
                  </a:cubicBezTo>
                  <a:cubicBezTo>
                    <a:pt x="670" y="64"/>
                    <a:pt x="675" y="63"/>
                    <a:pt x="678" y="63"/>
                  </a:cubicBezTo>
                  <a:cubicBezTo>
                    <a:pt x="681" y="63"/>
                    <a:pt x="700" y="65"/>
                    <a:pt x="700" y="66"/>
                  </a:cubicBezTo>
                  <a:cubicBezTo>
                    <a:pt x="701" y="67"/>
                    <a:pt x="696" y="69"/>
                    <a:pt x="697" y="70"/>
                  </a:cubicBezTo>
                  <a:cubicBezTo>
                    <a:pt x="699" y="71"/>
                    <a:pt x="705" y="71"/>
                    <a:pt x="709" y="72"/>
                  </a:cubicBezTo>
                  <a:cubicBezTo>
                    <a:pt x="713" y="73"/>
                    <a:pt x="733" y="76"/>
                    <a:pt x="734" y="74"/>
                  </a:cubicBezTo>
                  <a:cubicBezTo>
                    <a:pt x="735" y="73"/>
                    <a:pt x="731" y="68"/>
                    <a:pt x="733" y="66"/>
                  </a:cubicBezTo>
                  <a:cubicBezTo>
                    <a:pt x="734" y="65"/>
                    <a:pt x="738" y="61"/>
                    <a:pt x="741" y="61"/>
                  </a:cubicBezTo>
                  <a:cubicBezTo>
                    <a:pt x="744" y="60"/>
                    <a:pt x="745" y="62"/>
                    <a:pt x="749" y="64"/>
                  </a:cubicBezTo>
                  <a:cubicBezTo>
                    <a:pt x="753" y="65"/>
                    <a:pt x="760" y="68"/>
                    <a:pt x="761" y="67"/>
                  </a:cubicBezTo>
                  <a:cubicBezTo>
                    <a:pt x="761" y="66"/>
                    <a:pt x="763" y="64"/>
                    <a:pt x="765" y="65"/>
                  </a:cubicBezTo>
                  <a:cubicBezTo>
                    <a:pt x="768" y="65"/>
                    <a:pt x="771" y="67"/>
                    <a:pt x="774" y="69"/>
                  </a:cubicBezTo>
                  <a:cubicBezTo>
                    <a:pt x="777" y="70"/>
                    <a:pt x="781" y="73"/>
                    <a:pt x="781" y="74"/>
                  </a:cubicBezTo>
                  <a:cubicBezTo>
                    <a:pt x="781" y="75"/>
                    <a:pt x="782" y="80"/>
                    <a:pt x="779" y="80"/>
                  </a:cubicBezTo>
                  <a:cubicBezTo>
                    <a:pt x="776" y="80"/>
                    <a:pt x="781" y="82"/>
                    <a:pt x="781" y="84"/>
                  </a:cubicBezTo>
                  <a:cubicBezTo>
                    <a:pt x="781" y="86"/>
                    <a:pt x="775" y="88"/>
                    <a:pt x="775" y="89"/>
                  </a:cubicBezTo>
                  <a:cubicBezTo>
                    <a:pt x="775" y="90"/>
                    <a:pt x="777" y="93"/>
                    <a:pt x="779" y="94"/>
                  </a:cubicBezTo>
                  <a:cubicBezTo>
                    <a:pt x="780" y="95"/>
                    <a:pt x="783" y="100"/>
                    <a:pt x="785" y="101"/>
                  </a:cubicBezTo>
                  <a:cubicBezTo>
                    <a:pt x="787" y="101"/>
                    <a:pt x="791" y="103"/>
                    <a:pt x="792" y="103"/>
                  </a:cubicBezTo>
                  <a:cubicBezTo>
                    <a:pt x="793" y="103"/>
                    <a:pt x="791" y="106"/>
                    <a:pt x="795" y="105"/>
                  </a:cubicBezTo>
                  <a:cubicBezTo>
                    <a:pt x="798" y="105"/>
                    <a:pt x="799" y="100"/>
                    <a:pt x="800" y="98"/>
                  </a:cubicBezTo>
                  <a:cubicBezTo>
                    <a:pt x="801" y="96"/>
                    <a:pt x="804" y="88"/>
                    <a:pt x="806" y="88"/>
                  </a:cubicBezTo>
                  <a:cubicBezTo>
                    <a:pt x="808" y="88"/>
                    <a:pt x="806" y="92"/>
                    <a:pt x="808" y="94"/>
                  </a:cubicBezTo>
                  <a:cubicBezTo>
                    <a:pt x="810" y="95"/>
                    <a:pt x="816" y="97"/>
                    <a:pt x="819" y="96"/>
                  </a:cubicBezTo>
                  <a:cubicBezTo>
                    <a:pt x="822" y="96"/>
                    <a:pt x="824" y="93"/>
                    <a:pt x="827" y="93"/>
                  </a:cubicBezTo>
                  <a:cubicBezTo>
                    <a:pt x="830" y="93"/>
                    <a:pt x="834" y="94"/>
                    <a:pt x="838" y="95"/>
                  </a:cubicBezTo>
                  <a:cubicBezTo>
                    <a:pt x="842" y="96"/>
                    <a:pt x="844" y="100"/>
                    <a:pt x="846" y="99"/>
                  </a:cubicBezTo>
                  <a:cubicBezTo>
                    <a:pt x="847" y="98"/>
                    <a:pt x="847" y="93"/>
                    <a:pt x="848" y="93"/>
                  </a:cubicBezTo>
                  <a:cubicBezTo>
                    <a:pt x="849" y="93"/>
                    <a:pt x="854" y="93"/>
                    <a:pt x="854" y="94"/>
                  </a:cubicBezTo>
                  <a:cubicBezTo>
                    <a:pt x="855" y="95"/>
                    <a:pt x="854" y="96"/>
                    <a:pt x="856" y="96"/>
                  </a:cubicBezTo>
                  <a:cubicBezTo>
                    <a:pt x="858" y="96"/>
                    <a:pt x="860" y="96"/>
                    <a:pt x="861" y="95"/>
                  </a:cubicBezTo>
                  <a:cubicBezTo>
                    <a:pt x="862" y="94"/>
                    <a:pt x="859" y="91"/>
                    <a:pt x="860" y="89"/>
                  </a:cubicBezTo>
                  <a:cubicBezTo>
                    <a:pt x="860" y="88"/>
                    <a:pt x="862" y="87"/>
                    <a:pt x="862" y="86"/>
                  </a:cubicBezTo>
                  <a:cubicBezTo>
                    <a:pt x="862" y="85"/>
                    <a:pt x="854" y="85"/>
                    <a:pt x="854" y="84"/>
                  </a:cubicBezTo>
                  <a:cubicBezTo>
                    <a:pt x="854" y="83"/>
                    <a:pt x="859" y="81"/>
                    <a:pt x="859" y="81"/>
                  </a:cubicBezTo>
                  <a:cubicBezTo>
                    <a:pt x="859" y="81"/>
                    <a:pt x="861" y="80"/>
                    <a:pt x="862" y="80"/>
                  </a:cubicBezTo>
                  <a:cubicBezTo>
                    <a:pt x="863" y="80"/>
                    <a:pt x="868" y="81"/>
                    <a:pt x="869" y="81"/>
                  </a:cubicBezTo>
                  <a:cubicBezTo>
                    <a:pt x="870" y="80"/>
                    <a:pt x="866" y="75"/>
                    <a:pt x="867" y="75"/>
                  </a:cubicBezTo>
                  <a:cubicBezTo>
                    <a:pt x="868" y="74"/>
                    <a:pt x="871" y="75"/>
                    <a:pt x="872" y="75"/>
                  </a:cubicBezTo>
                  <a:cubicBezTo>
                    <a:pt x="873" y="75"/>
                    <a:pt x="877" y="78"/>
                    <a:pt x="880" y="78"/>
                  </a:cubicBezTo>
                  <a:cubicBezTo>
                    <a:pt x="883" y="78"/>
                    <a:pt x="903" y="80"/>
                    <a:pt x="906" y="80"/>
                  </a:cubicBezTo>
                  <a:cubicBezTo>
                    <a:pt x="909" y="81"/>
                    <a:pt x="912" y="83"/>
                    <a:pt x="915" y="83"/>
                  </a:cubicBezTo>
                  <a:cubicBezTo>
                    <a:pt x="918" y="83"/>
                    <a:pt x="929" y="84"/>
                    <a:pt x="931" y="84"/>
                  </a:cubicBezTo>
                  <a:cubicBezTo>
                    <a:pt x="934" y="85"/>
                    <a:pt x="938" y="88"/>
                    <a:pt x="937" y="90"/>
                  </a:cubicBezTo>
                  <a:cubicBezTo>
                    <a:pt x="937" y="91"/>
                    <a:pt x="933" y="91"/>
                    <a:pt x="934" y="93"/>
                  </a:cubicBezTo>
                  <a:cubicBezTo>
                    <a:pt x="935" y="95"/>
                    <a:pt x="942" y="95"/>
                    <a:pt x="945" y="96"/>
                  </a:cubicBezTo>
                  <a:cubicBezTo>
                    <a:pt x="947" y="98"/>
                    <a:pt x="952" y="101"/>
                    <a:pt x="953" y="102"/>
                  </a:cubicBezTo>
                  <a:cubicBezTo>
                    <a:pt x="955" y="104"/>
                    <a:pt x="960" y="105"/>
                    <a:pt x="963" y="104"/>
                  </a:cubicBezTo>
                  <a:cubicBezTo>
                    <a:pt x="967" y="104"/>
                    <a:pt x="981" y="100"/>
                    <a:pt x="986" y="101"/>
                  </a:cubicBezTo>
                  <a:cubicBezTo>
                    <a:pt x="992" y="101"/>
                    <a:pt x="1002" y="103"/>
                    <a:pt x="1005" y="103"/>
                  </a:cubicBezTo>
                  <a:cubicBezTo>
                    <a:pt x="1008" y="104"/>
                    <a:pt x="1015" y="109"/>
                    <a:pt x="1015" y="111"/>
                  </a:cubicBezTo>
                  <a:cubicBezTo>
                    <a:pt x="1015" y="113"/>
                    <a:pt x="1008" y="116"/>
                    <a:pt x="1012" y="119"/>
                  </a:cubicBezTo>
                  <a:cubicBezTo>
                    <a:pt x="1016" y="121"/>
                    <a:pt x="1019" y="121"/>
                    <a:pt x="1020" y="121"/>
                  </a:cubicBezTo>
                  <a:cubicBezTo>
                    <a:pt x="1022" y="122"/>
                    <a:pt x="1020" y="128"/>
                    <a:pt x="1023" y="127"/>
                  </a:cubicBezTo>
                  <a:cubicBezTo>
                    <a:pt x="1027" y="126"/>
                    <a:pt x="1030" y="122"/>
                    <a:pt x="1033" y="121"/>
                  </a:cubicBezTo>
                  <a:cubicBezTo>
                    <a:pt x="1037" y="121"/>
                    <a:pt x="1045" y="119"/>
                    <a:pt x="1046" y="120"/>
                  </a:cubicBezTo>
                  <a:cubicBezTo>
                    <a:pt x="1048" y="120"/>
                    <a:pt x="1064" y="123"/>
                    <a:pt x="1066" y="123"/>
                  </a:cubicBezTo>
                  <a:cubicBezTo>
                    <a:pt x="1068" y="123"/>
                    <a:pt x="1072" y="119"/>
                    <a:pt x="1074" y="118"/>
                  </a:cubicBezTo>
                  <a:cubicBezTo>
                    <a:pt x="1075" y="118"/>
                    <a:pt x="1076" y="120"/>
                    <a:pt x="1077" y="122"/>
                  </a:cubicBezTo>
                  <a:cubicBezTo>
                    <a:pt x="1078" y="123"/>
                    <a:pt x="1076" y="127"/>
                    <a:pt x="1078" y="127"/>
                  </a:cubicBezTo>
                  <a:cubicBezTo>
                    <a:pt x="1081" y="128"/>
                    <a:pt x="1085" y="127"/>
                    <a:pt x="1086" y="128"/>
                  </a:cubicBezTo>
                  <a:cubicBezTo>
                    <a:pt x="1087" y="129"/>
                    <a:pt x="1085" y="133"/>
                    <a:pt x="1088" y="133"/>
                  </a:cubicBezTo>
                  <a:cubicBezTo>
                    <a:pt x="1091" y="133"/>
                    <a:pt x="1099" y="132"/>
                    <a:pt x="1098" y="129"/>
                  </a:cubicBezTo>
                  <a:cubicBezTo>
                    <a:pt x="1097" y="126"/>
                    <a:pt x="1093" y="121"/>
                    <a:pt x="1093" y="120"/>
                  </a:cubicBezTo>
                  <a:cubicBezTo>
                    <a:pt x="1093" y="118"/>
                    <a:pt x="1092" y="115"/>
                    <a:pt x="1094" y="115"/>
                  </a:cubicBezTo>
                  <a:cubicBezTo>
                    <a:pt x="1096" y="114"/>
                    <a:pt x="1111" y="117"/>
                    <a:pt x="1116" y="118"/>
                  </a:cubicBezTo>
                  <a:cubicBezTo>
                    <a:pt x="1122" y="118"/>
                    <a:pt x="1134" y="118"/>
                    <a:pt x="1136" y="118"/>
                  </a:cubicBezTo>
                  <a:cubicBezTo>
                    <a:pt x="1139" y="118"/>
                    <a:pt x="1144" y="120"/>
                    <a:pt x="1148" y="122"/>
                  </a:cubicBezTo>
                  <a:cubicBezTo>
                    <a:pt x="1152" y="123"/>
                    <a:pt x="1161" y="125"/>
                    <a:pt x="1163" y="126"/>
                  </a:cubicBezTo>
                  <a:cubicBezTo>
                    <a:pt x="1165" y="128"/>
                    <a:pt x="1173" y="131"/>
                    <a:pt x="1175" y="133"/>
                  </a:cubicBezTo>
                  <a:cubicBezTo>
                    <a:pt x="1177" y="134"/>
                    <a:pt x="1198" y="144"/>
                    <a:pt x="1203" y="147"/>
                  </a:cubicBezTo>
                  <a:cubicBezTo>
                    <a:pt x="1208" y="151"/>
                    <a:pt x="1207" y="154"/>
                    <a:pt x="1207" y="155"/>
                  </a:cubicBezTo>
                  <a:cubicBezTo>
                    <a:pt x="1207" y="156"/>
                    <a:pt x="1206" y="160"/>
                    <a:pt x="1208" y="161"/>
                  </a:cubicBezTo>
                  <a:cubicBezTo>
                    <a:pt x="1210" y="162"/>
                    <a:pt x="1213" y="165"/>
                    <a:pt x="1214" y="163"/>
                  </a:cubicBezTo>
                  <a:cubicBezTo>
                    <a:pt x="1214" y="161"/>
                    <a:pt x="1212" y="154"/>
                    <a:pt x="1213" y="154"/>
                  </a:cubicBezTo>
                  <a:cubicBezTo>
                    <a:pt x="1214" y="154"/>
                    <a:pt x="1229" y="156"/>
                    <a:pt x="1230" y="156"/>
                  </a:cubicBezTo>
                  <a:cubicBezTo>
                    <a:pt x="1231" y="157"/>
                    <a:pt x="1246" y="165"/>
                    <a:pt x="1246" y="167"/>
                  </a:cubicBezTo>
                  <a:cubicBezTo>
                    <a:pt x="1246" y="168"/>
                    <a:pt x="1240" y="169"/>
                    <a:pt x="1240" y="170"/>
                  </a:cubicBezTo>
                  <a:cubicBezTo>
                    <a:pt x="1240" y="171"/>
                    <a:pt x="1237" y="173"/>
                    <a:pt x="1234" y="174"/>
                  </a:cubicBezTo>
                  <a:cubicBezTo>
                    <a:pt x="1232" y="175"/>
                    <a:pt x="1225" y="172"/>
                    <a:pt x="1225" y="173"/>
                  </a:cubicBezTo>
                  <a:cubicBezTo>
                    <a:pt x="1225" y="175"/>
                    <a:pt x="1228" y="180"/>
                    <a:pt x="1227" y="181"/>
                  </a:cubicBezTo>
                  <a:cubicBezTo>
                    <a:pt x="1226" y="182"/>
                    <a:pt x="1221" y="183"/>
                    <a:pt x="1221" y="185"/>
                  </a:cubicBezTo>
                  <a:cubicBezTo>
                    <a:pt x="1221" y="187"/>
                    <a:pt x="1224" y="191"/>
                    <a:pt x="1221" y="191"/>
                  </a:cubicBezTo>
                  <a:cubicBezTo>
                    <a:pt x="1218" y="191"/>
                    <a:pt x="1213" y="189"/>
                    <a:pt x="1210" y="187"/>
                  </a:cubicBezTo>
                  <a:cubicBezTo>
                    <a:pt x="1207" y="185"/>
                    <a:pt x="1199" y="183"/>
                    <a:pt x="1199" y="181"/>
                  </a:cubicBezTo>
                  <a:cubicBezTo>
                    <a:pt x="1199" y="179"/>
                    <a:pt x="1198" y="174"/>
                    <a:pt x="1197" y="174"/>
                  </a:cubicBezTo>
                  <a:cubicBezTo>
                    <a:pt x="1196" y="173"/>
                    <a:pt x="1190" y="173"/>
                    <a:pt x="1189" y="173"/>
                  </a:cubicBezTo>
                  <a:cubicBezTo>
                    <a:pt x="1187" y="173"/>
                    <a:pt x="1186" y="176"/>
                    <a:pt x="1183" y="176"/>
                  </a:cubicBezTo>
                  <a:cubicBezTo>
                    <a:pt x="1179" y="175"/>
                    <a:pt x="1178" y="175"/>
                    <a:pt x="1178" y="173"/>
                  </a:cubicBezTo>
                  <a:cubicBezTo>
                    <a:pt x="1178" y="172"/>
                    <a:pt x="1179" y="166"/>
                    <a:pt x="1178" y="164"/>
                  </a:cubicBezTo>
                  <a:cubicBezTo>
                    <a:pt x="1178" y="163"/>
                    <a:pt x="1169" y="165"/>
                    <a:pt x="1168" y="167"/>
                  </a:cubicBezTo>
                  <a:cubicBezTo>
                    <a:pt x="1167" y="168"/>
                    <a:pt x="1165" y="170"/>
                    <a:pt x="1168" y="172"/>
                  </a:cubicBezTo>
                  <a:cubicBezTo>
                    <a:pt x="1170" y="173"/>
                    <a:pt x="1173" y="173"/>
                    <a:pt x="1172" y="175"/>
                  </a:cubicBezTo>
                  <a:cubicBezTo>
                    <a:pt x="1171" y="176"/>
                    <a:pt x="1163" y="184"/>
                    <a:pt x="1161" y="184"/>
                  </a:cubicBezTo>
                  <a:cubicBezTo>
                    <a:pt x="1158" y="184"/>
                    <a:pt x="1147" y="182"/>
                    <a:pt x="1146" y="182"/>
                  </a:cubicBezTo>
                  <a:cubicBezTo>
                    <a:pt x="1145" y="182"/>
                    <a:pt x="1138" y="181"/>
                    <a:pt x="1137" y="182"/>
                  </a:cubicBezTo>
                  <a:cubicBezTo>
                    <a:pt x="1137" y="183"/>
                    <a:pt x="1137" y="186"/>
                    <a:pt x="1139" y="187"/>
                  </a:cubicBezTo>
                  <a:cubicBezTo>
                    <a:pt x="1141" y="187"/>
                    <a:pt x="1144" y="187"/>
                    <a:pt x="1146" y="187"/>
                  </a:cubicBezTo>
                  <a:cubicBezTo>
                    <a:pt x="1147" y="188"/>
                    <a:pt x="1149" y="192"/>
                    <a:pt x="1151" y="192"/>
                  </a:cubicBezTo>
                  <a:cubicBezTo>
                    <a:pt x="1154" y="192"/>
                    <a:pt x="1154" y="190"/>
                    <a:pt x="1155" y="191"/>
                  </a:cubicBezTo>
                  <a:cubicBezTo>
                    <a:pt x="1156" y="191"/>
                    <a:pt x="1156" y="197"/>
                    <a:pt x="1158" y="199"/>
                  </a:cubicBezTo>
                  <a:cubicBezTo>
                    <a:pt x="1160" y="201"/>
                    <a:pt x="1165" y="207"/>
                    <a:pt x="1164" y="208"/>
                  </a:cubicBezTo>
                  <a:cubicBezTo>
                    <a:pt x="1163" y="209"/>
                    <a:pt x="1159" y="212"/>
                    <a:pt x="1159" y="214"/>
                  </a:cubicBezTo>
                  <a:cubicBezTo>
                    <a:pt x="1159" y="215"/>
                    <a:pt x="1150" y="210"/>
                    <a:pt x="1146" y="211"/>
                  </a:cubicBezTo>
                  <a:cubicBezTo>
                    <a:pt x="1142" y="212"/>
                    <a:pt x="1129" y="218"/>
                    <a:pt x="1126" y="219"/>
                  </a:cubicBezTo>
                  <a:cubicBezTo>
                    <a:pt x="1123" y="220"/>
                    <a:pt x="1111" y="225"/>
                    <a:pt x="1109" y="228"/>
                  </a:cubicBezTo>
                  <a:cubicBezTo>
                    <a:pt x="1106" y="230"/>
                    <a:pt x="1098" y="234"/>
                    <a:pt x="1097" y="235"/>
                  </a:cubicBezTo>
                  <a:cubicBezTo>
                    <a:pt x="1096" y="236"/>
                    <a:pt x="1095" y="241"/>
                    <a:pt x="1093" y="241"/>
                  </a:cubicBezTo>
                  <a:cubicBezTo>
                    <a:pt x="1090" y="241"/>
                    <a:pt x="1088" y="235"/>
                    <a:pt x="1085" y="234"/>
                  </a:cubicBezTo>
                  <a:cubicBezTo>
                    <a:pt x="1081" y="234"/>
                    <a:pt x="1073" y="234"/>
                    <a:pt x="1071" y="236"/>
                  </a:cubicBezTo>
                  <a:cubicBezTo>
                    <a:pt x="1069" y="238"/>
                    <a:pt x="1062" y="245"/>
                    <a:pt x="1061" y="244"/>
                  </a:cubicBezTo>
                  <a:cubicBezTo>
                    <a:pt x="1060" y="243"/>
                    <a:pt x="1063" y="236"/>
                    <a:pt x="1061" y="235"/>
                  </a:cubicBezTo>
                  <a:cubicBezTo>
                    <a:pt x="1059" y="234"/>
                    <a:pt x="1053" y="240"/>
                    <a:pt x="1052" y="241"/>
                  </a:cubicBezTo>
                  <a:cubicBezTo>
                    <a:pt x="1051" y="242"/>
                    <a:pt x="1047" y="238"/>
                    <a:pt x="1045" y="240"/>
                  </a:cubicBezTo>
                  <a:cubicBezTo>
                    <a:pt x="1042" y="242"/>
                    <a:pt x="1039" y="247"/>
                    <a:pt x="1038" y="250"/>
                  </a:cubicBezTo>
                  <a:cubicBezTo>
                    <a:pt x="1037" y="252"/>
                    <a:pt x="1030" y="256"/>
                    <a:pt x="1029" y="260"/>
                  </a:cubicBezTo>
                  <a:cubicBezTo>
                    <a:pt x="1029" y="265"/>
                    <a:pt x="1032" y="266"/>
                    <a:pt x="1033" y="265"/>
                  </a:cubicBezTo>
                  <a:cubicBezTo>
                    <a:pt x="1034" y="265"/>
                    <a:pt x="1037" y="263"/>
                    <a:pt x="1038" y="264"/>
                  </a:cubicBezTo>
                  <a:cubicBezTo>
                    <a:pt x="1039" y="265"/>
                    <a:pt x="1040" y="267"/>
                    <a:pt x="1039" y="268"/>
                  </a:cubicBezTo>
                  <a:cubicBezTo>
                    <a:pt x="1038" y="269"/>
                    <a:pt x="1034" y="272"/>
                    <a:pt x="1034" y="273"/>
                  </a:cubicBezTo>
                  <a:cubicBezTo>
                    <a:pt x="1034" y="274"/>
                    <a:pt x="1034" y="277"/>
                    <a:pt x="1035" y="277"/>
                  </a:cubicBezTo>
                  <a:cubicBezTo>
                    <a:pt x="1036" y="277"/>
                    <a:pt x="1040" y="275"/>
                    <a:pt x="1040" y="276"/>
                  </a:cubicBezTo>
                  <a:cubicBezTo>
                    <a:pt x="1040" y="278"/>
                    <a:pt x="1040" y="285"/>
                    <a:pt x="1039" y="285"/>
                  </a:cubicBezTo>
                  <a:cubicBezTo>
                    <a:pt x="1037" y="285"/>
                    <a:pt x="1033" y="282"/>
                    <a:pt x="1031" y="284"/>
                  </a:cubicBezTo>
                  <a:cubicBezTo>
                    <a:pt x="1029" y="286"/>
                    <a:pt x="1028" y="290"/>
                    <a:pt x="1028" y="291"/>
                  </a:cubicBezTo>
                  <a:cubicBezTo>
                    <a:pt x="1028" y="293"/>
                    <a:pt x="1032" y="298"/>
                    <a:pt x="1031" y="299"/>
                  </a:cubicBezTo>
                  <a:cubicBezTo>
                    <a:pt x="1029" y="300"/>
                    <a:pt x="1026" y="303"/>
                    <a:pt x="1024" y="301"/>
                  </a:cubicBezTo>
                  <a:cubicBezTo>
                    <a:pt x="1023" y="300"/>
                    <a:pt x="1019" y="300"/>
                    <a:pt x="1016" y="302"/>
                  </a:cubicBezTo>
                  <a:cubicBezTo>
                    <a:pt x="1013" y="304"/>
                    <a:pt x="1013" y="308"/>
                    <a:pt x="1013" y="309"/>
                  </a:cubicBezTo>
                  <a:cubicBezTo>
                    <a:pt x="1014" y="311"/>
                    <a:pt x="1014" y="313"/>
                    <a:pt x="1014" y="314"/>
                  </a:cubicBezTo>
                  <a:cubicBezTo>
                    <a:pt x="1014" y="315"/>
                    <a:pt x="1010" y="315"/>
                    <a:pt x="1007" y="316"/>
                  </a:cubicBezTo>
                  <a:cubicBezTo>
                    <a:pt x="1005" y="317"/>
                    <a:pt x="1002" y="318"/>
                    <a:pt x="1002" y="321"/>
                  </a:cubicBezTo>
                  <a:cubicBezTo>
                    <a:pt x="1003" y="324"/>
                    <a:pt x="1002" y="327"/>
                    <a:pt x="1000" y="329"/>
                  </a:cubicBezTo>
                  <a:cubicBezTo>
                    <a:pt x="997" y="331"/>
                    <a:pt x="992" y="338"/>
                    <a:pt x="990" y="337"/>
                  </a:cubicBezTo>
                  <a:cubicBezTo>
                    <a:pt x="987" y="337"/>
                    <a:pt x="987" y="329"/>
                    <a:pt x="987" y="326"/>
                  </a:cubicBezTo>
                  <a:cubicBezTo>
                    <a:pt x="987" y="324"/>
                    <a:pt x="984" y="312"/>
                    <a:pt x="983" y="307"/>
                  </a:cubicBezTo>
                  <a:cubicBezTo>
                    <a:pt x="981" y="302"/>
                    <a:pt x="980" y="284"/>
                    <a:pt x="983" y="279"/>
                  </a:cubicBezTo>
                  <a:cubicBezTo>
                    <a:pt x="985" y="275"/>
                    <a:pt x="989" y="273"/>
                    <a:pt x="989" y="272"/>
                  </a:cubicBezTo>
                  <a:cubicBezTo>
                    <a:pt x="990" y="271"/>
                    <a:pt x="989" y="266"/>
                    <a:pt x="991" y="265"/>
                  </a:cubicBezTo>
                  <a:cubicBezTo>
                    <a:pt x="992" y="264"/>
                    <a:pt x="996" y="265"/>
                    <a:pt x="999" y="263"/>
                  </a:cubicBezTo>
                  <a:cubicBezTo>
                    <a:pt x="1002" y="261"/>
                    <a:pt x="1014" y="253"/>
                    <a:pt x="1016" y="249"/>
                  </a:cubicBezTo>
                  <a:cubicBezTo>
                    <a:pt x="1018" y="246"/>
                    <a:pt x="1027" y="238"/>
                    <a:pt x="1029" y="237"/>
                  </a:cubicBezTo>
                  <a:cubicBezTo>
                    <a:pt x="1031" y="235"/>
                    <a:pt x="1042" y="231"/>
                    <a:pt x="1042" y="230"/>
                  </a:cubicBezTo>
                  <a:cubicBezTo>
                    <a:pt x="1043" y="228"/>
                    <a:pt x="1045" y="225"/>
                    <a:pt x="1045" y="224"/>
                  </a:cubicBezTo>
                  <a:cubicBezTo>
                    <a:pt x="1045" y="222"/>
                    <a:pt x="1046" y="216"/>
                    <a:pt x="1047" y="215"/>
                  </a:cubicBezTo>
                  <a:cubicBezTo>
                    <a:pt x="1049" y="214"/>
                    <a:pt x="1053" y="213"/>
                    <a:pt x="1053" y="212"/>
                  </a:cubicBezTo>
                  <a:cubicBezTo>
                    <a:pt x="1053" y="210"/>
                    <a:pt x="1050" y="208"/>
                    <a:pt x="1046" y="208"/>
                  </a:cubicBezTo>
                  <a:cubicBezTo>
                    <a:pt x="1043" y="209"/>
                    <a:pt x="1038" y="210"/>
                    <a:pt x="1037" y="213"/>
                  </a:cubicBezTo>
                  <a:cubicBezTo>
                    <a:pt x="1037" y="216"/>
                    <a:pt x="1038" y="221"/>
                    <a:pt x="1037" y="222"/>
                  </a:cubicBezTo>
                  <a:cubicBezTo>
                    <a:pt x="1036" y="222"/>
                    <a:pt x="1030" y="221"/>
                    <a:pt x="1028" y="224"/>
                  </a:cubicBezTo>
                  <a:cubicBezTo>
                    <a:pt x="1027" y="227"/>
                    <a:pt x="1020" y="232"/>
                    <a:pt x="1017" y="232"/>
                  </a:cubicBezTo>
                  <a:cubicBezTo>
                    <a:pt x="1014" y="232"/>
                    <a:pt x="1014" y="229"/>
                    <a:pt x="1014" y="227"/>
                  </a:cubicBezTo>
                  <a:cubicBezTo>
                    <a:pt x="1015" y="225"/>
                    <a:pt x="1018" y="218"/>
                    <a:pt x="1016" y="218"/>
                  </a:cubicBezTo>
                  <a:cubicBezTo>
                    <a:pt x="1014" y="217"/>
                    <a:pt x="1011" y="219"/>
                    <a:pt x="1006" y="219"/>
                  </a:cubicBezTo>
                  <a:cubicBezTo>
                    <a:pt x="1002" y="219"/>
                    <a:pt x="993" y="219"/>
                    <a:pt x="991" y="223"/>
                  </a:cubicBezTo>
                  <a:cubicBezTo>
                    <a:pt x="989" y="227"/>
                    <a:pt x="987" y="230"/>
                    <a:pt x="984" y="232"/>
                  </a:cubicBezTo>
                  <a:cubicBezTo>
                    <a:pt x="981" y="233"/>
                    <a:pt x="971" y="240"/>
                    <a:pt x="971" y="242"/>
                  </a:cubicBezTo>
                  <a:cubicBezTo>
                    <a:pt x="971" y="243"/>
                    <a:pt x="969" y="245"/>
                    <a:pt x="971" y="246"/>
                  </a:cubicBezTo>
                  <a:cubicBezTo>
                    <a:pt x="972" y="246"/>
                    <a:pt x="979" y="246"/>
                    <a:pt x="978" y="248"/>
                  </a:cubicBezTo>
                  <a:cubicBezTo>
                    <a:pt x="978" y="251"/>
                    <a:pt x="974" y="253"/>
                    <a:pt x="969" y="253"/>
                  </a:cubicBezTo>
                  <a:cubicBezTo>
                    <a:pt x="965" y="253"/>
                    <a:pt x="960" y="253"/>
                    <a:pt x="956" y="253"/>
                  </a:cubicBezTo>
                  <a:cubicBezTo>
                    <a:pt x="952" y="254"/>
                    <a:pt x="948" y="254"/>
                    <a:pt x="948" y="252"/>
                  </a:cubicBezTo>
                  <a:cubicBezTo>
                    <a:pt x="948" y="251"/>
                    <a:pt x="951" y="246"/>
                    <a:pt x="947" y="246"/>
                  </a:cubicBezTo>
                  <a:cubicBezTo>
                    <a:pt x="942" y="245"/>
                    <a:pt x="936" y="242"/>
                    <a:pt x="933" y="243"/>
                  </a:cubicBezTo>
                  <a:cubicBezTo>
                    <a:pt x="930" y="244"/>
                    <a:pt x="931" y="248"/>
                    <a:pt x="928" y="249"/>
                  </a:cubicBezTo>
                  <a:cubicBezTo>
                    <a:pt x="924" y="249"/>
                    <a:pt x="912" y="248"/>
                    <a:pt x="909" y="248"/>
                  </a:cubicBezTo>
                  <a:cubicBezTo>
                    <a:pt x="906" y="248"/>
                    <a:pt x="894" y="248"/>
                    <a:pt x="890" y="248"/>
                  </a:cubicBezTo>
                  <a:cubicBezTo>
                    <a:pt x="885" y="248"/>
                    <a:pt x="878" y="251"/>
                    <a:pt x="875" y="255"/>
                  </a:cubicBezTo>
                  <a:cubicBezTo>
                    <a:pt x="872" y="259"/>
                    <a:pt x="868" y="262"/>
                    <a:pt x="865" y="265"/>
                  </a:cubicBezTo>
                  <a:cubicBezTo>
                    <a:pt x="861" y="267"/>
                    <a:pt x="854" y="272"/>
                    <a:pt x="852" y="274"/>
                  </a:cubicBezTo>
                  <a:cubicBezTo>
                    <a:pt x="851" y="276"/>
                    <a:pt x="838" y="287"/>
                    <a:pt x="834" y="290"/>
                  </a:cubicBezTo>
                  <a:cubicBezTo>
                    <a:pt x="830" y="292"/>
                    <a:pt x="822" y="296"/>
                    <a:pt x="824" y="298"/>
                  </a:cubicBezTo>
                  <a:cubicBezTo>
                    <a:pt x="826" y="300"/>
                    <a:pt x="829" y="300"/>
                    <a:pt x="831" y="300"/>
                  </a:cubicBezTo>
                  <a:cubicBezTo>
                    <a:pt x="833" y="300"/>
                    <a:pt x="836" y="300"/>
                    <a:pt x="837" y="300"/>
                  </a:cubicBezTo>
                  <a:cubicBezTo>
                    <a:pt x="837" y="300"/>
                    <a:pt x="835" y="308"/>
                    <a:pt x="838" y="308"/>
                  </a:cubicBezTo>
                  <a:cubicBezTo>
                    <a:pt x="840" y="308"/>
                    <a:pt x="840" y="307"/>
                    <a:pt x="842" y="307"/>
                  </a:cubicBezTo>
                  <a:cubicBezTo>
                    <a:pt x="843" y="307"/>
                    <a:pt x="848" y="312"/>
                    <a:pt x="849" y="311"/>
                  </a:cubicBezTo>
                  <a:cubicBezTo>
                    <a:pt x="851" y="311"/>
                    <a:pt x="850" y="303"/>
                    <a:pt x="851" y="303"/>
                  </a:cubicBezTo>
                  <a:cubicBezTo>
                    <a:pt x="853" y="303"/>
                    <a:pt x="858" y="303"/>
                    <a:pt x="859" y="303"/>
                  </a:cubicBezTo>
                  <a:cubicBezTo>
                    <a:pt x="861" y="302"/>
                    <a:pt x="867" y="311"/>
                    <a:pt x="869" y="312"/>
                  </a:cubicBezTo>
                  <a:cubicBezTo>
                    <a:pt x="871" y="313"/>
                    <a:pt x="872" y="315"/>
                    <a:pt x="871" y="317"/>
                  </a:cubicBezTo>
                  <a:cubicBezTo>
                    <a:pt x="870" y="318"/>
                    <a:pt x="870" y="323"/>
                    <a:pt x="869" y="326"/>
                  </a:cubicBezTo>
                  <a:cubicBezTo>
                    <a:pt x="869" y="328"/>
                    <a:pt x="867" y="331"/>
                    <a:pt x="866" y="335"/>
                  </a:cubicBezTo>
                  <a:cubicBezTo>
                    <a:pt x="865" y="339"/>
                    <a:pt x="863" y="359"/>
                    <a:pt x="862" y="361"/>
                  </a:cubicBezTo>
                  <a:cubicBezTo>
                    <a:pt x="862" y="363"/>
                    <a:pt x="853" y="371"/>
                    <a:pt x="851" y="375"/>
                  </a:cubicBezTo>
                  <a:cubicBezTo>
                    <a:pt x="849" y="380"/>
                    <a:pt x="843" y="387"/>
                    <a:pt x="839" y="392"/>
                  </a:cubicBezTo>
                  <a:cubicBezTo>
                    <a:pt x="835" y="397"/>
                    <a:pt x="823" y="410"/>
                    <a:pt x="819" y="412"/>
                  </a:cubicBezTo>
                  <a:cubicBezTo>
                    <a:pt x="815" y="415"/>
                    <a:pt x="810" y="419"/>
                    <a:pt x="806" y="417"/>
                  </a:cubicBezTo>
                  <a:cubicBezTo>
                    <a:pt x="803" y="414"/>
                    <a:pt x="802" y="413"/>
                    <a:pt x="799" y="414"/>
                  </a:cubicBezTo>
                  <a:cubicBezTo>
                    <a:pt x="795" y="415"/>
                    <a:pt x="796" y="417"/>
                    <a:pt x="793" y="419"/>
                  </a:cubicBezTo>
                  <a:cubicBezTo>
                    <a:pt x="792" y="420"/>
                    <a:pt x="792" y="420"/>
                    <a:pt x="790" y="421"/>
                  </a:cubicBezTo>
                  <a:cubicBezTo>
                    <a:pt x="787" y="414"/>
                    <a:pt x="787" y="414"/>
                    <a:pt x="787" y="414"/>
                  </a:cubicBezTo>
                  <a:cubicBezTo>
                    <a:pt x="788" y="413"/>
                    <a:pt x="790" y="413"/>
                    <a:pt x="790" y="413"/>
                  </a:cubicBezTo>
                  <a:cubicBezTo>
                    <a:pt x="792" y="412"/>
                    <a:pt x="793" y="400"/>
                    <a:pt x="792" y="398"/>
                  </a:cubicBezTo>
                  <a:cubicBezTo>
                    <a:pt x="790" y="396"/>
                    <a:pt x="795" y="395"/>
                    <a:pt x="797" y="394"/>
                  </a:cubicBezTo>
                  <a:cubicBezTo>
                    <a:pt x="800" y="393"/>
                    <a:pt x="809" y="395"/>
                    <a:pt x="809" y="395"/>
                  </a:cubicBezTo>
                  <a:cubicBezTo>
                    <a:pt x="810" y="395"/>
                    <a:pt x="814" y="383"/>
                    <a:pt x="815" y="380"/>
                  </a:cubicBezTo>
                  <a:cubicBezTo>
                    <a:pt x="815" y="378"/>
                    <a:pt x="820" y="372"/>
                    <a:pt x="821" y="370"/>
                  </a:cubicBezTo>
                  <a:cubicBezTo>
                    <a:pt x="821" y="369"/>
                    <a:pt x="821" y="365"/>
                    <a:pt x="819" y="363"/>
                  </a:cubicBezTo>
                  <a:cubicBezTo>
                    <a:pt x="817" y="360"/>
                    <a:pt x="806" y="367"/>
                    <a:pt x="804" y="369"/>
                  </a:cubicBezTo>
                  <a:cubicBezTo>
                    <a:pt x="802" y="370"/>
                    <a:pt x="794" y="370"/>
                    <a:pt x="793" y="370"/>
                  </a:cubicBezTo>
                  <a:cubicBezTo>
                    <a:pt x="792" y="370"/>
                    <a:pt x="789" y="359"/>
                    <a:pt x="787" y="357"/>
                  </a:cubicBezTo>
                  <a:cubicBezTo>
                    <a:pt x="785" y="355"/>
                    <a:pt x="771" y="353"/>
                    <a:pt x="768" y="351"/>
                  </a:cubicBezTo>
                  <a:cubicBezTo>
                    <a:pt x="765" y="349"/>
                    <a:pt x="765" y="347"/>
                    <a:pt x="765" y="344"/>
                  </a:cubicBezTo>
                  <a:cubicBezTo>
                    <a:pt x="764" y="342"/>
                    <a:pt x="755" y="320"/>
                    <a:pt x="753" y="318"/>
                  </a:cubicBezTo>
                  <a:cubicBezTo>
                    <a:pt x="752" y="316"/>
                    <a:pt x="743" y="315"/>
                    <a:pt x="738" y="312"/>
                  </a:cubicBezTo>
                  <a:cubicBezTo>
                    <a:pt x="734" y="309"/>
                    <a:pt x="718" y="312"/>
                    <a:pt x="715" y="313"/>
                  </a:cubicBezTo>
                  <a:cubicBezTo>
                    <a:pt x="711" y="314"/>
                    <a:pt x="707" y="318"/>
                    <a:pt x="707" y="320"/>
                  </a:cubicBezTo>
                  <a:cubicBezTo>
                    <a:pt x="707" y="322"/>
                    <a:pt x="713" y="322"/>
                    <a:pt x="713" y="323"/>
                  </a:cubicBezTo>
                  <a:cubicBezTo>
                    <a:pt x="714" y="324"/>
                    <a:pt x="714" y="327"/>
                    <a:pt x="712" y="330"/>
                  </a:cubicBezTo>
                  <a:cubicBezTo>
                    <a:pt x="710" y="333"/>
                    <a:pt x="703" y="342"/>
                    <a:pt x="703" y="344"/>
                  </a:cubicBezTo>
                  <a:cubicBezTo>
                    <a:pt x="702" y="346"/>
                    <a:pt x="695" y="350"/>
                    <a:pt x="694" y="351"/>
                  </a:cubicBezTo>
                  <a:cubicBezTo>
                    <a:pt x="693" y="352"/>
                    <a:pt x="683" y="349"/>
                    <a:pt x="682" y="349"/>
                  </a:cubicBezTo>
                  <a:cubicBezTo>
                    <a:pt x="674" y="346"/>
                    <a:pt x="674" y="346"/>
                    <a:pt x="674" y="346"/>
                  </a:cubicBezTo>
                  <a:cubicBezTo>
                    <a:pt x="671" y="346"/>
                    <a:pt x="663" y="343"/>
                    <a:pt x="658" y="348"/>
                  </a:cubicBezTo>
                  <a:cubicBezTo>
                    <a:pt x="652" y="353"/>
                    <a:pt x="646" y="354"/>
                    <a:pt x="641" y="355"/>
                  </a:cubicBezTo>
                  <a:cubicBezTo>
                    <a:pt x="637" y="355"/>
                    <a:pt x="623" y="355"/>
                    <a:pt x="620" y="353"/>
                  </a:cubicBezTo>
                  <a:cubicBezTo>
                    <a:pt x="618" y="352"/>
                    <a:pt x="616" y="346"/>
                    <a:pt x="614" y="346"/>
                  </a:cubicBezTo>
                  <a:cubicBezTo>
                    <a:pt x="612" y="345"/>
                    <a:pt x="600" y="343"/>
                    <a:pt x="598" y="342"/>
                  </a:cubicBezTo>
                  <a:cubicBezTo>
                    <a:pt x="595" y="342"/>
                    <a:pt x="588" y="345"/>
                    <a:pt x="585" y="345"/>
                  </a:cubicBezTo>
                  <a:cubicBezTo>
                    <a:pt x="581" y="345"/>
                    <a:pt x="574" y="342"/>
                    <a:pt x="573" y="340"/>
                  </a:cubicBezTo>
                  <a:cubicBezTo>
                    <a:pt x="572" y="337"/>
                    <a:pt x="573" y="335"/>
                    <a:pt x="572" y="333"/>
                  </a:cubicBezTo>
                  <a:cubicBezTo>
                    <a:pt x="572" y="331"/>
                    <a:pt x="549" y="326"/>
                    <a:pt x="547" y="325"/>
                  </a:cubicBezTo>
                  <a:cubicBezTo>
                    <a:pt x="545" y="325"/>
                    <a:pt x="540" y="332"/>
                    <a:pt x="540" y="335"/>
                  </a:cubicBezTo>
                  <a:cubicBezTo>
                    <a:pt x="540" y="337"/>
                    <a:pt x="544" y="344"/>
                    <a:pt x="542" y="346"/>
                  </a:cubicBezTo>
                  <a:cubicBezTo>
                    <a:pt x="539" y="348"/>
                    <a:pt x="537" y="350"/>
                    <a:pt x="533" y="349"/>
                  </a:cubicBezTo>
                  <a:cubicBezTo>
                    <a:pt x="529" y="348"/>
                    <a:pt x="517" y="348"/>
                    <a:pt x="515" y="346"/>
                  </a:cubicBezTo>
                  <a:cubicBezTo>
                    <a:pt x="513" y="344"/>
                    <a:pt x="510" y="341"/>
                    <a:pt x="509" y="340"/>
                  </a:cubicBezTo>
                  <a:cubicBezTo>
                    <a:pt x="509" y="339"/>
                    <a:pt x="498" y="340"/>
                    <a:pt x="495" y="341"/>
                  </a:cubicBezTo>
                  <a:cubicBezTo>
                    <a:pt x="491" y="342"/>
                    <a:pt x="482" y="345"/>
                    <a:pt x="479" y="346"/>
                  </a:cubicBezTo>
                  <a:cubicBezTo>
                    <a:pt x="477" y="348"/>
                    <a:pt x="469" y="352"/>
                    <a:pt x="469" y="352"/>
                  </a:cubicBezTo>
                  <a:cubicBezTo>
                    <a:pt x="463" y="356"/>
                    <a:pt x="463" y="356"/>
                    <a:pt x="463" y="356"/>
                  </a:cubicBezTo>
                  <a:cubicBezTo>
                    <a:pt x="463" y="356"/>
                    <a:pt x="460" y="355"/>
                    <a:pt x="458" y="354"/>
                  </a:cubicBezTo>
                  <a:cubicBezTo>
                    <a:pt x="457" y="353"/>
                    <a:pt x="455" y="352"/>
                    <a:pt x="454" y="351"/>
                  </a:cubicBezTo>
                  <a:cubicBezTo>
                    <a:pt x="452" y="349"/>
                    <a:pt x="451" y="351"/>
                    <a:pt x="448" y="351"/>
                  </a:cubicBezTo>
                  <a:cubicBezTo>
                    <a:pt x="445" y="352"/>
                    <a:pt x="443" y="351"/>
                    <a:pt x="440" y="349"/>
                  </a:cubicBezTo>
                  <a:cubicBezTo>
                    <a:pt x="438" y="346"/>
                    <a:pt x="433" y="339"/>
                    <a:pt x="430" y="338"/>
                  </a:cubicBezTo>
                  <a:cubicBezTo>
                    <a:pt x="427" y="337"/>
                    <a:pt x="421" y="340"/>
                    <a:pt x="417" y="338"/>
                  </a:cubicBezTo>
                  <a:cubicBezTo>
                    <a:pt x="413" y="336"/>
                    <a:pt x="412" y="335"/>
                    <a:pt x="410" y="335"/>
                  </a:cubicBezTo>
                  <a:cubicBezTo>
                    <a:pt x="409" y="335"/>
                    <a:pt x="402" y="338"/>
                    <a:pt x="402" y="338"/>
                  </a:cubicBezTo>
                  <a:cubicBezTo>
                    <a:pt x="402" y="338"/>
                    <a:pt x="383" y="312"/>
                    <a:pt x="381" y="310"/>
                  </a:cubicBezTo>
                  <a:cubicBezTo>
                    <a:pt x="380" y="307"/>
                    <a:pt x="378" y="303"/>
                    <a:pt x="377" y="303"/>
                  </a:cubicBezTo>
                  <a:cubicBezTo>
                    <a:pt x="375" y="303"/>
                    <a:pt x="366" y="308"/>
                    <a:pt x="363" y="309"/>
                  </a:cubicBezTo>
                  <a:cubicBezTo>
                    <a:pt x="360" y="310"/>
                    <a:pt x="355" y="312"/>
                    <a:pt x="353" y="312"/>
                  </a:cubicBezTo>
                  <a:cubicBezTo>
                    <a:pt x="351" y="312"/>
                    <a:pt x="352" y="307"/>
                    <a:pt x="352" y="306"/>
                  </a:cubicBezTo>
                  <a:cubicBezTo>
                    <a:pt x="351" y="305"/>
                    <a:pt x="336" y="305"/>
                    <a:pt x="335" y="304"/>
                  </a:cubicBezTo>
                  <a:cubicBezTo>
                    <a:pt x="334" y="303"/>
                    <a:pt x="333" y="294"/>
                    <a:pt x="332" y="293"/>
                  </a:cubicBezTo>
                  <a:cubicBezTo>
                    <a:pt x="331" y="292"/>
                    <a:pt x="321" y="292"/>
                    <a:pt x="320" y="292"/>
                  </a:cubicBezTo>
                  <a:cubicBezTo>
                    <a:pt x="318" y="292"/>
                    <a:pt x="314" y="294"/>
                    <a:pt x="313" y="295"/>
                  </a:cubicBezTo>
                  <a:cubicBezTo>
                    <a:pt x="311" y="296"/>
                    <a:pt x="300" y="299"/>
                    <a:pt x="297" y="300"/>
                  </a:cubicBezTo>
                  <a:cubicBezTo>
                    <a:pt x="294" y="300"/>
                    <a:pt x="271" y="306"/>
                    <a:pt x="268" y="306"/>
                  </a:cubicBezTo>
                  <a:cubicBezTo>
                    <a:pt x="265" y="307"/>
                    <a:pt x="261" y="306"/>
                    <a:pt x="260" y="307"/>
                  </a:cubicBezTo>
                  <a:cubicBezTo>
                    <a:pt x="259" y="307"/>
                    <a:pt x="257" y="317"/>
                    <a:pt x="256" y="317"/>
                  </a:cubicBezTo>
                  <a:cubicBezTo>
                    <a:pt x="256" y="318"/>
                    <a:pt x="258" y="321"/>
                    <a:pt x="258" y="323"/>
                  </a:cubicBezTo>
                  <a:cubicBezTo>
                    <a:pt x="257" y="325"/>
                    <a:pt x="252" y="326"/>
                    <a:pt x="251" y="327"/>
                  </a:cubicBezTo>
                  <a:cubicBezTo>
                    <a:pt x="250" y="329"/>
                    <a:pt x="262" y="332"/>
                    <a:pt x="262" y="333"/>
                  </a:cubicBezTo>
                  <a:cubicBezTo>
                    <a:pt x="262" y="334"/>
                    <a:pt x="262" y="338"/>
                    <a:pt x="260" y="339"/>
                  </a:cubicBezTo>
                  <a:cubicBezTo>
                    <a:pt x="259" y="340"/>
                    <a:pt x="253" y="340"/>
                    <a:pt x="251" y="340"/>
                  </a:cubicBezTo>
                  <a:cubicBezTo>
                    <a:pt x="250" y="340"/>
                    <a:pt x="248" y="341"/>
                    <a:pt x="246" y="341"/>
                  </a:cubicBezTo>
                  <a:cubicBezTo>
                    <a:pt x="244" y="341"/>
                    <a:pt x="237" y="336"/>
                    <a:pt x="236" y="336"/>
                  </a:cubicBezTo>
                  <a:cubicBezTo>
                    <a:pt x="234" y="336"/>
                    <a:pt x="228" y="336"/>
                    <a:pt x="225" y="337"/>
                  </a:cubicBezTo>
                  <a:cubicBezTo>
                    <a:pt x="222" y="337"/>
                    <a:pt x="219" y="341"/>
                    <a:pt x="218" y="342"/>
                  </a:cubicBezTo>
                  <a:cubicBezTo>
                    <a:pt x="217" y="343"/>
                    <a:pt x="210" y="340"/>
                    <a:pt x="209" y="340"/>
                  </a:cubicBezTo>
                  <a:cubicBezTo>
                    <a:pt x="207" y="340"/>
                    <a:pt x="200" y="332"/>
                    <a:pt x="199" y="332"/>
                  </a:cubicBezTo>
                  <a:cubicBezTo>
                    <a:pt x="198" y="331"/>
                    <a:pt x="182" y="330"/>
                    <a:pt x="180" y="330"/>
                  </a:cubicBezTo>
                  <a:cubicBezTo>
                    <a:pt x="179" y="330"/>
                    <a:pt x="167" y="339"/>
                    <a:pt x="165" y="340"/>
                  </a:cubicBezTo>
                  <a:cubicBezTo>
                    <a:pt x="164" y="340"/>
                    <a:pt x="167" y="346"/>
                    <a:pt x="166" y="346"/>
                  </a:cubicBezTo>
                  <a:cubicBezTo>
                    <a:pt x="165" y="347"/>
                    <a:pt x="162" y="350"/>
                    <a:pt x="161" y="350"/>
                  </a:cubicBezTo>
                  <a:cubicBezTo>
                    <a:pt x="160" y="350"/>
                    <a:pt x="155" y="342"/>
                    <a:pt x="154" y="343"/>
                  </a:cubicBezTo>
                  <a:cubicBezTo>
                    <a:pt x="153" y="344"/>
                    <a:pt x="149" y="347"/>
                    <a:pt x="149" y="349"/>
                  </a:cubicBezTo>
                  <a:cubicBezTo>
                    <a:pt x="149" y="350"/>
                    <a:pt x="146" y="363"/>
                    <a:pt x="146" y="363"/>
                  </a:cubicBezTo>
                  <a:cubicBezTo>
                    <a:pt x="146" y="363"/>
                    <a:pt x="151" y="368"/>
                    <a:pt x="153" y="369"/>
                  </a:cubicBezTo>
                  <a:cubicBezTo>
                    <a:pt x="155" y="370"/>
                    <a:pt x="161" y="371"/>
                    <a:pt x="163" y="373"/>
                  </a:cubicBezTo>
                  <a:cubicBezTo>
                    <a:pt x="164" y="375"/>
                    <a:pt x="164" y="378"/>
                    <a:pt x="163" y="379"/>
                  </a:cubicBezTo>
                  <a:cubicBezTo>
                    <a:pt x="168" y="385"/>
                    <a:pt x="168" y="385"/>
                    <a:pt x="168" y="385"/>
                  </a:cubicBezTo>
                  <a:cubicBezTo>
                    <a:pt x="167" y="386"/>
                    <a:pt x="166" y="387"/>
                    <a:pt x="165" y="387"/>
                  </a:cubicBezTo>
                  <a:cubicBezTo>
                    <a:pt x="164" y="389"/>
                    <a:pt x="161" y="389"/>
                    <a:pt x="159" y="389"/>
                  </a:cubicBezTo>
                  <a:cubicBezTo>
                    <a:pt x="157" y="389"/>
                    <a:pt x="155" y="392"/>
                    <a:pt x="154" y="394"/>
                  </a:cubicBezTo>
                  <a:cubicBezTo>
                    <a:pt x="154" y="397"/>
                    <a:pt x="149" y="397"/>
                    <a:pt x="149" y="400"/>
                  </a:cubicBezTo>
                  <a:cubicBezTo>
                    <a:pt x="148" y="402"/>
                    <a:pt x="151" y="402"/>
                    <a:pt x="152" y="403"/>
                  </a:cubicBezTo>
                  <a:cubicBezTo>
                    <a:pt x="154" y="403"/>
                    <a:pt x="156" y="406"/>
                    <a:pt x="155" y="408"/>
                  </a:cubicBezTo>
                  <a:cubicBezTo>
                    <a:pt x="155" y="409"/>
                    <a:pt x="155" y="413"/>
                    <a:pt x="155" y="416"/>
                  </a:cubicBezTo>
                  <a:cubicBezTo>
                    <a:pt x="156" y="418"/>
                    <a:pt x="160" y="422"/>
                    <a:pt x="163" y="425"/>
                  </a:cubicBezTo>
                  <a:cubicBezTo>
                    <a:pt x="159" y="429"/>
                    <a:pt x="159" y="429"/>
                    <a:pt x="159" y="429"/>
                  </a:cubicBezTo>
                  <a:cubicBezTo>
                    <a:pt x="158" y="430"/>
                    <a:pt x="157" y="431"/>
                    <a:pt x="155" y="431"/>
                  </a:cubicBezTo>
                  <a:cubicBezTo>
                    <a:pt x="154" y="431"/>
                    <a:pt x="151" y="429"/>
                    <a:pt x="149" y="427"/>
                  </a:cubicBezTo>
                  <a:cubicBezTo>
                    <a:pt x="148" y="426"/>
                    <a:pt x="147" y="425"/>
                    <a:pt x="146" y="425"/>
                  </a:cubicBezTo>
                  <a:cubicBezTo>
                    <a:pt x="145" y="424"/>
                    <a:pt x="138" y="418"/>
                    <a:pt x="136" y="417"/>
                  </a:cubicBezTo>
                  <a:cubicBezTo>
                    <a:pt x="134" y="417"/>
                    <a:pt x="132" y="417"/>
                    <a:pt x="129" y="418"/>
                  </a:cubicBezTo>
                  <a:cubicBezTo>
                    <a:pt x="126" y="418"/>
                    <a:pt x="125" y="417"/>
                    <a:pt x="123" y="415"/>
                  </a:cubicBezTo>
                  <a:cubicBezTo>
                    <a:pt x="121" y="413"/>
                    <a:pt x="115" y="411"/>
                    <a:pt x="113" y="410"/>
                  </a:cubicBezTo>
                  <a:cubicBezTo>
                    <a:pt x="111" y="409"/>
                    <a:pt x="101" y="407"/>
                    <a:pt x="100" y="407"/>
                  </a:cubicBezTo>
                  <a:cubicBezTo>
                    <a:pt x="99" y="407"/>
                    <a:pt x="97" y="412"/>
                    <a:pt x="97" y="412"/>
                  </a:cubicBezTo>
                  <a:cubicBezTo>
                    <a:pt x="96" y="411"/>
                    <a:pt x="95" y="411"/>
                    <a:pt x="95" y="410"/>
                  </a:cubicBezTo>
                  <a:cubicBezTo>
                    <a:pt x="92" y="408"/>
                    <a:pt x="88" y="403"/>
                    <a:pt x="86" y="403"/>
                  </a:cubicBezTo>
                  <a:cubicBezTo>
                    <a:pt x="83" y="402"/>
                    <a:pt x="79" y="400"/>
                    <a:pt x="77" y="399"/>
                  </a:cubicBezTo>
                  <a:cubicBezTo>
                    <a:pt x="75" y="397"/>
                    <a:pt x="72" y="399"/>
                    <a:pt x="72" y="397"/>
                  </a:cubicBezTo>
                  <a:cubicBezTo>
                    <a:pt x="72" y="396"/>
                    <a:pt x="72" y="392"/>
                    <a:pt x="73" y="392"/>
                  </a:cubicBezTo>
                  <a:cubicBezTo>
                    <a:pt x="74" y="392"/>
                    <a:pt x="78" y="393"/>
                    <a:pt x="79" y="392"/>
                  </a:cubicBezTo>
                  <a:cubicBezTo>
                    <a:pt x="79" y="391"/>
                    <a:pt x="84" y="385"/>
                    <a:pt x="84" y="384"/>
                  </a:cubicBezTo>
                  <a:cubicBezTo>
                    <a:pt x="83" y="383"/>
                    <a:pt x="81" y="381"/>
                    <a:pt x="82" y="381"/>
                  </a:cubicBezTo>
                  <a:cubicBezTo>
                    <a:pt x="83" y="380"/>
                    <a:pt x="92" y="378"/>
                    <a:pt x="92" y="377"/>
                  </a:cubicBezTo>
                  <a:cubicBezTo>
                    <a:pt x="93" y="377"/>
                    <a:pt x="91" y="373"/>
                    <a:pt x="90" y="372"/>
                  </a:cubicBezTo>
                  <a:cubicBezTo>
                    <a:pt x="90" y="372"/>
                    <a:pt x="87" y="373"/>
                    <a:pt x="84" y="374"/>
                  </a:cubicBezTo>
                  <a:cubicBezTo>
                    <a:pt x="84" y="369"/>
                    <a:pt x="84" y="369"/>
                    <a:pt x="84" y="369"/>
                  </a:cubicBezTo>
                  <a:cubicBezTo>
                    <a:pt x="85" y="367"/>
                    <a:pt x="93" y="367"/>
                    <a:pt x="94" y="367"/>
                  </a:cubicBezTo>
                  <a:cubicBezTo>
                    <a:pt x="95" y="368"/>
                    <a:pt x="97" y="364"/>
                    <a:pt x="97" y="362"/>
                  </a:cubicBezTo>
                  <a:cubicBezTo>
                    <a:pt x="97" y="360"/>
                    <a:pt x="98" y="354"/>
                    <a:pt x="98" y="352"/>
                  </a:cubicBezTo>
                  <a:cubicBezTo>
                    <a:pt x="98" y="351"/>
                    <a:pt x="85" y="348"/>
                    <a:pt x="83" y="347"/>
                  </a:cubicBezTo>
                  <a:cubicBezTo>
                    <a:pt x="81" y="346"/>
                    <a:pt x="65" y="344"/>
                    <a:pt x="63" y="342"/>
                  </a:cubicBezTo>
                  <a:cubicBezTo>
                    <a:pt x="62" y="341"/>
                    <a:pt x="61" y="337"/>
                    <a:pt x="60" y="335"/>
                  </a:cubicBezTo>
                  <a:cubicBezTo>
                    <a:pt x="58" y="334"/>
                    <a:pt x="53" y="336"/>
                    <a:pt x="53" y="333"/>
                  </a:cubicBezTo>
                  <a:cubicBezTo>
                    <a:pt x="53" y="330"/>
                    <a:pt x="52" y="324"/>
                    <a:pt x="50" y="323"/>
                  </a:cubicBezTo>
                  <a:cubicBezTo>
                    <a:pt x="49" y="322"/>
                    <a:pt x="42" y="324"/>
                    <a:pt x="40" y="324"/>
                  </a:cubicBezTo>
                  <a:cubicBezTo>
                    <a:pt x="39" y="324"/>
                    <a:pt x="36" y="325"/>
                    <a:pt x="33" y="325"/>
                  </a:cubicBezTo>
                  <a:cubicBezTo>
                    <a:pt x="33" y="325"/>
                    <a:pt x="30" y="317"/>
                    <a:pt x="31" y="316"/>
                  </a:cubicBezTo>
                  <a:cubicBezTo>
                    <a:pt x="31" y="314"/>
                    <a:pt x="40" y="316"/>
                    <a:pt x="40" y="314"/>
                  </a:cubicBezTo>
                  <a:cubicBezTo>
                    <a:pt x="41" y="312"/>
                    <a:pt x="35" y="307"/>
                    <a:pt x="33" y="305"/>
                  </a:cubicBezTo>
                  <a:cubicBezTo>
                    <a:pt x="31" y="302"/>
                    <a:pt x="27" y="299"/>
                    <a:pt x="27" y="297"/>
                  </a:cubicBezTo>
                  <a:cubicBezTo>
                    <a:pt x="27" y="295"/>
                    <a:pt x="29" y="291"/>
                    <a:pt x="27" y="289"/>
                  </a:cubicBezTo>
                  <a:cubicBezTo>
                    <a:pt x="25" y="287"/>
                    <a:pt x="19" y="287"/>
                    <a:pt x="16" y="28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2" name="Freeform 219"/>
            <p:cNvSpPr>
              <a:spLocks/>
            </p:cNvSpPr>
            <p:nvPr>
              <p:custDataLst>
                <p:tags r:id="rId151"/>
              </p:custDataLst>
            </p:nvPr>
          </p:nvSpPr>
          <p:spPr bwMode="auto">
            <a:xfrm>
              <a:off x="2989" y="1877"/>
              <a:ext cx="44" cy="24"/>
            </a:xfrm>
            <a:custGeom>
              <a:avLst/>
              <a:gdLst>
                <a:gd name="T0" fmla="*/ 2794 w 25"/>
                <a:gd name="T1" fmla="*/ 38100 h 13"/>
                <a:gd name="T2" fmla="*/ 0 w 25"/>
                <a:gd name="T3" fmla="*/ 29308 h 13"/>
                <a:gd name="T4" fmla="*/ 16764 w 25"/>
                <a:gd name="T5" fmla="*/ 17585 h 13"/>
                <a:gd name="T6" fmla="*/ 30734 w 25"/>
                <a:gd name="T7" fmla="*/ 0 h 13"/>
                <a:gd name="T8" fmla="*/ 67056 w 25"/>
                <a:gd name="T9" fmla="*/ 17585 h 13"/>
                <a:gd name="T10" fmla="*/ 67056 w 25"/>
                <a:gd name="T11" fmla="*/ 35169 h 13"/>
                <a:gd name="T12" fmla="*/ 2794 w 25"/>
                <a:gd name="T13" fmla="*/ 3810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13">
                  <a:moveTo>
                    <a:pt x="1" y="13"/>
                  </a:moveTo>
                  <a:cubicBezTo>
                    <a:pt x="1" y="12"/>
                    <a:pt x="0" y="10"/>
                    <a:pt x="0" y="10"/>
                  </a:cubicBezTo>
                  <a:cubicBezTo>
                    <a:pt x="3" y="9"/>
                    <a:pt x="6" y="7"/>
                    <a:pt x="6" y="6"/>
                  </a:cubicBezTo>
                  <a:cubicBezTo>
                    <a:pt x="7" y="5"/>
                    <a:pt x="11" y="2"/>
                    <a:pt x="11" y="0"/>
                  </a:cubicBezTo>
                  <a:cubicBezTo>
                    <a:pt x="11" y="0"/>
                    <a:pt x="23" y="5"/>
                    <a:pt x="24" y="6"/>
                  </a:cubicBezTo>
                  <a:cubicBezTo>
                    <a:pt x="25" y="7"/>
                    <a:pt x="24" y="12"/>
                    <a:pt x="24" y="12"/>
                  </a:cubicBezTo>
                  <a:cubicBezTo>
                    <a:pt x="23" y="12"/>
                    <a:pt x="3" y="13"/>
                    <a:pt x="1"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3" name="Freeform 222"/>
            <p:cNvSpPr>
              <a:spLocks/>
            </p:cNvSpPr>
            <p:nvPr>
              <p:custDataLst>
                <p:tags r:id="rId152"/>
              </p:custDataLst>
            </p:nvPr>
          </p:nvSpPr>
          <p:spPr bwMode="auto">
            <a:xfrm>
              <a:off x="3323" y="2124"/>
              <a:ext cx="70" cy="58"/>
            </a:xfrm>
            <a:custGeom>
              <a:avLst/>
              <a:gdLst>
                <a:gd name="T0" fmla="*/ 5421 w 41"/>
                <a:gd name="T1" fmla="*/ 11881 h 31"/>
                <a:gd name="T2" fmla="*/ 29814 w 41"/>
                <a:gd name="T3" fmla="*/ 20791 h 31"/>
                <a:gd name="T4" fmla="*/ 35235 w 41"/>
                <a:gd name="T5" fmla="*/ 5940 h 31"/>
                <a:gd name="T6" fmla="*/ 51497 w 41"/>
                <a:gd name="T7" fmla="*/ 17821 h 31"/>
                <a:gd name="T8" fmla="*/ 62338 w 41"/>
                <a:gd name="T9" fmla="*/ 11881 h 31"/>
                <a:gd name="T10" fmla="*/ 73180 w 41"/>
                <a:gd name="T11" fmla="*/ 0 h 31"/>
                <a:gd name="T12" fmla="*/ 78601 w 41"/>
                <a:gd name="T13" fmla="*/ 2970 h 31"/>
                <a:gd name="T14" fmla="*/ 89442 w 41"/>
                <a:gd name="T15" fmla="*/ 26731 h 31"/>
                <a:gd name="T16" fmla="*/ 111125 w 41"/>
                <a:gd name="T17" fmla="*/ 38612 h 31"/>
                <a:gd name="T18" fmla="*/ 94863 w 41"/>
                <a:gd name="T19" fmla="*/ 47523 h 31"/>
                <a:gd name="T20" fmla="*/ 89442 w 41"/>
                <a:gd name="T21" fmla="*/ 65344 h 31"/>
                <a:gd name="T22" fmla="*/ 78601 w 41"/>
                <a:gd name="T23" fmla="*/ 77224 h 31"/>
                <a:gd name="T24" fmla="*/ 78601 w 41"/>
                <a:gd name="T25" fmla="*/ 92075 h 31"/>
                <a:gd name="T26" fmla="*/ 59628 w 41"/>
                <a:gd name="T27" fmla="*/ 80194 h 31"/>
                <a:gd name="T28" fmla="*/ 65049 w 41"/>
                <a:gd name="T29" fmla="*/ 68314 h 31"/>
                <a:gd name="T30" fmla="*/ 56918 w 41"/>
                <a:gd name="T31" fmla="*/ 56433 h 31"/>
                <a:gd name="T32" fmla="*/ 29814 w 41"/>
                <a:gd name="T33" fmla="*/ 74254 h 31"/>
                <a:gd name="T34" fmla="*/ 13552 w 41"/>
                <a:gd name="T35" fmla="*/ 56433 h 31"/>
                <a:gd name="T36" fmla="*/ 16262 w 41"/>
                <a:gd name="T37" fmla="*/ 44552 h 31"/>
                <a:gd name="T38" fmla="*/ 10841 w 41"/>
                <a:gd name="T39" fmla="*/ 35642 h 31"/>
                <a:gd name="T40" fmla="*/ 0 w 41"/>
                <a:gd name="T41" fmla="*/ 14851 h 31"/>
                <a:gd name="T42" fmla="*/ 5421 w 41"/>
                <a:gd name="T43" fmla="*/ 11881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1" h="31">
                  <a:moveTo>
                    <a:pt x="2" y="4"/>
                  </a:moveTo>
                  <a:cubicBezTo>
                    <a:pt x="4" y="3"/>
                    <a:pt x="8" y="7"/>
                    <a:pt x="11" y="7"/>
                  </a:cubicBezTo>
                  <a:cubicBezTo>
                    <a:pt x="13" y="7"/>
                    <a:pt x="13" y="2"/>
                    <a:pt x="13" y="2"/>
                  </a:cubicBezTo>
                  <a:cubicBezTo>
                    <a:pt x="15" y="4"/>
                    <a:pt x="18" y="6"/>
                    <a:pt x="19" y="6"/>
                  </a:cubicBezTo>
                  <a:cubicBezTo>
                    <a:pt x="21" y="6"/>
                    <a:pt x="22" y="5"/>
                    <a:pt x="23" y="4"/>
                  </a:cubicBezTo>
                  <a:cubicBezTo>
                    <a:pt x="27" y="0"/>
                    <a:pt x="27" y="0"/>
                    <a:pt x="27" y="0"/>
                  </a:cubicBezTo>
                  <a:cubicBezTo>
                    <a:pt x="28" y="0"/>
                    <a:pt x="28" y="1"/>
                    <a:pt x="29" y="1"/>
                  </a:cubicBezTo>
                  <a:cubicBezTo>
                    <a:pt x="31" y="4"/>
                    <a:pt x="32" y="6"/>
                    <a:pt x="33" y="9"/>
                  </a:cubicBezTo>
                  <a:cubicBezTo>
                    <a:pt x="34" y="11"/>
                    <a:pt x="41" y="11"/>
                    <a:pt x="41" y="13"/>
                  </a:cubicBezTo>
                  <a:cubicBezTo>
                    <a:pt x="41" y="15"/>
                    <a:pt x="38" y="15"/>
                    <a:pt x="35" y="16"/>
                  </a:cubicBezTo>
                  <a:cubicBezTo>
                    <a:pt x="32" y="16"/>
                    <a:pt x="33" y="20"/>
                    <a:pt x="33" y="22"/>
                  </a:cubicBezTo>
                  <a:cubicBezTo>
                    <a:pt x="33" y="24"/>
                    <a:pt x="31" y="25"/>
                    <a:pt x="29" y="26"/>
                  </a:cubicBezTo>
                  <a:cubicBezTo>
                    <a:pt x="29" y="26"/>
                    <a:pt x="29" y="29"/>
                    <a:pt x="29" y="31"/>
                  </a:cubicBezTo>
                  <a:cubicBezTo>
                    <a:pt x="27" y="31"/>
                    <a:pt x="22" y="27"/>
                    <a:pt x="22" y="27"/>
                  </a:cubicBezTo>
                  <a:cubicBezTo>
                    <a:pt x="24" y="23"/>
                    <a:pt x="24" y="23"/>
                    <a:pt x="24" y="23"/>
                  </a:cubicBezTo>
                  <a:cubicBezTo>
                    <a:pt x="21" y="19"/>
                    <a:pt x="21" y="19"/>
                    <a:pt x="21" y="19"/>
                  </a:cubicBezTo>
                  <a:cubicBezTo>
                    <a:pt x="11" y="25"/>
                    <a:pt x="11" y="25"/>
                    <a:pt x="11" y="25"/>
                  </a:cubicBezTo>
                  <a:cubicBezTo>
                    <a:pt x="5" y="19"/>
                    <a:pt x="5" y="19"/>
                    <a:pt x="5" y="19"/>
                  </a:cubicBezTo>
                  <a:cubicBezTo>
                    <a:pt x="6" y="15"/>
                    <a:pt x="6" y="15"/>
                    <a:pt x="6" y="15"/>
                  </a:cubicBezTo>
                  <a:cubicBezTo>
                    <a:pt x="4" y="12"/>
                    <a:pt x="4" y="12"/>
                    <a:pt x="4" y="12"/>
                  </a:cubicBezTo>
                  <a:cubicBezTo>
                    <a:pt x="0" y="5"/>
                    <a:pt x="0" y="5"/>
                    <a:pt x="0" y="5"/>
                  </a:cubicBezTo>
                  <a:cubicBezTo>
                    <a:pt x="1" y="5"/>
                    <a:pt x="1" y="4"/>
                    <a:pt x="2" y="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4" name="Freeform 223"/>
            <p:cNvSpPr>
              <a:spLocks/>
            </p:cNvSpPr>
            <p:nvPr>
              <p:custDataLst>
                <p:tags r:id="rId153"/>
              </p:custDataLst>
            </p:nvPr>
          </p:nvSpPr>
          <p:spPr bwMode="auto">
            <a:xfrm>
              <a:off x="3302" y="2133"/>
              <a:ext cx="39" cy="47"/>
            </a:xfrm>
            <a:custGeom>
              <a:avLst/>
              <a:gdLst>
                <a:gd name="T0" fmla="*/ 21535 w 23"/>
                <a:gd name="T1" fmla="*/ 44768 h 25"/>
                <a:gd name="T2" fmla="*/ 2692 w 23"/>
                <a:gd name="T3" fmla="*/ 32830 h 25"/>
                <a:gd name="T4" fmla="*/ 0 w 23"/>
                <a:gd name="T5" fmla="*/ 5969 h 25"/>
                <a:gd name="T6" fmla="*/ 32302 w 23"/>
                <a:gd name="T7" fmla="*/ 0 h 25"/>
                <a:gd name="T8" fmla="*/ 43070 w 23"/>
                <a:gd name="T9" fmla="*/ 20892 h 25"/>
                <a:gd name="T10" fmla="*/ 48454 w 23"/>
                <a:gd name="T11" fmla="*/ 29845 h 25"/>
                <a:gd name="T12" fmla="*/ 45762 w 23"/>
                <a:gd name="T13" fmla="*/ 41783 h 25"/>
                <a:gd name="T14" fmla="*/ 61913 w 23"/>
                <a:gd name="T15" fmla="*/ 59690 h 25"/>
                <a:gd name="T16" fmla="*/ 37686 w 23"/>
                <a:gd name="T17" fmla="*/ 68644 h 25"/>
                <a:gd name="T18" fmla="*/ 21535 w 23"/>
                <a:gd name="T19" fmla="*/ 4476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 h="25">
                  <a:moveTo>
                    <a:pt x="8" y="15"/>
                  </a:moveTo>
                  <a:cubicBezTo>
                    <a:pt x="5" y="13"/>
                    <a:pt x="1" y="13"/>
                    <a:pt x="1" y="11"/>
                  </a:cubicBezTo>
                  <a:cubicBezTo>
                    <a:pt x="0" y="2"/>
                    <a:pt x="0" y="2"/>
                    <a:pt x="0" y="2"/>
                  </a:cubicBezTo>
                  <a:cubicBezTo>
                    <a:pt x="3" y="3"/>
                    <a:pt x="8" y="1"/>
                    <a:pt x="12" y="0"/>
                  </a:cubicBezTo>
                  <a:cubicBezTo>
                    <a:pt x="16" y="7"/>
                    <a:pt x="16" y="7"/>
                    <a:pt x="16" y="7"/>
                  </a:cubicBezTo>
                  <a:cubicBezTo>
                    <a:pt x="18" y="10"/>
                    <a:pt x="18" y="10"/>
                    <a:pt x="18" y="10"/>
                  </a:cubicBezTo>
                  <a:cubicBezTo>
                    <a:pt x="17" y="14"/>
                    <a:pt x="17" y="14"/>
                    <a:pt x="17" y="14"/>
                  </a:cubicBezTo>
                  <a:cubicBezTo>
                    <a:pt x="23" y="20"/>
                    <a:pt x="23" y="20"/>
                    <a:pt x="23" y="20"/>
                  </a:cubicBezTo>
                  <a:cubicBezTo>
                    <a:pt x="23" y="20"/>
                    <a:pt x="17" y="25"/>
                    <a:pt x="14" y="23"/>
                  </a:cubicBezTo>
                  <a:cubicBezTo>
                    <a:pt x="13" y="21"/>
                    <a:pt x="11" y="16"/>
                    <a:pt x="8" y="1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5" name="Freeform 224"/>
            <p:cNvSpPr>
              <a:spLocks/>
            </p:cNvSpPr>
            <p:nvPr>
              <p:custDataLst>
                <p:tags r:id="rId154"/>
              </p:custDataLst>
            </p:nvPr>
          </p:nvSpPr>
          <p:spPr bwMode="auto">
            <a:xfrm>
              <a:off x="3255" y="2092"/>
              <a:ext cx="90" cy="47"/>
            </a:xfrm>
            <a:custGeom>
              <a:avLst/>
              <a:gdLst>
                <a:gd name="T0" fmla="*/ 0 w 52"/>
                <a:gd name="T1" fmla="*/ 14349 h 26"/>
                <a:gd name="T2" fmla="*/ 8243 w 52"/>
                <a:gd name="T3" fmla="*/ 0 h 26"/>
                <a:gd name="T4" fmla="*/ 43962 w 52"/>
                <a:gd name="T5" fmla="*/ 8609 h 26"/>
                <a:gd name="T6" fmla="*/ 71438 w 52"/>
                <a:gd name="T7" fmla="*/ 22958 h 26"/>
                <a:gd name="T8" fmla="*/ 87923 w 52"/>
                <a:gd name="T9" fmla="*/ 31567 h 26"/>
                <a:gd name="T10" fmla="*/ 107156 w 52"/>
                <a:gd name="T11" fmla="*/ 28697 h 26"/>
                <a:gd name="T12" fmla="*/ 134632 w 52"/>
                <a:gd name="T13" fmla="*/ 51655 h 26"/>
                <a:gd name="T14" fmla="*/ 142875 w 52"/>
                <a:gd name="T15" fmla="*/ 57395 h 26"/>
                <a:gd name="T16" fmla="*/ 137380 w 52"/>
                <a:gd name="T17" fmla="*/ 71743 h 26"/>
                <a:gd name="T18" fmla="*/ 112651 w 52"/>
                <a:gd name="T19" fmla="*/ 63134 h 26"/>
                <a:gd name="T20" fmla="*/ 107156 w 52"/>
                <a:gd name="T21" fmla="*/ 66004 h 26"/>
                <a:gd name="T22" fmla="*/ 74185 w 52"/>
                <a:gd name="T23" fmla="*/ 71743 h 26"/>
                <a:gd name="T24" fmla="*/ 57700 w 52"/>
                <a:gd name="T25" fmla="*/ 60264 h 26"/>
                <a:gd name="T26" fmla="*/ 35719 w 52"/>
                <a:gd name="T27" fmla="*/ 57395 h 26"/>
                <a:gd name="T28" fmla="*/ 35719 w 52"/>
                <a:gd name="T29" fmla="*/ 51655 h 26"/>
                <a:gd name="T30" fmla="*/ 27476 w 52"/>
                <a:gd name="T31" fmla="*/ 28697 h 26"/>
                <a:gd name="T32" fmla="*/ 0 w 52"/>
                <a:gd name="T33" fmla="*/ 14349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6">
                  <a:moveTo>
                    <a:pt x="0" y="5"/>
                  </a:moveTo>
                  <a:cubicBezTo>
                    <a:pt x="0" y="5"/>
                    <a:pt x="2" y="0"/>
                    <a:pt x="3" y="0"/>
                  </a:cubicBezTo>
                  <a:cubicBezTo>
                    <a:pt x="4" y="0"/>
                    <a:pt x="14" y="2"/>
                    <a:pt x="16" y="3"/>
                  </a:cubicBezTo>
                  <a:cubicBezTo>
                    <a:pt x="18" y="4"/>
                    <a:pt x="24" y="6"/>
                    <a:pt x="26" y="8"/>
                  </a:cubicBezTo>
                  <a:cubicBezTo>
                    <a:pt x="28" y="10"/>
                    <a:pt x="29" y="11"/>
                    <a:pt x="32" y="11"/>
                  </a:cubicBezTo>
                  <a:cubicBezTo>
                    <a:pt x="35" y="10"/>
                    <a:pt x="37" y="10"/>
                    <a:pt x="39" y="10"/>
                  </a:cubicBezTo>
                  <a:cubicBezTo>
                    <a:pt x="41" y="11"/>
                    <a:pt x="48" y="17"/>
                    <a:pt x="49" y="18"/>
                  </a:cubicBezTo>
                  <a:cubicBezTo>
                    <a:pt x="50" y="18"/>
                    <a:pt x="51" y="19"/>
                    <a:pt x="52" y="20"/>
                  </a:cubicBezTo>
                  <a:cubicBezTo>
                    <a:pt x="52" y="20"/>
                    <a:pt x="52" y="25"/>
                    <a:pt x="50" y="25"/>
                  </a:cubicBezTo>
                  <a:cubicBezTo>
                    <a:pt x="47" y="25"/>
                    <a:pt x="43" y="21"/>
                    <a:pt x="41" y="22"/>
                  </a:cubicBezTo>
                  <a:cubicBezTo>
                    <a:pt x="40" y="22"/>
                    <a:pt x="40" y="23"/>
                    <a:pt x="39" y="23"/>
                  </a:cubicBezTo>
                  <a:cubicBezTo>
                    <a:pt x="35" y="24"/>
                    <a:pt x="30" y="26"/>
                    <a:pt x="27" y="25"/>
                  </a:cubicBezTo>
                  <a:cubicBezTo>
                    <a:pt x="24" y="24"/>
                    <a:pt x="23" y="21"/>
                    <a:pt x="21" y="21"/>
                  </a:cubicBezTo>
                  <a:cubicBezTo>
                    <a:pt x="20" y="21"/>
                    <a:pt x="13" y="20"/>
                    <a:pt x="13" y="20"/>
                  </a:cubicBezTo>
                  <a:cubicBezTo>
                    <a:pt x="13" y="19"/>
                    <a:pt x="13" y="19"/>
                    <a:pt x="13" y="18"/>
                  </a:cubicBezTo>
                  <a:cubicBezTo>
                    <a:pt x="13" y="15"/>
                    <a:pt x="12" y="12"/>
                    <a:pt x="10" y="10"/>
                  </a:cubicBezTo>
                  <a:cubicBezTo>
                    <a:pt x="8" y="8"/>
                    <a:pt x="3" y="6"/>
                    <a:pt x="0"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6" name="Freeform 225"/>
            <p:cNvSpPr>
              <a:spLocks/>
            </p:cNvSpPr>
            <p:nvPr>
              <p:custDataLst>
                <p:tags r:id="rId155"/>
              </p:custDataLst>
            </p:nvPr>
          </p:nvSpPr>
          <p:spPr bwMode="auto">
            <a:xfrm>
              <a:off x="3177" y="2264"/>
              <a:ext cx="27" cy="63"/>
            </a:xfrm>
            <a:custGeom>
              <a:avLst/>
              <a:gdLst>
                <a:gd name="T0" fmla="*/ 5358 w 16"/>
                <a:gd name="T1" fmla="*/ 47065 h 34"/>
                <a:gd name="T2" fmla="*/ 24110 w 16"/>
                <a:gd name="T3" fmla="*/ 0 h 34"/>
                <a:gd name="T4" fmla="*/ 32147 w 16"/>
                <a:gd name="T5" fmla="*/ 0 h 34"/>
                <a:gd name="T6" fmla="*/ 42863 w 16"/>
                <a:gd name="T7" fmla="*/ 5883 h 34"/>
                <a:gd name="T8" fmla="*/ 37505 w 16"/>
                <a:gd name="T9" fmla="*/ 17649 h 34"/>
                <a:gd name="T10" fmla="*/ 32147 w 16"/>
                <a:gd name="T11" fmla="*/ 41182 h 34"/>
                <a:gd name="T12" fmla="*/ 21432 w 16"/>
                <a:gd name="T13" fmla="*/ 97071 h 34"/>
                <a:gd name="T14" fmla="*/ 18753 w 16"/>
                <a:gd name="T15" fmla="*/ 97071 h 34"/>
                <a:gd name="T16" fmla="*/ 16074 w 16"/>
                <a:gd name="T17" fmla="*/ 100013 h 34"/>
                <a:gd name="T18" fmla="*/ 0 w 16"/>
                <a:gd name="T19" fmla="*/ 50007 h 34"/>
                <a:gd name="T20" fmla="*/ 5358 w 16"/>
                <a:gd name="T21" fmla="*/ 4706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34">
                  <a:moveTo>
                    <a:pt x="2" y="16"/>
                  </a:moveTo>
                  <a:cubicBezTo>
                    <a:pt x="3" y="14"/>
                    <a:pt x="7" y="6"/>
                    <a:pt x="9" y="0"/>
                  </a:cubicBezTo>
                  <a:cubicBezTo>
                    <a:pt x="12" y="0"/>
                    <a:pt x="12" y="0"/>
                    <a:pt x="12" y="0"/>
                  </a:cubicBezTo>
                  <a:cubicBezTo>
                    <a:pt x="16" y="2"/>
                    <a:pt x="16" y="2"/>
                    <a:pt x="16" y="2"/>
                  </a:cubicBezTo>
                  <a:cubicBezTo>
                    <a:pt x="15" y="4"/>
                    <a:pt x="15" y="5"/>
                    <a:pt x="14" y="6"/>
                  </a:cubicBezTo>
                  <a:cubicBezTo>
                    <a:pt x="13" y="7"/>
                    <a:pt x="12" y="12"/>
                    <a:pt x="12" y="14"/>
                  </a:cubicBezTo>
                  <a:cubicBezTo>
                    <a:pt x="8" y="33"/>
                    <a:pt x="8" y="33"/>
                    <a:pt x="8" y="33"/>
                  </a:cubicBezTo>
                  <a:cubicBezTo>
                    <a:pt x="7" y="33"/>
                    <a:pt x="7" y="33"/>
                    <a:pt x="7" y="33"/>
                  </a:cubicBezTo>
                  <a:cubicBezTo>
                    <a:pt x="7" y="33"/>
                    <a:pt x="6" y="33"/>
                    <a:pt x="6" y="34"/>
                  </a:cubicBezTo>
                  <a:cubicBezTo>
                    <a:pt x="0" y="17"/>
                    <a:pt x="0" y="17"/>
                    <a:pt x="0" y="17"/>
                  </a:cubicBezTo>
                  <a:cubicBezTo>
                    <a:pt x="1" y="17"/>
                    <a:pt x="2" y="17"/>
                    <a:pt x="2" y="1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7" name="Freeform 226"/>
            <p:cNvSpPr>
              <a:spLocks/>
            </p:cNvSpPr>
            <p:nvPr>
              <p:custDataLst>
                <p:tags r:id="rId156"/>
              </p:custDataLst>
            </p:nvPr>
          </p:nvSpPr>
          <p:spPr bwMode="auto">
            <a:xfrm>
              <a:off x="3083" y="2011"/>
              <a:ext cx="36" cy="51"/>
            </a:xfrm>
            <a:custGeom>
              <a:avLst/>
              <a:gdLst>
                <a:gd name="T0" fmla="*/ 0 w 21"/>
                <a:gd name="T1" fmla="*/ 0 h 28"/>
                <a:gd name="T2" fmla="*/ 5443 w 21"/>
                <a:gd name="T3" fmla="*/ 0 h 28"/>
                <a:gd name="T4" fmla="*/ 29936 w 21"/>
                <a:gd name="T5" fmla="*/ 2892 h 28"/>
                <a:gd name="T6" fmla="*/ 51707 w 21"/>
                <a:gd name="T7" fmla="*/ 14458 h 28"/>
                <a:gd name="T8" fmla="*/ 54429 w 21"/>
                <a:gd name="T9" fmla="*/ 28915 h 28"/>
                <a:gd name="T10" fmla="*/ 54429 w 21"/>
                <a:gd name="T11" fmla="*/ 52048 h 28"/>
                <a:gd name="T12" fmla="*/ 43543 w 21"/>
                <a:gd name="T13" fmla="*/ 57831 h 28"/>
                <a:gd name="T14" fmla="*/ 38100 w 21"/>
                <a:gd name="T15" fmla="*/ 80963 h 28"/>
                <a:gd name="T16" fmla="*/ 27214 w 21"/>
                <a:gd name="T17" fmla="*/ 78071 h 28"/>
                <a:gd name="T18" fmla="*/ 24493 w 21"/>
                <a:gd name="T19" fmla="*/ 43373 h 28"/>
                <a:gd name="T20" fmla="*/ 5443 w 21"/>
                <a:gd name="T21" fmla="*/ 17349 h 28"/>
                <a:gd name="T22" fmla="*/ 0 w 21"/>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 h="28">
                  <a:moveTo>
                    <a:pt x="0" y="0"/>
                  </a:moveTo>
                  <a:cubicBezTo>
                    <a:pt x="1" y="0"/>
                    <a:pt x="1" y="0"/>
                    <a:pt x="2" y="0"/>
                  </a:cubicBezTo>
                  <a:cubicBezTo>
                    <a:pt x="3" y="0"/>
                    <a:pt x="9" y="0"/>
                    <a:pt x="11" y="1"/>
                  </a:cubicBezTo>
                  <a:cubicBezTo>
                    <a:pt x="13" y="2"/>
                    <a:pt x="18" y="3"/>
                    <a:pt x="19" y="5"/>
                  </a:cubicBezTo>
                  <a:cubicBezTo>
                    <a:pt x="19" y="7"/>
                    <a:pt x="19" y="9"/>
                    <a:pt x="20" y="10"/>
                  </a:cubicBezTo>
                  <a:cubicBezTo>
                    <a:pt x="21" y="12"/>
                    <a:pt x="20" y="18"/>
                    <a:pt x="20" y="18"/>
                  </a:cubicBezTo>
                  <a:cubicBezTo>
                    <a:pt x="20" y="18"/>
                    <a:pt x="16" y="19"/>
                    <a:pt x="16" y="20"/>
                  </a:cubicBezTo>
                  <a:cubicBezTo>
                    <a:pt x="14" y="28"/>
                    <a:pt x="14" y="28"/>
                    <a:pt x="14" y="28"/>
                  </a:cubicBezTo>
                  <a:cubicBezTo>
                    <a:pt x="12" y="28"/>
                    <a:pt x="10" y="28"/>
                    <a:pt x="10" y="27"/>
                  </a:cubicBezTo>
                  <a:cubicBezTo>
                    <a:pt x="10" y="25"/>
                    <a:pt x="11" y="17"/>
                    <a:pt x="9" y="15"/>
                  </a:cubicBezTo>
                  <a:cubicBezTo>
                    <a:pt x="8" y="12"/>
                    <a:pt x="3" y="7"/>
                    <a:pt x="2" y="6"/>
                  </a:cubicBezTo>
                  <a:lnTo>
                    <a:pt x="0" y="0"/>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8" name="Freeform 227"/>
            <p:cNvSpPr>
              <a:spLocks/>
            </p:cNvSpPr>
            <p:nvPr>
              <p:custDataLst>
                <p:tags r:id="rId157"/>
              </p:custDataLst>
            </p:nvPr>
          </p:nvSpPr>
          <p:spPr bwMode="auto">
            <a:xfrm>
              <a:off x="3070" y="2121"/>
              <a:ext cx="249" cy="103"/>
            </a:xfrm>
            <a:custGeom>
              <a:avLst/>
              <a:gdLst>
                <a:gd name="T0" fmla="*/ 16357 w 145"/>
                <a:gd name="T1" fmla="*/ 75917 h 56"/>
                <a:gd name="T2" fmla="*/ 0 w 145"/>
                <a:gd name="T3" fmla="*/ 72997 h 56"/>
                <a:gd name="T4" fmla="*/ 8178 w 145"/>
                <a:gd name="T5" fmla="*/ 49638 h 56"/>
                <a:gd name="T6" fmla="*/ 19083 w 145"/>
                <a:gd name="T7" fmla="*/ 46718 h 56"/>
                <a:gd name="T8" fmla="*/ 24535 w 145"/>
                <a:gd name="T9" fmla="*/ 46718 h 56"/>
                <a:gd name="T10" fmla="*/ 65427 w 145"/>
                <a:gd name="T11" fmla="*/ 46718 h 56"/>
                <a:gd name="T12" fmla="*/ 76331 w 145"/>
                <a:gd name="T13" fmla="*/ 37958 h 56"/>
                <a:gd name="T14" fmla="*/ 70879 w 145"/>
                <a:gd name="T15" fmla="*/ 26279 h 56"/>
                <a:gd name="T16" fmla="*/ 81784 w 145"/>
                <a:gd name="T17" fmla="*/ 23359 h 56"/>
                <a:gd name="T18" fmla="*/ 111771 w 145"/>
                <a:gd name="T19" fmla="*/ 26279 h 56"/>
                <a:gd name="T20" fmla="*/ 136306 w 145"/>
                <a:gd name="T21" fmla="*/ 11680 h 56"/>
                <a:gd name="T22" fmla="*/ 166294 w 145"/>
                <a:gd name="T23" fmla="*/ 0 h 56"/>
                <a:gd name="T24" fmla="*/ 190829 w 145"/>
                <a:gd name="T25" fmla="*/ 0 h 56"/>
                <a:gd name="T26" fmla="*/ 196281 w 145"/>
                <a:gd name="T27" fmla="*/ 8760 h 56"/>
                <a:gd name="T28" fmla="*/ 212638 w 145"/>
                <a:gd name="T29" fmla="*/ 8760 h 56"/>
                <a:gd name="T30" fmla="*/ 226268 w 145"/>
                <a:gd name="T31" fmla="*/ 17519 h 56"/>
                <a:gd name="T32" fmla="*/ 256256 w 145"/>
                <a:gd name="T33" fmla="*/ 26279 h 56"/>
                <a:gd name="T34" fmla="*/ 280791 w 145"/>
                <a:gd name="T35" fmla="*/ 26279 h 56"/>
                <a:gd name="T36" fmla="*/ 302600 w 145"/>
                <a:gd name="T37" fmla="*/ 29199 h 56"/>
                <a:gd name="T38" fmla="*/ 329861 w 145"/>
                <a:gd name="T39" fmla="*/ 11680 h 56"/>
                <a:gd name="T40" fmla="*/ 351670 w 145"/>
                <a:gd name="T41" fmla="*/ 14599 h 56"/>
                <a:gd name="T42" fmla="*/ 368027 w 145"/>
                <a:gd name="T43" fmla="*/ 26279 h 56"/>
                <a:gd name="T44" fmla="*/ 370753 w 145"/>
                <a:gd name="T45" fmla="*/ 52558 h 56"/>
                <a:gd name="T46" fmla="*/ 389836 w 145"/>
                <a:gd name="T47" fmla="*/ 64237 h 56"/>
                <a:gd name="T48" fmla="*/ 381657 w 145"/>
                <a:gd name="T49" fmla="*/ 78837 h 56"/>
                <a:gd name="T50" fmla="*/ 387110 w 145"/>
                <a:gd name="T51" fmla="*/ 108035 h 56"/>
                <a:gd name="T52" fmla="*/ 395288 w 145"/>
                <a:gd name="T53" fmla="*/ 128475 h 56"/>
                <a:gd name="T54" fmla="*/ 354396 w 145"/>
                <a:gd name="T55" fmla="*/ 125555 h 56"/>
                <a:gd name="T56" fmla="*/ 343492 w 145"/>
                <a:gd name="T57" fmla="*/ 131394 h 56"/>
                <a:gd name="T58" fmla="*/ 332587 w 145"/>
                <a:gd name="T59" fmla="*/ 122635 h 56"/>
                <a:gd name="T60" fmla="*/ 308052 w 145"/>
                <a:gd name="T61" fmla="*/ 131394 h 56"/>
                <a:gd name="T62" fmla="*/ 269886 w 145"/>
                <a:gd name="T63" fmla="*/ 140154 h 56"/>
                <a:gd name="T64" fmla="*/ 256256 w 145"/>
                <a:gd name="T65" fmla="*/ 134314 h 56"/>
                <a:gd name="T66" fmla="*/ 231721 w 145"/>
                <a:gd name="T67" fmla="*/ 140154 h 56"/>
                <a:gd name="T68" fmla="*/ 223542 w 145"/>
                <a:gd name="T69" fmla="*/ 154753 h 56"/>
                <a:gd name="T70" fmla="*/ 212638 w 145"/>
                <a:gd name="T71" fmla="*/ 160593 h 56"/>
                <a:gd name="T72" fmla="*/ 212638 w 145"/>
                <a:gd name="T73" fmla="*/ 154753 h 56"/>
                <a:gd name="T74" fmla="*/ 209912 w 145"/>
                <a:gd name="T75" fmla="*/ 151834 h 56"/>
                <a:gd name="T76" fmla="*/ 212638 w 145"/>
                <a:gd name="T77" fmla="*/ 131394 h 56"/>
                <a:gd name="T78" fmla="*/ 196281 w 145"/>
                <a:gd name="T79" fmla="*/ 143074 h 56"/>
                <a:gd name="T80" fmla="*/ 182650 w 145"/>
                <a:gd name="T81" fmla="*/ 140154 h 56"/>
                <a:gd name="T82" fmla="*/ 160841 w 145"/>
                <a:gd name="T83" fmla="*/ 154753 h 56"/>
                <a:gd name="T84" fmla="*/ 136306 w 145"/>
                <a:gd name="T85" fmla="*/ 157673 h 56"/>
                <a:gd name="T86" fmla="*/ 109045 w 145"/>
                <a:gd name="T87" fmla="*/ 137234 h 56"/>
                <a:gd name="T88" fmla="*/ 98140 w 145"/>
                <a:gd name="T89" fmla="*/ 137234 h 56"/>
                <a:gd name="T90" fmla="*/ 92688 w 145"/>
                <a:gd name="T91" fmla="*/ 151834 h 56"/>
                <a:gd name="T92" fmla="*/ 76331 w 145"/>
                <a:gd name="T93" fmla="*/ 154753 h 56"/>
                <a:gd name="T94" fmla="*/ 65427 w 145"/>
                <a:gd name="T95" fmla="*/ 140154 h 56"/>
                <a:gd name="T96" fmla="*/ 43618 w 145"/>
                <a:gd name="T97" fmla="*/ 140154 h 56"/>
                <a:gd name="T98" fmla="*/ 27261 w 145"/>
                <a:gd name="T99" fmla="*/ 134314 h 56"/>
                <a:gd name="T100" fmla="*/ 32713 w 145"/>
                <a:gd name="T101" fmla="*/ 125555 h 56"/>
                <a:gd name="T102" fmla="*/ 19083 w 145"/>
                <a:gd name="T103" fmla="*/ 113875 h 56"/>
                <a:gd name="T104" fmla="*/ 27261 w 145"/>
                <a:gd name="T105" fmla="*/ 105116 h 56"/>
                <a:gd name="T106" fmla="*/ 5452 w 145"/>
                <a:gd name="T107" fmla="*/ 96356 h 56"/>
                <a:gd name="T108" fmla="*/ 21809 w 145"/>
                <a:gd name="T109" fmla="*/ 87596 h 56"/>
                <a:gd name="T110" fmla="*/ 16357 w 145"/>
                <a:gd name="T111" fmla="*/ 75917 h 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 h="56">
                  <a:moveTo>
                    <a:pt x="6" y="26"/>
                  </a:moveTo>
                  <a:cubicBezTo>
                    <a:pt x="6" y="26"/>
                    <a:pt x="0" y="26"/>
                    <a:pt x="0" y="25"/>
                  </a:cubicBezTo>
                  <a:cubicBezTo>
                    <a:pt x="0" y="23"/>
                    <a:pt x="2" y="18"/>
                    <a:pt x="3" y="17"/>
                  </a:cubicBezTo>
                  <a:cubicBezTo>
                    <a:pt x="4" y="17"/>
                    <a:pt x="5" y="16"/>
                    <a:pt x="7" y="16"/>
                  </a:cubicBezTo>
                  <a:cubicBezTo>
                    <a:pt x="7" y="16"/>
                    <a:pt x="8" y="16"/>
                    <a:pt x="9" y="16"/>
                  </a:cubicBezTo>
                  <a:cubicBezTo>
                    <a:pt x="11" y="17"/>
                    <a:pt x="22" y="16"/>
                    <a:pt x="24" y="16"/>
                  </a:cubicBezTo>
                  <a:cubicBezTo>
                    <a:pt x="27" y="16"/>
                    <a:pt x="28" y="15"/>
                    <a:pt x="28" y="13"/>
                  </a:cubicBezTo>
                  <a:cubicBezTo>
                    <a:pt x="29" y="12"/>
                    <a:pt x="26" y="10"/>
                    <a:pt x="26" y="9"/>
                  </a:cubicBezTo>
                  <a:cubicBezTo>
                    <a:pt x="26" y="8"/>
                    <a:pt x="28" y="8"/>
                    <a:pt x="30" y="8"/>
                  </a:cubicBezTo>
                  <a:cubicBezTo>
                    <a:pt x="32" y="8"/>
                    <a:pt x="38" y="10"/>
                    <a:pt x="41" y="9"/>
                  </a:cubicBezTo>
                  <a:cubicBezTo>
                    <a:pt x="43" y="7"/>
                    <a:pt x="48" y="6"/>
                    <a:pt x="50" y="4"/>
                  </a:cubicBezTo>
                  <a:cubicBezTo>
                    <a:pt x="52" y="3"/>
                    <a:pt x="57" y="0"/>
                    <a:pt x="61" y="0"/>
                  </a:cubicBezTo>
                  <a:cubicBezTo>
                    <a:pt x="65" y="1"/>
                    <a:pt x="67" y="0"/>
                    <a:pt x="70" y="0"/>
                  </a:cubicBezTo>
                  <a:cubicBezTo>
                    <a:pt x="72" y="0"/>
                    <a:pt x="70" y="3"/>
                    <a:pt x="72" y="3"/>
                  </a:cubicBezTo>
                  <a:cubicBezTo>
                    <a:pt x="75" y="4"/>
                    <a:pt x="77" y="2"/>
                    <a:pt x="78" y="3"/>
                  </a:cubicBezTo>
                  <a:cubicBezTo>
                    <a:pt x="79" y="3"/>
                    <a:pt x="79" y="5"/>
                    <a:pt x="83" y="6"/>
                  </a:cubicBezTo>
                  <a:cubicBezTo>
                    <a:pt x="86" y="8"/>
                    <a:pt x="90" y="9"/>
                    <a:pt x="94" y="9"/>
                  </a:cubicBezTo>
                  <a:cubicBezTo>
                    <a:pt x="98" y="10"/>
                    <a:pt x="100" y="9"/>
                    <a:pt x="103" y="9"/>
                  </a:cubicBezTo>
                  <a:cubicBezTo>
                    <a:pt x="107" y="9"/>
                    <a:pt x="109" y="11"/>
                    <a:pt x="111" y="10"/>
                  </a:cubicBezTo>
                  <a:cubicBezTo>
                    <a:pt x="114" y="9"/>
                    <a:pt x="119" y="6"/>
                    <a:pt x="121" y="4"/>
                  </a:cubicBezTo>
                  <a:cubicBezTo>
                    <a:pt x="121" y="4"/>
                    <a:pt x="128" y="5"/>
                    <a:pt x="129" y="5"/>
                  </a:cubicBezTo>
                  <a:cubicBezTo>
                    <a:pt x="131" y="5"/>
                    <a:pt x="132" y="8"/>
                    <a:pt x="135" y="9"/>
                  </a:cubicBezTo>
                  <a:cubicBezTo>
                    <a:pt x="136" y="18"/>
                    <a:pt x="136" y="18"/>
                    <a:pt x="136" y="18"/>
                  </a:cubicBezTo>
                  <a:cubicBezTo>
                    <a:pt x="136" y="20"/>
                    <a:pt x="140" y="20"/>
                    <a:pt x="143" y="22"/>
                  </a:cubicBezTo>
                  <a:cubicBezTo>
                    <a:pt x="140" y="27"/>
                    <a:pt x="140" y="27"/>
                    <a:pt x="140" y="27"/>
                  </a:cubicBezTo>
                  <a:cubicBezTo>
                    <a:pt x="141" y="29"/>
                    <a:pt x="142" y="34"/>
                    <a:pt x="142" y="37"/>
                  </a:cubicBezTo>
                  <a:cubicBezTo>
                    <a:pt x="142" y="40"/>
                    <a:pt x="143" y="40"/>
                    <a:pt x="145" y="44"/>
                  </a:cubicBezTo>
                  <a:cubicBezTo>
                    <a:pt x="130" y="43"/>
                    <a:pt x="130" y="43"/>
                    <a:pt x="130" y="43"/>
                  </a:cubicBezTo>
                  <a:cubicBezTo>
                    <a:pt x="129" y="43"/>
                    <a:pt x="128" y="44"/>
                    <a:pt x="126" y="45"/>
                  </a:cubicBezTo>
                  <a:cubicBezTo>
                    <a:pt x="122" y="42"/>
                    <a:pt x="122" y="42"/>
                    <a:pt x="122" y="42"/>
                  </a:cubicBezTo>
                  <a:cubicBezTo>
                    <a:pt x="120" y="42"/>
                    <a:pt x="116" y="44"/>
                    <a:pt x="113" y="45"/>
                  </a:cubicBezTo>
                  <a:cubicBezTo>
                    <a:pt x="110" y="46"/>
                    <a:pt x="101" y="49"/>
                    <a:pt x="99" y="48"/>
                  </a:cubicBezTo>
                  <a:cubicBezTo>
                    <a:pt x="98" y="47"/>
                    <a:pt x="95" y="46"/>
                    <a:pt x="94" y="46"/>
                  </a:cubicBezTo>
                  <a:cubicBezTo>
                    <a:pt x="92" y="46"/>
                    <a:pt x="85" y="46"/>
                    <a:pt x="85" y="48"/>
                  </a:cubicBezTo>
                  <a:cubicBezTo>
                    <a:pt x="85" y="50"/>
                    <a:pt x="84" y="52"/>
                    <a:pt x="82" y="53"/>
                  </a:cubicBezTo>
                  <a:cubicBezTo>
                    <a:pt x="81" y="54"/>
                    <a:pt x="78" y="55"/>
                    <a:pt x="78" y="55"/>
                  </a:cubicBezTo>
                  <a:cubicBezTo>
                    <a:pt x="78" y="54"/>
                    <a:pt x="78" y="54"/>
                    <a:pt x="78" y="53"/>
                  </a:cubicBezTo>
                  <a:cubicBezTo>
                    <a:pt x="77" y="52"/>
                    <a:pt x="77" y="53"/>
                    <a:pt x="77" y="52"/>
                  </a:cubicBezTo>
                  <a:cubicBezTo>
                    <a:pt x="76" y="51"/>
                    <a:pt x="82" y="49"/>
                    <a:pt x="78" y="45"/>
                  </a:cubicBezTo>
                  <a:cubicBezTo>
                    <a:pt x="75" y="43"/>
                    <a:pt x="73" y="49"/>
                    <a:pt x="72" y="49"/>
                  </a:cubicBezTo>
                  <a:cubicBezTo>
                    <a:pt x="70" y="49"/>
                    <a:pt x="69" y="46"/>
                    <a:pt x="67" y="48"/>
                  </a:cubicBezTo>
                  <a:cubicBezTo>
                    <a:pt x="64" y="50"/>
                    <a:pt x="61" y="53"/>
                    <a:pt x="59" y="53"/>
                  </a:cubicBezTo>
                  <a:cubicBezTo>
                    <a:pt x="56" y="53"/>
                    <a:pt x="52" y="56"/>
                    <a:pt x="50" y="54"/>
                  </a:cubicBezTo>
                  <a:cubicBezTo>
                    <a:pt x="48" y="52"/>
                    <a:pt x="43" y="47"/>
                    <a:pt x="40" y="47"/>
                  </a:cubicBezTo>
                  <a:cubicBezTo>
                    <a:pt x="37" y="46"/>
                    <a:pt x="37" y="45"/>
                    <a:pt x="36" y="47"/>
                  </a:cubicBezTo>
                  <a:cubicBezTo>
                    <a:pt x="34" y="48"/>
                    <a:pt x="37" y="52"/>
                    <a:pt x="34" y="52"/>
                  </a:cubicBezTo>
                  <a:cubicBezTo>
                    <a:pt x="32" y="52"/>
                    <a:pt x="31" y="54"/>
                    <a:pt x="28" y="53"/>
                  </a:cubicBezTo>
                  <a:cubicBezTo>
                    <a:pt x="25" y="51"/>
                    <a:pt x="25" y="49"/>
                    <a:pt x="24" y="48"/>
                  </a:cubicBezTo>
                  <a:cubicBezTo>
                    <a:pt x="22" y="48"/>
                    <a:pt x="18" y="48"/>
                    <a:pt x="16" y="48"/>
                  </a:cubicBezTo>
                  <a:cubicBezTo>
                    <a:pt x="13" y="48"/>
                    <a:pt x="11" y="46"/>
                    <a:pt x="10" y="46"/>
                  </a:cubicBezTo>
                  <a:cubicBezTo>
                    <a:pt x="10" y="45"/>
                    <a:pt x="14" y="44"/>
                    <a:pt x="12" y="43"/>
                  </a:cubicBezTo>
                  <a:cubicBezTo>
                    <a:pt x="10" y="41"/>
                    <a:pt x="8" y="40"/>
                    <a:pt x="7" y="39"/>
                  </a:cubicBezTo>
                  <a:cubicBezTo>
                    <a:pt x="5" y="39"/>
                    <a:pt x="12" y="38"/>
                    <a:pt x="10" y="36"/>
                  </a:cubicBezTo>
                  <a:cubicBezTo>
                    <a:pt x="7" y="35"/>
                    <a:pt x="1" y="35"/>
                    <a:pt x="2" y="33"/>
                  </a:cubicBezTo>
                  <a:cubicBezTo>
                    <a:pt x="2" y="31"/>
                    <a:pt x="8" y="31"/>
                    <a:pt x="8" y="30"/>
                  </a:cubicBezTo>
                  <a:cubicBezTo>
                    <a:pt x="8" y="29"/>
                    <a:pt x="7" y="27"/>
                    <a:pt x="6"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89" name="Freeform 228"/>
            <p:cNvSpPr>
              <a:spLocks/>
            </p:cNvSpPr>
            <p:nvPr>
              <p:custDataLst>
                <p:tags r:id="rId158"/>
              </p:custDataLst>
            </p:nvPr>
          </p:nvSpPr>
          <p:spPr bwMode="auto">
            <a:xfrm>
              <a:off x="3073" y="2117"/>
              <a:ext cx="37" cy="27"/>
            </a:xfrm>
            <a:custGeom>
              <a:avLst/>
              <a:gdLst>
                <a:gd name="T0" fmla="*/ 0 w 21"/>
                <a:gd name="T1" fmla="*/ 37148 h 15"/>
                <a:gd name="T2" fmla="*/ 8391 w 21"/>
                <a:gd name="T3" fmla="*/ 25718 h 15"/>
                <a:gd name="T4" fmla="*/ 2797 w 21"/>
                <a:gd name="T5" fmla="*/ 5715 h 15"/>
                <a:gd name="T6" fmla="*/ 22376 w 21"/>
                <a:gd name="T7" fmla="*/ 0 h 15"/>
                <a:gd name="T8" fmla="*/ 33565 w 21"/>
                <a:gd name="T9" fmla="*/ 0 h 15"/>
                <a:gd name="T10" fmla="*/ 33565 w 21"/>
                <a:gd name="T11" fmla="*/ 0 h 15"/>
                <a:gd name="T12" fmla="*/ 39159 w 21"/>
                <a:gd name="T13" fmla="*/ 14288 h 15"/>
                <a:gd name="T14" fmla="*/ 58738 w 21"/>
                <a:gd name="T15" fmla="*/ 25718 h 15"/>
                <a:gd name="T16" fmla="*/ 50347 w 21"/>
                <a:gd name="T17" fmla="*/ 31433 h 15"/>
                <a:gd name="T18" fmla="*/ 25173 w 21"/>
                <a:gd name="T19" fmla="*/ 31433 h 15"/>
                <a:gd name="T20" fmla="*/ 13985 w 21"/>
                <a:gd name="T21" fmla="*/ 40005 h 15"/>
                <a:gd name="T22" fmla="*/ 11188 w 21"/>
                <a:gd name="T23" fmla="*/ 40005 h 15"/>
                <a:gd name="T24" fmla="*/ 0 w 21"/>
                <a:gd name="T25" fmla="*/ 37148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15">
                  <a:moveTo>
                    <a:pt x="0" y="13"/>
                  </a:moveTo>
                  <a:cubicBezTo>
                    <a:pt x="3" y="9"/>
                    <a:pt x="3" y="9"/>
                    <a:pt x="3" y="9"/>
                  </a:cubicBezTo>
                  <a:cubicBezTo>
                    <a:pt x="1" y="2"/>
                    <a:pt x="1" y="2"/>
                    <a:pt x="1" y="2"/>
                  </a:cubicBezTo>
                  <a:cubicBezTo>
                    <a:pt x="2" y="2"/>
                    <a:pt x="7" y="0"/>
                    <a:pt x="8" y="0"/>
                  </a:cubicBezTo>
                  <a:cubicBezTo>
                    <a:pt x="9" y="0"/>
                    <a:pt x="12" y="0"/>
                    <a:pt x="12" y="0"/>
                  </a:cubicBezTo>
                  <a:cubicBezTo>
                    <a:pt x="12" y="0"/>
                    <a:pt x="12" y="0"/>
                    <a:pt x="12" y="0"/>
                  </a:cubicBezTo>
                  <a:cubicBezTo>
                    <a:pt x="12" y="2"/>
                    <a:pt x="13" y="4"/>
                    <a:pt x="14" y="5"/>
                  </a:cubicBezTo>
                  <a:cubicBezTo>
                    <a:pt x="15" y="5"/>
                    <a:pt x="21" y="8"/>
                    <a:pt x="21" y="9"/>
                  </a:cubicBezTo>
                  <a:cubicBezTo>
                    <a:pt x="20" y="10"/>
                    <a:pt x="20" y="11"/>
                    <a:pt x="18" y="11"/>
                  </a:cubicBezTo>
                  <a:cubicBezTo>
                    <a:pt x="16" y="11"/>
                    <a:pt x="11" y="10"/>
                    <a:pt x="9" y="11"/>
                  </a:cubicBezTo>
                  <a:cubicBezTo>
                    <a:pt x="8" y="13"/>
                    <a:pt x="7" y="14"/>
                    <a:pt x="5" y="14"/>
                  </a:cubicBezTo>
                  <a:cubicBezTo>
                    <a:pt x="5" y="14"/>
                    <a:pt x="4" y="14"/>
                    <a:pt x="4" y="14"/>
                  </a:cubicBezTo>
                  <a:cubicBezTo>
                    <a:pt x="2" y="14"/>
                    <a:pt x="1" y="15"/>
                    <a:pt x="0"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0" name="Freeform 229"/>
            <p:cNvSpPr>
              <a:spLocks/>
            </p:cNvSpPr>
            <p:nvPr>
              <p:custDataLst>
                <p:tags r:id="rId159"/>
              </p:custDataLst>
            </p:nvPr>
          </p:nvSpPr>
          <p:spPr bwMode="auto">
            <a:xfrm>
              <a:off x="3021" y="1936"/>
              <a:ext cx="236" cy="151"/>
            </a:xfrm>
            <a:custGeom>
              <a:avLst/>
              <a:gdLst>
                <a:gd name="T0" fmla="*/ 2715 w 138"/>
                <a:gd name="T1" fmla="*/ 116933 h 82"/>
                <a:gd name="T2" fmla="*/ 10859 w 138"/>
                <a:gd name="T3" fmla="*/ 102317 h 82"/>
                <a:gd name="T4" fmla="*/ 19004 w 138"/>
                <a:gd name="T5" fmla="*/ 99393 h 82"/>
                <a:gd name="T6" fmla="*/ 16289 w 138"/>
                <a:gd name="T7" fmla="*/ 81853 h 82"/>
                <a:gd name="T8" fmla="*/ 32578 w 138"/>
                <a:gd name="T9" fmla="*/ 64313 h 82"/>
                <a:gd name="T10" fmla="*/ 43438 w 138"/>
                <a:gd name="T11" fmla="*/ 55543 h 82"/>
                <a:gd name="T12" fmla="*/ 32578 w 138"/>
                <a:gd name="T13" fmla="*/ 32157 h 82"/>
                <a:gd name="T14" fmla="*/ 32578 w 138"/>
                <a:gd name="T15" fmla="*/ 29233 h 82"/>
                <a:gd name="T16" fmla="*/ 32578 w 138"/>
                <a:gd name="T17" fmla="*/ 29233 h 82"/>
                <a:gd name="T18" fmla="*/ 54297 w 138"/>
                <a:gd name="T19" fmla="*/ 20463 h 82"/>
                <a:gd name="T20" fmla="*/ 76016 w 138"/>
                <a:gd name="T21" fmla="*/ 14617 h 82"/>
                <a:gd name="T22" fmla="*/ 116739 w 138"/>
                <a:gd name="T23" fmla="*/ 23387 h 82"/>
                <a:gd name="T24" fmla="*/ 152032 w 138"/>
                <a:gd name="T25" fmla="*/ 32157 h 82"/>
                <a:gd name="T26" fmla="*/ 176466 w 138"/>
                <a:gd name="T27" fmla="*/ 35080 h 82"/>
                <a:gd name="T28" fmla="*/ 184610 w 138"/>
                <a:gd name="T29" fmla="*/ 14617 h 82"/>
                <a:gd name="T30" fmla="*/ 198184 w 138"/>
                <a:gd name="T31" fmla="*/ 8770 h 82"/>
                <a:gd name="T32" fmla="*/ 217188 w 138"/>
                <a:gd name="T33" fmla="*/ 5847 h 82"/>
                <a:gd name="T34" fmla="*/ 244337 w 138"/>
                <a:gd name="T35" fmla="*/ 2923 h 82"/>
                <a:gd name="T36" fmla="*/ 252482 w 138"/>
                <a:gd name="T37" fmla="*/ 32157 h 82"/>
                <a:gd name="T38" fmla="*/ 271486 w 138"/>
                <a:gd name="T39" fmla="*/ 38003 h 82"/>
                <a:gd name="T40" fmla="*/ 279630 w 138"/>
                <a:gd name="T41" fmla="*/ 58467 h 82"/>
                <a:gd name="T42" fmla="*/ 333927 w 138"/>
                <a:gd name="T43" fmla="*/ 73083 h 82"/>
                <a:gd name="T44" fmla="*/ 374650 w 138"/>
                <a:gd name="T45" fmla="*/ 87700 h 82"/>
                <a:gd name="T46" fmla="*/ 371935 w 138"/>
                <a:gd name="T47" fmla="*/ 116933 h 82"/>
                <a:gd name="T48" fmla="*/ 363791 w 138"/>
                <a:gd name="T49" fmla="*/ 131550 h 82"/>
                <a:gd name="T50" fmla="*/ 336642 w 138"/>
                <a:gd name="T51" fmla="*/ 137396 h 82"/>
                <a:gd name="T52" fmla="*/ 336642 w 138"/>
                <a:gd name="T53" fmla="*/ 152013 h 82"/>
                <a:gd name="T54" fmla="*/ 320353 w 138"/>
                <a:gd name="T55" fmla="*/ 154936 h 82"/>
                <a:gd name="T56" fmla="*/ 266056 w 138"/>
                <a:gd name="T57" fmla="*/ 178323 h 82"/>
                <a:gd name="T58" fmla="*/ 260626 w 138"/>
                <a:gd name="T59" fmla="*/ 190016 h 82"/>
                <a:gd name="T60" fmla="*/ 276915 w 138"/>
                <a:gd name="T61" fmla="*/ 201710 h 82"/>
                <a:gd name="T62" fmla="*/ 287775 w 138"/>
                <a:gd name="T63" fmla="*/ 201710 h 82"/>
                <a:gd name="T64" fmla="*/ 287775 w 138"/>
                <a:gd name="T65" fmla="*/ 213403 h 82"/>
                <a:gd name="T66" fmla="*/ 257911 w 138"/>
                <a:gd name="T67" fmla="*/ 225096 h 82"/>
                <a:gd name="T68" fmla="*/ 236192 w 138"/>
                <a:gd name="T69" fmla="*/ 233866 h 82"/>
                <a:gd name="T70" fmla="*/ 236192 w 138"/>
                <a:gd name="T71" fmla="*/ 213403 h 82"/>
                <a:gd name="T72" fmla="*/ 217188 w 138"/>
                <a:gd name="T73" fmla="*/ 207556 h 82"/>
                <a:gd name="T74" fmla="*/ 238907 w 138"/>
                <a:gd name="T75" fmla="*/ 190016 h 82"/>
                <a:gd name="T76" fmla="*/ 228048 w 138"/>
                <a:gd name="T77" fmla="*/ 181246 h 82"/>
                <a:gd name="T78" fmla="*/ 200899 w 138"/>
                <a:gd name="T79" fmla="*/ 181246 h 82"/>
                <a:gd name="T80" fmla="*/ 200899 w 138"/>
                <a:gd name="T81" fmla="*/ 166630 h 82"/>
                <a:gd name="T82" fmla="*/ 179180 w 138"/>
                <a:gd name="T83" fmla="*/ 172476 h 82"/>
                <a:gd name="T84" fmla="*/ 160176 w 138"/>
                <a:gd name="T85" fmla="*/ 195863 h 82"/>
                <a:gd name="T86" fmla="*/ 154747 w 138"/>
                <a:gd name="T87" fmla="*/ 204633 h 82"/>
                <a:gd name="T88" fmla="*/ 143887 w 138"/>
                <a:gd name="T89" fmla="*/ 204633 h 82"/>
                <a:gd name="T90" fmla="*/ 135743 w 138"/>
                <a:gd name="T91" fmla="*/ 201710 h 82"/>
                <a:gd name="T92" fmla="*/ 141172 w 138"/>
                <a:gd name="T93" fmla="*/ 178323 h 82"/>
                <a:gd name="T94" fmla="*/ 152032 w 138"/>
                <a:gd name="T95" fmla="*/ 172476 h 82"/>
                <a:gd name="T96" fmla="*/ 152032 w 138"/>
                <a:gd name="T97" fmla="*/ 149090 h 82"/>
                <a:gd name="T98" fmla="*/ 149317 w 138"/>
                <a:gd name="T99" fmla="*/ 134473 h 82"/>
                <a:gd name="T100" fmla="*/ 127598 w 138"/>
                <a:gd name="T101" fmla="*/ 122780 h 82"/>
                <a:gd name="T102" fmla="*/ 103164 w 138"/>
                <a:gd name="T103" fmla="*/ 119857 h 82"/>
                <a:gd name="T104" fmla="*/ 97735 w 138"/>
                <a:gd name="T105" fmla="*/ 119857 h 82"/>
                <a:gd name="T106" fmla="*/ 78731 w 138"/>
                <a:gd name="T107" fmla="*/ 131550 h 82"/>
                <a:gd name="T108" fmla="*/ 59727 w 138"/>
                <a:gd name="T109" fmla="*/ 140320 h 82"/>
                <a:gd name="T110" fmla="*/ 51582 w 138"/>
                <a:gd name="T111" fmla="*/ 134473 h 82"/>
                <a:gd name="T112" fmla="*/ 35293 w 138"/>
                <a:gd name="T113" fmla="*/ 131550 h 82"/>
                <a:gd name="T114" fmla="*/ 16289 w 138"/>
                <a:gd name="T115" fmla="*/ 128626 h 82"/>
                <a:gd name="T116" fmla="*/ 2715 w 138"/>
                <a:gd name="T117" fmla="*/ 116933 h 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38" h="82">
                  <a:moveTo>
                    <a:pt x="1" y="40"/>
                  </a:moveTo>
                  <a:cubicBezTo>
                    <a:pt x="1" y="39"/>
                    <a:pt x="3" y="35"/>
                    <a:pt x="4" y="35"/>
                  </a:cubicBezTo>
                  <a:cubicBezTo>
                    <a:pt x="5" y="34"/>
                    <a:pt x="6" y="35"/>
                    <a:pt x="7" y="34"/>
                  </a:cubicBezTo>
                  <a:cubicBezTo>
                    <a:pt x="7" y="33"/>
                    <a:pt x="5" y="29"/>
                    <a:pt x="6" y="28"/>
                  </a:cubicBezTo>
                  <a:cubicBezTo>
                    <a:pt x="6" y="28"/>
                    <a:pt x="12" y="22"/>
                    <a:pt x="12" y="22"/>
                  </a:cubicBezTo>
                  <a:cubicBezTo>
                    <a:pt x="13" y="21"/>
                    <a:pt x="16" y="22"/>
                    <a:pt x="16" y="19"/>
                  </a:cubicBezTo>
                  <a:cubicBezTo>
                    <a:pt x="16" y="17"/>
                    <a:pt x="12" y="14"/>
                    <a:pt x="12" y="11"/>
                  </a:cubicBezTo>
                  <a:cubicBezTo>
                    <a:pt x="12" y="10"/>
                    <a:pt x="12" y="10"/>
                    <a:pt x="12" y="10"/>
                  </a:cubicBezTo>
                  <a:cubicBezTo>
                    <a:pt x="12" y="10"/>
                    <a:pt x="12" y="10"/>
                    <a:pt x="12" y="10"/>
                  </a:cubicBezTo>
                  <a:cubicBezTo>
                    <a:pt x="20" y="7"/>
                    <a:pt x="20" y="7"/>
                    <a:pt x="20" y="7"/>
                  </a:cubicBezTo>
                  <a:cubicBezTo>
                    <a:pt x="22" y="6"/>
                    <a:pt x="25" y="5"/>
                    <a:pt x="28" y="5"/>
                  </a:cubicBezTo>
                  <a:cubicBezTo>
                    <a:pt x="31" y="5"/>
                    <a:pt x="41" y="8"/>
                    <a:pt x="43" y="8"/>
                  </a:cubicBezTo>
                  <a:cubicBezTo>
                    <a:pt x="46" y="9"/>
                    <a:pt x="53" y="11"/>
                    <a:pt x="56" y="11"/>
                  </a:cubicBezTo>
                  <a:cubicBezTo>
                    <a:pt x="59" y="12"/>
                    <a:pt x="64" y="13"/>
                    <a:pt x="65" y="12"/>
                  </a:cubicBezTo>
                  <a:cubicBezTo>
                    <a:pt x="67" y="11"/>
                    <a:pt x="67" y="6"/>
                    <a:pt x="68" y="5"/>
                  </a:cubicBezTo>
                  <a:cubicBezTo>
                    <a:pt x="69" y="5"/>
                    <a:pt x="71" y="4"/>
                    <a:pt x="73" y="3"/>
                  </a:cubicBezTo>
                  <a:cubicBezTo>
                    <a:pt x="76" y="3"/>
                    <a:pt x="79" y="2"/>
                    <a:pt x="80" y="2"/>
                  </a:cubicBezTo>
                  <a:cubicBezTo>
                    <a:pt x="82" y="2"/>
                    <a:pt x="89" y="0"/>
                    <a:pt x="90" y="1"/>
                  </a:cubicBezTo>
                  <a:cubicBezTo>
                    <a:pt x="92" y="2"/>
                    <a:pt x="93" y="8"/>
                    <a:pt x="93" y="11"/>
                  </a:cubicBezTo>
                  <a:cubicBezTo>
                    <a:pt x="93" y="14"/>
                    <a:pt x="98" y="12"/>
                    <a:pt x="100" y="13"/>
                  </a:cubicBezTo>
                  <a:cubicBezTo>
                    <a:pt x="101" y="15"/>
                    <a:pt x="102" y="19"/>
                    <a:pt x="103" y="20"/>
                  </a:cubicBezTo>
                  <a:cubicBezTo>
                    <a:pt x="105" y="22"/>
                    <a:pt x="121" y="24"/>
                    <a:pt x="123" y="25"/>
                  </a:cubicBezTo>
                  <a:cubicBezTo>
                    <a:pt x="125" y="26"/>
                    <a:pt x="138" y="29"/>
                    <a:pt x="138" y="30"/>
                  </a:cubicBezTo>
                  <a:cubicBezTo>
                    <a:pt x="138" y="32"/>
                    <a:pt x="137" y="38"/>
                    <a:pt x="137" y="40"/>
                  </a:cubicBezTo>
                  <a:cubicBezTo>
                    <a:pt x="137" y="42"/>
                    <a:pt x="135" y="46"/>
                    <a:pt x="134" y="45"/>
                  </a:cubicBezTo>
                  <a:cubicBezTo>
                    <a:pt x="133" y="45"/>
                    <a:pt x="125" y="45"/>
                    <a:pt x="124" y="47"/>
                  </a:cubicBezTo>
                  <a:cubicBezTo>
                    <a:pt x="124" y="52"/>
                    <a:pt x="124" y="52"/>
                    <a:pt x="124" y="52"/>
                  </a:cubicBezTo>
                  <a:cubicBezTo>
                    <a:pt x="122" y="52"/>
                    <a:pt x="119" y="53"/>
                    <a:pt x="118" y="53"/>
                  </a:cubicBezTo>
                  <a:cubicBezTo>
                    <a:pt x="116" y="53"/>
                    <a:pt x="99" y="60"/>
                    <a:pt x="98" y="61"/>
                  </a:cubicBezTo>
                  <a:cubicBezTo>
                    <a:pt x="96" y="62"/>
                    <a:pt x="96" y="64"/>
                    <a:pt x="96" y="65"/>
                  </a:cubicBezTo>
                  <a:cubicBezTo>
                    <a:pt x="97" y="65"/>
                    <a:pt x="101" y="69"/>
                    <a:pt x="102" y="69"/>
                  </a:cubicBezTo>
                  <a:cubicBezTo>
                    <a:pt x="104" y="69"/>
                    <a:pt x="106" y="69"/>
                    <a:pt x="106" y="69"/>
                  </a:cubicBezTo>
                  <a:cubicBezTo>
                    <a:pt x="107" y="70"/>
                    <a:pt x="106" y="73"/>
                    <a:pt x="106" y="73"/>
                  </a:cubicBezTo>
                  <a:cubicBezTo>
                    <a:pt x="102" y="76"/>
                    <a:pt x="97" y="76"/>
                    <a:pt x="95" y="77"/>
                  </a:cubicBezTo>
                  <a:cubicBezTo>
                    <a:pt x="94" y="78"/>
                    <a:pt x="88" y="82"/>
                    <a:pt x="87" y="80"/>
                  </a:cubicBezTo>
                  <a:cubicBezTo>
                    <a:pt x="86" y="77"/>
                    <a:pt x="89" y="74"/>
                    <a:pt x="87" y="73"/>
                  </a:cubicBezTo>
                  <a:cubicBezTo>
                    <a:pt x="85" y="72"/>
                    <a:pt x="80" y="72"/>
                    <a:pt x="80" y="71"/>
                  </a:cubicBezTo>
                  <a:cubicBezTo>
                    <a:pt x="79" y="70"/>
                    <a:pt x="88" y="66"/>
                    <a:pt x="88" y="65"/>
                  </a:cubicBezTo>
                  <a:cubicBezTo>
                    <a:pt x="88" y="64"/>
                    <a:pt x="86" y="62"/>
                    <a:pt x="84" y="62"/>
                  </a:cubicBezTo>
                  <a:cubicBezTo>
                    <a:pt x="83" y="61"/>
                    <a:pt x="75" y="64"/>
                    <a:pt x="74" y="62"/>
                  </a:cubicBezTo>
                  <a:cubicBezTo>
                    <a:pt x="72" y="60"/>
                    <a:pt x="76" y="58"/>
                    <a:pt x="74" y="57"/>
                  </a:cubicBezTo>
                  <a:cubicBezTo>
                    <a:pt x="72" y="56"/>
                    <a:pt x="67" y="58"/>
                    <a:pt x="66" y="59"/>
                  </a:cubicBezTo>
                  <a:cubicBezTo>
                    <a:pt x="64" y="59"/>
                    <a:pt x="61" y="66"/>
                    <a:pt x="59" y="67"/>
                  </a:cubicBezTo>
                  <a:cubicBezTo>
                    <a:pt x="58" y="68"/>
                    <a:pt x="57" y="69"/>
                    <a:pt x="57" y="70"/>
                  </a:cubicBezTo>
                  <a:cubicBezTo>
                    <a:pt x="53" y="70"/>
                    <a:pt x="53" y="70"/>
                    <a:pt x="53" y="70"/>
                  </a:cubicBezTo>
                  <a:cubicBezTo>
                    <a:pt x="53" y="70"/>
                    <a:pt x="51" y="69"/>
                    <a:pt x="50" y="69"/>
                  </a:cubicBezTo>
                  <a:cubicBezTo>
                    <a:pt x="52" y="61"/>
                    <a:pt x="52" y="61"/>
                    <a:pt x="52" y="61"/>
                  </a:cubicBezTo>
                  <a:cubicBezTo>
                    <a:pt x="52" y="60"/>
                    <a:pt x="56" y="59"/>
                    <a:pt x="56" y="59"/>
                  </a:cubicBezTo>
                  <a:cubicBezTo>
                    <a:pt x="56" y="59"/>
                    <a:pt x="57" y="53"/>
                    <a:pt x="56" y="51"/>
                  </a:cubicBezTo>
                  <a:cubicBezTo>
                    <a:pt x="55" y="50"/>
                    <a:pt x="55" y="48"/>
                    <a:pt x="55" y="46"/>
                  </a:cubicBezTo>
                  <a:cubicBezTo>
                    <a:pt x="54" y="44"/>
                    <a:pt x="49" y="43"/>
                    <a:pt x="47" y="42"/>
                  </a:cubicBezTo>
                  <a:cubicBezTo>
                    <a:pt x="45" y="41"/>
                    <a:pt x="39" y="41"/>
                    <a:pt x="38" y="41"/>
                  </a:cubicBezTo>
                  <a:cubicBezTo>
                    <a:pt x="37" y="41"/>
                    <a:pt x="37" y="41"/>
                    <a:pt x="36" y="41"/>
                  </a:cubicBezTo>
                  <a:cubicBezTo>
                    <a:pt x="33" y="43"/>
                    <a:pt x="30" y="45"/>
                    <a:pt x="29" y="45"/>
                  </a:cubicBezTo>
                  <a:cubicBezTo>
                    <a:pt x="28" y="45"/>
                    <a:pt x="24" y="47"/>
                    <a:pt x="22" y="48"/>
                  </a:cubicBezTo>
                  <a:cubicBezTo>
                    <a:pt x="21" y="48"/>
                    <a:pt x="20" y="47"/>
                    <a:pt x="19" y="46"/>
                  </a:cubicBezTo>
                  <a:cubicBezTo>
                    <a:pt x="17" y="45"/>
                    <a:pt x="14" y="45"/>
                    <a:pt x="13" y="45"/>
                  </a:cubicBezTo>
                  <a:cubicBezTo>
                    <a:pt x="6" y="44"/>
                    <a:pt x="6" y="44"/>
                    <a:pt x="6" y="44"/>
                  </a:cubicBezTo>
                  <a:cubicBezTo>
                    <a:pt x="5" y="43"/>
                    <a:pt x="0" y="41"/>
                    <a:pt x="1" y="4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1" name="Freeform 230"/>
            <p:cNvSpPr>
              <a:spLocks/>
            </p:cNvSpPr>
            <p:nvPr>
              <p:custDataLst>
                <p:tags r:id="rId160"/>
              </p:custDataLst>
            </p:nvPr>
          </p:nvSpPr>
          <p:spPr bwMode="auto">
            <a:xfrm>
              <a:off x="3025" y="2083"/>
              <a:ext cx="82" cy="49"/>
            </a:xfrm>
            <a:custGeom>
              <a:avLst/>
              <a:gdLst>
                <a:gd name="T0" fmla="*/ 2712 w 48"/>
                <a:gd name="T1" fmla="*/ 40335 h 27"/>
                <a:gd name="T2" fmla="*/ 13560 w 48"/>
                <a:gd name="T3" fmla="*/ 28810 h 27"/>
                <a:gd name="T4" fmla="*/ 2712 w 48"/>
                <a:gd name="T5" fmla="*/ 11524 h 27"/>
                <a:gd name="T6" fmla="*/ 5424 w 48"/>
                <a:gd name="T7" fmla="*/ 0 h 27"/>
                <a:gd name="T8" fmla="*/ 18984 w 48"/>
                <a:gd name="T9" fmla="*/ 8643 h 27"/>
                <a:gd name="T10" fmla="*/ 35256 w 48"/>
                <a:gd name="T11" fmla="*/ 14405 h 27"/>
                <a:gd name="T12" fmla="*/ 67799 w 48"/>
                <a:gd name="T13" fmla="*/ 17286 h 27"/>
                <a:gd name="T14" fmla="*/ 89495 w 48"/>
                <a:gd name="T15" fmla="*/ 5762 h 27"/>
                <a:gd name="T16" fmla="*/ 113903 w 48"/>
                <a:gd name="T17" fmla="*/ 8643 h 27"/>
                <a:gd name="T18" fmla="*/ 130175 w 48"/>
                <a:gd name="T19" fmla="*/ 11524 h 27"/>
                <a:gd name="T20" fmla="*/ 130175 w 48"/>
                <a:gd name="T21" fmla="*/ 20167 h 27"/>
                <a:gd name="T22" fmla="*/ 111191 w 48"/>
                <a:gd name="T23" fmla="*/ 28810 h 27"/>
                <a:gd name="T24" fmla="*/ 111191 w 48"/>
                <a:gd name="T25" fmla="*/ 48978 h 27"/>
                <a:gd name="T26" fmla="*/ 111191 w 48"/>
                <a:gd name="T27" fmla="*/ 54740 h 27"/>
                <a:gd name="T28" fmla="*/ 100343 w 48"/>
                <a:gd name="T29" fmla="*/ 54740 h 27"/>
                <a:gd name="T30" fmla="*/ 81359 w 48"/>
                <a:gd name="T31" fmla="*/ 60502 h 27"/>
                <a:gd name="T32" fmla="*/ 70511 w 48"/>
                <a:gd name="T33" fmla="*/ 72026 h 27"/>
                <a:gd name="T34" fmla="*/ 51528 w 48"/>
                <a:gd name="T35" fmla="*/ 69145 h 27"/>
                <a:gd name="T36" fmla="*/ 29832 w 48"/>
                <a:gd name="T37" fmla="*/ 69145 h 27"/>
                <a:gd name="T38" fmla="*/ 13560 w 48"/>
                <a:gd name="T39" fmla="*/ 77788 h 27"/>
                <a:gd name="T40" fmla="*/ 13560 w 48"/>
                <a:gd name="T41" fmla="*/ 66264 h 27"/>
                <a:gd name="T42" fmla="*/ 0 w 48"/>
                <a:gd name="T43" fmla="*/ 51859 h 27"/>
                <a:gd name="T44" fmla="*/ 2712 w 48"/>
                <a:gd name="T45" fmla="*/ 40335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8" h="27">
                  <a:moveTo>
                    <a:pt x="1" y="14"/>
                  </a:moveTo>
                  <a:cubicBezTo>
                    <a:pt x="2" y="12"/>
                    <a:pt x="5" y="12"/>
                    <a:pt x="5" y="10"/>
                  </a:cubicBezTo>
                  <a:cubicBezTo>
                    <a:pt x="4" y="9"/>
                    <a:pt x="1" y="6"/>
                    <a:pt x="1" y="4"/>
                  </a:cubicBezTo>
                  <a:cubicBezTo>
                    <a:pt x="1" y="3"/>
                    <a:pt x="1" y="2"/>
                    <a:pt x="2" y="0"/>
                  </a:cubicBezTo>
                  <a:cubicBezTo>
                    <a:pt x="7" y="3"/>
                    <a:pt x="7" y="3"/>
                    <a:pt x="7" y="3"/>
                  </a:cubicBezTo>
                  <a:cubicBezTo>
                    <a:pt x="7" y="3"/>
                    <a:pt x="12" y="5"/>
                    <a:pt x="13" y="5"/>
                  </a:cubicBezTo>
                  <a:cubicBezTo>
                    <a:pt x="15" y="5"/>
                    <a:pt x="23" y="6"/>
                    <a:pt x="25" y="6"/>
                  </a:cubicBezTo>
                  <a:cubicBezTo>
                    <a:pt x="27" y="6"/>
                    <a:pt x="30" y="2"/>
                    <a:pt x="33" y="2"/>
                  </a:cubicBezTo>
                  <a:cubicBezTo>
                    <a:pt x="35" y="2"/>
                    <a:pt x="40" y="3"/>
                    <a:pt x="42" y="3"/>
                  </a:cubicBezTo>
                  <a:cubicBezTo>
                    <a:pt x="43" y="3"/>
                    <a:pt x="48" y="4"/>
                    <a:pt x="48" y="4"/>
                  </a:cubicBezTo>
                  <a:cubicBezTo>
                    <a:pt x="48" y="5"/>
                    <a:pt x="48" y="6"/>
                    <a:pt x="48" y="7"/>
                  </a:cubicBezTo>
                  <a:cubicBezTo>
                    <a:pt x="48" y="8"/>
                    <a:pt x="42" y="9"/>
                    <a:pt x="41" y="10"/>
                  </a:cubicBezTo>
                  <a:cubicBezTo>
                    <a:pt x="41" y="12"/>
                    <a:pt x="40" y="15"/>
                    <a:pt x="41" y="17"/>
                  </a:cubicBezTo>
                  <a:cubicBezTo>
                    <a:pt x="41" y="18"/>
                    <a:pt x="41" y="18"/>
                    <a:pt x="41" y="19"/>
                  </a:cubicBezTo>
                  <a:cubicBezTo>
                    <a:pt x="41" y="19"/>
                    <a:pt x="38" y="19"/>
                    <a:pt x="37" y="19"/>
                  </a:cubicBezTo>
                  <a:cubicBezTo>
                    <a:pt x="36" y="19"/>
                    <a:pt x="31" y="21"/>
                    <a:pt x="30" y="21"/>
                  </a:cubicBezTo>
                  <a:cubicBezTo>
                    <a:pt x="29" y="22"/>
                    <a:pt x="27" y="23"/>
                    <a:pt x="26" y="25"/>
                  </a:cubicBezTo>
                  <a:cubicBezTo>
                    <a:pt x="25" y="26"/>
                    <a:pt x="20" y="25"/>
                    <a:pt x="19" y="24"/>
                  </a:cubicBezTo>
                  <a:cubicBezTo>
                    <a:pt x="18" y="24"/>
                    <a:pt x="13" y="24"/>
                    <a:pt x="11" y="24"/>
                  </a:cubicBezTo>
                  <a:cubicBezTo>
                    <a:pt x="10" y="24"/>
                    <a:pt x="7" y="26"/>
                    <a:pt x="5" y="27"/>
                  </a:cubicBezTo>
                  <a:cubicBezTo>
                    <a:pt x="5" y="23"/>
                    <a:pt x="5" y="23"/>
                    <a:pt x="5" y="23"/>
                  </a:cubicBezTo>
                  <a:cubicBezTo>
                    <a:pt x="4" y="21"/>
                    <a:pt x="0" y="20"/>
                    <a:pt x="0" y="18"/>
                  </a:cubicBezTo>
                  <a:cubicBezTo>
                    <a:pt x="0" y="17"/>
                    <a:pt x="0" y="15"/>
                    <a:pt x="1"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2" name="Freeform 231"/>
            <p:cNvSpPr>
              <a:spLocks/>
            </p:cNvSpPr>
            <p:nvPr>
              <p:custDataLst>
                <p:tags r:id="rId161"/>
              </p:custDataLst>
            </p:nvPr>
          </p:nvSpPr>
          <p:spPr bwMode="auto">
            <a:xfrm>
              <a:off x="2998" y="2011"/>
              <a:ext cx="122" cy="83"/>
            </a:xfrm>
            <a:custGeom>
              <a:avLst/>
              <a:gdLst>
                <a:gd name="T0" fmla="*/ 0 w 71"/>
                <a:gd name="T1" fmla="*/ 61489 h 45"/>
                <a:gd name="T2" fmla="*/ 16367 w 71"/>
                <a:gd name="T3" fmla="*/ 58561 h 45"/>
                <a:gd name="T4" fmla="*/ 32734 w 71"/>
                <a:gd name="T5" fmla="*/ 29281 h 45"/>
                <a:gd name="T6" fmla="*/ 49101 w 71"/>
                <a:gd name="T7" fmla="*/ 17568 h 45"/>
                <a:gd name="T8" fmla="*/ 51829 w 71"/>
                <a:gd name="T9" fmla="*/ 8784 h 45"/>
                <a:gd name="T10" fmla="*/ 70923 w 71"/>
                <a:gd name="T11" fmla="*/ 11712 h 45"/>
                <a:gd name="T12" fmla="*/ 87290 w 71"/>
                <a:gd name="T13" fmla="*/ 14640 h 45"/>
                <a:gd name="T14" fmla="*/ 95474 w 71"/>
                <a:gd name="T15" fmla="*/ 20496 h 45"/>
                <a:gd name="T16" fmla="*/ 114568 w 71"/>
                <a:gd name="T17" fmla="*/ 11712 h 45"/>
                <a:gd name="T18" fmla="*/ 133663 w 71"/>
                <a:gd name="T19" fmla="*/ 0 h 45"/>
                <a:gd name="T20" fmla="*/ 139119 w 71"/>
                <a:gd name="T21" fmla="*/ 17568 h 45"/>
                <a:gd name="T22" fmla="*/ 158213 w 71"/>
                <a:gd name="T23" fmla="*/ 43921 h 45"/>
                <a:gd name="T24" fmla="*/ 160941 w 71"/>
                <a:gd name="T25" fmla="*/ 79058 h 45"/>
                <a:gd name="T26" fmla="*/ 171852 w 71"/>
                <a:gd name="T27" fmla="*/ 81986 h 45"/>
                <a:gd name="T28" fmla="*/ 180036 w 71"/>
                <a:gd name="T29" fmla="*/ 84914 h 45"/>
                <a:gd name="T30" fmla="*/ 190947 w 71"/>
                <a:gd name="T31" fmla="*/ 84914 h 45"/>
                <a:gd name="T32" fmla="*/ 193675 w 71"/>
                <a:gd name="T33" fmla="*/ 90770 h 45"/>
                <a:gd name="T34" fmla="*/ 188219 w 71"/>
                <a:gd name="T35" fmla="*/ 99554 h 45"/>
                <a:gd name="T36" fmla="*/ 174580 w 71"/>
                <a:gd name="T37" fmla="*/ 111267 h 45"/>
                <a:gd name="T38" fmla="*/ 171852 w 71"/>
                <a:gd name="T39" fmla="*/ 125907 h 45"/>
                <a:gd name="T40" fmla="*/ 155486 w 71"/>
                <a:gd name="T41" fmla="*/ 122979 h 45"/>
                <a:gd name="T42" fmla="*/ 130935 w 71"/>
                <a:gd name="T43" fmla="*/ 120051 h 45"/>
                <a:gd name="T44" fmla="*/ 109113 w 71"/>
                <a:gd name="T45" fmla="*/ 131763 h 45"/>
                <a:gd name="T46" fmla="*/ 76379 w 71"/>
                <a:gd name="T47" fmla="*/ 128835 h 45"/>
                <a:gd name="T48" fmla="*/ 60012 w 71"/>
                <a:gd name="T49" fmla="*/ 122979 h 45"/>
                <a:gd name="T50" fmla="*/ 46373 w 71"/>
                <a:gd name="T51" fmla="*/ 114195 h 45"/>
                <a:gd name="T52" fmla="*/ 46373 w 71"/>
                <a:gd name="T53" fmla="*/ 111267 h 45"/>
                <a:gd name="T54" fmla="*/ 27278 w 71"/>
                <a:gd name="T55" fmla="*/ 102482 h 45"/>
                <a:gd name="T56" fmla="*/ 16367 w 71"/>
                <a:gd name="T57" fmla="*/ 90770 h 45"/>
                <a:gd name="T58" fmla="*/ 5456 w 71"/>
                <a:gd name="T59" fmla="*/ 76130 h 45"/>
                <a:gd name="T60" fmla="*/ 0 w 71"/>
                <a:gd name="T61" fmla="*/ 61489 h 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45">
                  <a:moveTo>
                    <a:pt x="0" y="21"/>
                  </a:moveTo>
                  <a:cubicBezTo>
                    <a:pt x="2" y="21"/>
                    <a:pt x="6" y="21"/>
                    <a:pt x="6" y="20"/>
                  </a:cubicBezTo>
                  <a:cubicBezTo>
                    <a:pt x="8" y="19"/>
                    <a:pt x="10" y="10"/>
                    <a:pt x="12" y="10"/>
                  </a:cubicBezTo>
                  <a:cubicBezTo>
                    <a:pt x="13" y="9"/>
                    <a:pt x="17" y="7"/>
                    <a:pt x="18" y="6"/>
                  </a:cubicBezTo>
                  <a:cubicBezTo>
                    <a:pt x="18" y="5"/>
                    <a:pt x="20" y="4"/>
                    <a:pt x="19" y="3"/>
                  </a:cubicBezTo>
                  <a:cubicBezTo>
                    <a:pt x="26" y="4"/>
                    <a:pt x="26" y="4"/>
                    <a:pt x="26" y="4"/>
                  </a:cubicBezTo>
                  <a:cubicBezTo>
                    <a:pt x="27" y="4"/>
                    <a:pt x="30" y="4"/>
                    <a:pt x="32" y="5"/>
                  </a:cubicBezTo>
                  <a:cubicBezTo>
                    <a:pt x="33" y="6"/>
                    <a:pt x="34" y="7"/>
                    <a:pt x="35" y="7"/>
                  </a:cubicBezTo>
                  <a:cubicBezTo>
                    <a:pt x="37" y="6"/>
                    <a:pt x="41" y="4"/>
                    <a:pt x="42" y="4"/>
                  </a:cubicBezTo>
                  <a:cubicBezTo>
                    <a:pt x="43" y="4"/>
                    <a:pt x="46" y="2"/>
                    <a:pt x="49" y="0"/>
                  </a:cubicBezTo>
                  <a:cubicBezTo>
                    <a:pt x="51" y="6"/>
                    <a:pt x="51" y="6"/>
                    <a:pt x="51" y="6"/>
                  </a:cubicBezTo>
                  <a:cubicBezTo>
                    <a:pt x="52" y="7"/>
                    <a:pt x="57" y="12"/>
                    <a:pt x="58" y="15"/>
                  </a:cubicBezTo>
                  <a:cubicBezTo>
                    <a:pt x="60" y="17"/>
                    <a:pt x="59" y="25"/>
                    <a:pt x="59" y="27"/>
                  </a:cubicBezTo>
                  <a:cubicBezTo>
                    <a:pt x="59" y="28"/>
                    <a:pt x="61" y="28"/>
                    <a:pt x="63" y="28"/>
                  </a:cubicBezTo>
                  <a:cubicBezTo>
                    <a:pt x="64" y="28"/>
                    <a:pt x="66" y="29"/>
                    <a:pt x="66" y="29"/>
                  </a:cubicBezTo>
                  <a:cubicBezTo>
                    <a:pt x="70" y="29"/>
                    <a:pt x="70" y="29"/>
                    <a:pt x="70" y="29"/>
                  </a:cubicBezTo>
                  <a:cubicBezTo>
                    <a:pt x="70" y="30"/>
                    <a:pt x="70" y="30"/>
                    <a:pt x="71" y="31"/>
                  </a:cubicBezTo>
                  <a:cubicBezTo>
                    <a:pt x="71" y="33"/>
                    <a:pt x="71" y="34"/>
                    <a:pt x="69" y="34"/>
                  </a:cubicBezTo>
                  <a:cubicBezTo>
                    <a:pt x="67" y="34"/>
                    <a:pt x="65" y="35"/>
                    <a:pt x="64" y="38"/>
                  </a:cubicBezTo>
                  <a:cubicBezTo>
                    <a:pt x="63" y="39"/>
                    <a:pt x="63" y="41"/>
                    <a:pt x="63" y="43"/>
                  </a:cubicBezTo>
                  <a:cubicBezTo>
                    <a:pt x="63" y="43"/>
                    <a:pt x="58" y="42"/>
                    <a:pt x="57" y="42"/>
                  </a:cubicBezTo>
                  <a:cubicBezTo>
                    <a:pt x="55" y="42"/>
                    <a:pt x="50" y="41"/>
                    <a:pt x="48" y="41"/>
                  </a:cubicBezTo>
                  <a:cubicBezTo>
                    <a:pt x="45" y="41"/>
                    <a:pt x="42" y="45"/>
                    <a:pt x="40" y="45"/>
                  </a:cubicBezTo>
                  <a:cubicBezTo>
                    <a:pt x="38" y="45"/>
                    <a:pt x="30" y="44"/>
                    <a:pt x="28" y="44"/>
                  </a:cubicBezTo>
                  <a:cubicBezTo>
                    <a:pt x="27" y="44"/>
                    <a:pt x="22" y="42"/>
                    <a:pt x="22" y="42"/>
                  </a:cubicBezTo>
                  <a:cubicBezTo>
                    <a:pt x="17" y="39"/>
                    <a:pt x="17" y="39"/>
                    <a:pt x="17" y="39"/>
                  </a:cubicBezTo>
                  <a:cubicBezTo>
                    <a:pt x="17" y="38"/>
                    <a:pt x="17" y="38"/>
                    <a:pt x="17" y="38"/>
                  </a:cubicBezTo>
                  <a:cubicBezTo>
                    <a:pt x="17" y="38"/>
                    <a:pt x="13" y="36"/>
                    <a:pt x="10" y="35"/>
                  </a:cubicBezTo>
                  <a:cubicBezTo>
                    <a:pt x="7" y="34"/>
                    <a:pt x="8" y="33"/>
                    <a:pt x="6" y="31"/>
                  </a:cubicBezTo>
                  <a:cubicBezTo>
                    <a:pt x="5" y="29"/>
                    <a:pt x="3" y="26"/>
                    <a:pt x="2" y="26"/>
                  </a:cubicBezTo>
                  <a:lnTo>
                    <a:pt x="0" y="21"/>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3" name="Freeform 232"/>
            <p:cNvSpPr>
              <a:spLocks/>
            </p:cNvSpPr>
            <p:nvPr>
              <p:custDataLst>
                <p:tags r:id="rId162"/>
              </p:custDataLst>
            </p:nvPr>
          </p:nvSpPr>
          <p:spPr bwMode="auto">
            <a:xfrm>
              <a:off x="2977" y="2049"/>
              <a:ext cx="56" cy="72"/>
            </a:xfrm>
            <a:custGeom>
              <a:avLst/>
              <a:gdLst>
                <a:gd name="T0" fmla="*/ 8334 w 32"/>
                <a:gd name="T1" fmla="*/ 29308 h 39"/>
                <a:gd name="T2" fmla="*/ 2778 w 32"/>
                <a:gd name="T3" fmla="*/ 17585 h 39"/>
                <a:gd name="T4" fmla="*/ 0 w 32"/>
                <a:gd name="T5" fmla="*/ 5862 h 39"/>
                <a:gd name="T6" fmla="*/ 8334 w 32"/>
                <a:gd name="T7" fmla="*/ 2931 h 39"/>
                <a:gd name="T8" fmla="*/ 30559 w 32"/>
                <a:gd name="T9" fmla="*/ 0 h 39"/>
                <a:gd name="T10" fmla="*/ 33338 w 32"/>
                <a:gd name="T11" fmla="*/ 0 h 39"/>
                <a:gd name="T12" fmla="*/ 38894 w 32"/>
                <a:gd name="T13" fmla="*/ 14654 h 39"/>
                <a:gd name="T14" fmla="*/ 50006 w 32"/>
                <a:gd name="T15" fmla="*/ 29308 h 39"/>
                <a:gd name="T16" fmla="*/ 61119 w 32"/>
                <a:gd name="T17" fmla="*/ 41031 h 39"/>
                <a:gd name="T18" fmla="*/ 80566 w 32"/>
                <a:gd name="T19" fmla="*/ 49823 h 39"/>
                <a:gd name="T20" fmla="*/ 80566 w 32"/>
                <a:gd name="T21" fmla="*/ 52754 h 39"/>
                <a:gd name="T22" fmla="*/ 77788 w 32"/>
                <a:gd name="T23" fmla="*/ 64477 h 39"/>
                <a:gd name="T24" fmla="*/ 88900 w 32"/>
                <a:gd name="T25" fmla="*/ 82062 h 39"/>
                <a:gd name="T26" fmla="*/ 77788 w 32"/>
                <a:gd name="T27" fmla="*/ 93785 h 39"/>
                <a:gd name="T28" fmla="*/ 75009 w 32"/>
                <a:gd name="T29" fmla="*/ 105508 h 39"/>
                <a:gd name="T30" fmla="*/ 38894 w 32"/>
                <a:gd name="T31" fmla="*/ 114300 h 39"/>
                <a:gd name="T32" fmla="*/ 36116 w 32"/>
                <a:gd name="T33" fmla="*/ 108438 h 39"/>
                <a:gd name="T34" fmla="*/ 30559 w 32"/>
                <a:gd name="T35" fmla="*/ 96715 h 39"/>
                <a:gd name="T36" fmla="*/ 30559 w 32"/>
                <a:gd name="T37" fmla="*/ 87923 h 39"/>
                <a:gd name="T38" fmla="*/ 8334 w 32"/>
                <a:gd name="T39" fmla="*/ 73269 h 39"/>
                <a:gd name="T40" fmla="*/ 13891 w 32"/>
                <a:gd name="T41" fmla="*/ 67408 h 39"/>
                <a:gd name="T42" fmla="*/ 5556 w 32"/>
                <a:gd name="T43" fmla="*/ 52754 h 39"/>
                <a:gd name="T44" fmla="*/ 8334 w 32"/>
                <a:gd name="T45" fmla="*/ 41031 h 39"/>
                <a:gd name="T46" fmla="*/ 8334 w 32"/>
                <a:gd name="T47" fmla="*/ 29308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2" h="39">
                  <a:moveTo>
                    <a:pt x="3" y="10"/>
                  </a:moveTo>
                  <a:cubicBezTo>
                    <a:pt x="3" y="9"/>
                    <a:pt x="2" y="8"/>
                    <a:pt x="1" y="6"/>
                  </a:cubicBezTo>
                  <a:cubicBezTo>
                    <a:pt x="0" y="2"/>
                    <a:pt x="0" y="2"/>
                    <a:pt x="0" y="2"/>
                  </a:cubicBezTo>
                  <a:cubicBezTo>
                    <a:pt x="1" y="2"/>
                    <a:pt x="2" y="1"/>
                    <a:pt x="3" y="1"/>
                  </a:cubicBezTo>
                  <a:cubicBezTo>
                    <a:pt x="4" y="1"/>
                    <a:pt x="10" y="0"/>
                    <a:pt x="11" y="0"/>
                  </a:cubicBezTo>
                  <a:cubicBezTo>
                    <a:pt x="12" y="0"/>
                    <a:pt x="12" y="0"/>
                    <a:pt x="12" y="0"/>
                  </a:cubicBezTo>
                  <a:cubicBezTo>
                    <a:pt x="14" y="5"/>
                    <a:pt x="14" y="5"/>
                    <a:pt x="14" y="5"/>
                  </a:cubicBezTo>
                  <a:cubicBezTo>
                    <a:pt x="15" y="5"/>
                    <a:pt x="17" y="8"/>
                    <a:pt x="18" y="10"/>
                  </a:cubicBezTo>
                  <a:cubicBezTo>
                    <a:pt x="20" y="12"/>
                    <a:pt x="19" y="13"/>
                    <a:pt x="22" y="14"/>
                  </a:cubicBezTo>
                  <a:cubicBezTo>
                    <a:pt x="25" y="15"/>
                    <a:pt x="29" y="17"/>
                    <a:pt x="29" y="17"/>
                  </a:cubicBezTo>
                  <a:cubicBezTo>
                    <a:pt x="29" y="17"/>
                    <a:pt x="29" y="17"/>
                    <a:pt x="29" y="18"/>
                  </a:cubicBezTo>
                  <a:cubicBezTo>
                    <a:pt x="28" y="20"/>
                    <a:pt x="28" y="21"/>
                    <a:pt x="28" y="22"/>
                  </a:cubicBezTo>
                  <a:cubicBezTo>
                    <a:pt x="28" y="24"/>
                    <a:pt x="31" y="27"/>
                    <a:pt x="32" y="28"/>
                  </a:cubicBezTo>
                  <a:cubicBezTo>
                    <a:pt x="32" y="30"/>
                    <a:pt x="29" y="30"/>
                    <a:pt x="28" y="32"/>
                  </a:cubicBezTo>
                  <a:cubicBezTo>
                    <a:pt x="27" y="33"/>
                    <a:pt x="27" y="35"/>
                    <a:pt x="27" y="36"/>
                  </a:cubicBezTo>
                  <a:cubicBezTo>
                    <a:pt x="14" y="39"/>
                    <a:pt x="14" y="39"/>
                    <a:pt x="14" y="39"/>
                  </a:cubicBezTo>
                  <a:cubicBezTo>
                    <a:pt x="13" y="38"/>
                    <a:pt x="13" y="37"/>
                    <a:pt x="13" y="37"/>
                  </a:cubicBezTo>
                  <a:cubicBezTo>
                    <a:pt x="11" y="33"/>
                    <a:pt x="11" y="33"/>
                    <a:pt x="11" y="33"/>
                  </a:cubicBezTo>
                  <a:cubicBezTo>
                    <a:pt x="11" y="32"/>
                    <a:pt x="12" y="31"/>
                    <a:pt x="11" y="30"/>
                  </a:cubicBezTo>
                  <a:cubicBezTo>
                    <a:pt x="3" y="25"/>
                    <a:pt x="3" y="25"/>
                    <a:pt x="3" y="25"/>
                  </a:cubicBezTo>
                  <a:cubicBezTo>
                    <a:pt x="4" y="24"/>
                    <a:pt x="5" y="24"/>
                    <a:pt x="5" y="23"/>
                  </a:cubicBezTo>
                  <a:cubicBezTo>
                    <a:pt x="6" y="21"/>
                    <a:pt x="2" y="19"/>
                    <a:pt x="2" y="18"/>
                  </a:cubicBezTo>
                  <a:cubicBezTo>
                    <a:pt x="2" y="18"/>
                    <a:pt x="2" y="16"/>
                    <a:pt x="3" y="14"/>
                  </a:cubicBezTo>
                  <a:cubicBezTo>
                    <a:pt x="3" y="13"/>
                    <a:pt x="3" y="11"/>
                    <a:pt x="3"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4" name="Freeform 233"/>
            <p:cNvSpPr>
              <a:spLocks/>
            </p:cNvSpPr>
            <p:nvPr>
              <p:custDataLst>
                <p:tags r:id="rId163"/>
              </p:custDataLst>
            </p:nvPr>
          </p:nvSpPr>
          <p:spPr bwMode="auto">
            <a:xfrm>
              <a:off x="2973" y="2096"/>
              <a:ext cx="25" cy="23"/>
            </a:xfrm>
            <a:custGeom>
              <a:avLst/>
              <a:gdLst>
                <a:gd name="T0" fmla="*/ 5292 w 15"/>
                <a:gd name="T1" fmla="*/ 11235 h 13"/>
                <a:gd name="T2" fmla="*/ 15875 w 15"/>
                <a:gd name="T3" fmla="*/ 0 h 13"/>
                <a:gd name="T4" fmla="*/ 37042 w 15"/>
                <a:gd name="T5" fmla="*/ 14043 h 13"/>
                <a:gd name="T6" fmla="*/ 37042 w 15"/>
                <a:gd name="T7" fmla="*/ 22470 h 13"/>
                <a:gd name="T8" fmla="*/ 34396 w 15"/>
                <a:gd name="T9" fmla="*/ 25278 h 13"/>
                <a:gd name="T10" fmla="*/ 23813 w 15"/>
                <a:gd name="T11" fmla="*/ 28087 h 13"/>
                <a:gd name="T12" fmla="*/ 15875 w 15"/>
                <a:gd name="T13" fmla="*/ 36513 h 13"/>
                <a:gd name="T14" fmla="*/ 2646 w 15"/>
                <a:gd name="T15" fmla="*/ 28087 h 13"/>
                <a:gd name="T16" fmla="*/ 0 w 15"/>
                <a:gd name="T17" fmla="*/ 28087 h 13"/>
                <a:gd name="T18" fmla="*/ 5292 w 15"/>
                <a:gd name="T19" fmla="*/ 11235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3">
                  <a:moveTo>
                    <a:pt x="2" y="4"/>
                  </a:moveTo>
                  <a:cubicBezTo>
                    <a:pt x="2" y="4"/>
                    <a:pt x="5" y="2"/>
                    <a:pt x="6" y="0"/>
                  </a:cubicBezTo>
                  <a:cubicBezTo>
                    <a:pt x="14" y="5"/>
                    <a:pt x="14" y="5"/>
                    <a:pt x="14" y="5"/>
                  </a:cubicBezTo>
                  <a:cubicBezTo>
                    <a:pt x="15" y="6"/>
                    <a:pt x="14" y="7"/>
                    <a:pt x="14" y="8"/>
                  </a:cubicBezTo>
                  <a:cubicBezTo>
                    <a:pt x="14" y="9"/>
                    <a:pt x="13" y="9"/>
                    <a:pt x="13" y="9"/>
                  </a:cubicBezTo>
                  <a:cubicBezTo>
                    <a:pt x="12" y="9"/>
                    <a:pt x="10" y="10"/>
                    <a:pt x="9" y="10"/>
                  </a:cubicBezTo>
                  <a:cubicBezTo>
                    <a:pt x="9" y="10"/>
                    <a:pt x="7" y="12"/>
                    <a:pt x="6" y="13"/>
                  </a:cubicBezTo>
                  <a:cubicBezTo>
                    <a:pt x="5" y="12"/>
                    <a:pt x="3" y="11"/>
                    <a:pt x="1" y="10"/>
                  </a:cubicBezTo>
                  <a:cubicBezTo>
                    <a:pt x="1" y="10"/>
                    <a:pt x="1" y="10"/>
                    <a:pt x="0" y="10"/>
                  </a:cubicBezTo>
                  <a:cubicBezTo>
                    <a:pt x="1" y="8"/>
                    <a:pt x="2" y="5"/>
                    <a:pt x="2" y="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5" name="Freeform 234"/>
            <p:cNvSpPr>
              <a:spLocks/>
            </p:cNvSpPr>
            <p:nvPr>
              <p:custDataLst>
                <p:tags r:id="rId164"/>
              </p:custDataLst>
            </p:nvPr>
          </p:nvSpPr>
          <p:spPr bwMode="auto">
            <a:xfrm>
              <a:off x="2954" y="1988"/>
              <a:ext cx="74" cy="34"/>
            </a:xfrm>
            <a:custGeom>
              <a:avLst/>
              <a:gdLst>
                <a:gd name="T0" fmla="*/ 2732 w 43"/>
                <a:gd name="T1" fmla="*/ 41981 h 18"/>
                <a:gd name="T2" fmla="*/ 0 w 43"/>
                <a:gd name="T3" fmla="*/ 26988 h 18"/>
                <a:gd name="T4" fmla="*/ 0 w 43"/>
                <a:gd name="T5" fmla="*/ 23989 h 18"/>
                <a:gd name="T6" fmla="*/ 16392 w 43"/>
                <a:gd name="T7" fmla="*/ 20990 h 18"/>
                <a:gd name="T8" fmla="*/ 30052 w 43"/>
                <a:gd name="T9" fmla="*/ 5997 h 18"/>
                <a:gd name="T10" fmla="*/ 38248 w 43"/>
                <a:gd name="T11" fmla="*/ 0 h 18"/>
                <a:gd name="T12" fmla="*/ 51908 w 43"/>
                <a:gd name="T13" fmla="*/ 2999 h 18"/>
                <a:gd name="T14" fmla="*/ 62835 w 43"/>
                <a:gd name="T15" fmla="*/ 8996 h 18"/>
                <a:gd name="T16" fmla="*/ 87423 w 43"/>
                <a:gd name="T17" fmla="*/ 2999 h 18"/>
                <a:gd name="T18" fmla="*/ 103815 w 43"/>
                <a:gd name="T19" fmla="*/ 5997 h 18"/>
                <a:gd name="T20" fmla="*/ 117475 w 43"/>
                <a:gd name="T21" fmla="*/ 17992 h 18"/>
                <a:gd name="T22" fmla="*/ 109279 w 43"/>
                <a:gd name="T23" fmla="*/ 32985 h 18"/>
                <a:gd name="T24" fmla="*/ 87423 w 43"/>
                <a:gd name="T25" fmla="*/ 29986 h 18"/>
                <a:gd name="T26" fmla="*/ 68299 w 43"/>
                <a:gd name="T27" fmla="*/ 38982 h 18"/>
                <a:gd name="T28" fmla="*/ 46444 w 43"/>
                <a:gd name="T29" fmla="*/ 44979 h 18"/>
                <a:gd name="T30" fmla="*/ 38248 w 43"/>
                <a:gd name="T31" fmla="*/ 53975 h 18"/>
                <a:gd name="T32" fmla="*/ 16392 w 43"/>
                <a:gd name="T33" fmla="*/ 53975 h 18"/>
                <a:gd name="T34" fmla="*/ 2732 w 43"/>
                <a:gd name="T35" fmla="*/ 44979 h 18"/>
                <a:gd name="T36" fmla="*/ 2732 w 43"/>
                <a:gd name="T37" fmla="*/ 44979 h 18"/>
                <a:gd name="T38" fmla="*/ 2732 w 43"/>
                <a:gd name="T39" fmla="*/ 41981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3" h="18">
                  <a:moveTo>
                    <a:pt x="1" y="14"/>
                  </a:moveTo>
                  <a:cubicBezTo>
                    <a:pt x="0" y="13"/>
                    <a:pt x="0" y="10"/>
                    <a:pt x="0" y="9"/>
                  </a:cubicBezTo>
                  <a:cubicBezTo>
                    <a:pt x="0" y="8"/>
                    <a:pt x="0" y="8"/>
                    <a:pt x="0" y="8"/>
                  </a:cubicBezTo>
                  <a:cubicBezTo>
                    <a:pt x="2" y="7"/>
                    <a:pt x="6" y="8"/>
                    <a:pt x="6" y="7"/>
                  </a:cubicBezTo>
                  <a:cubicBezTo>
                    <a:pt x="8" y="5"/>
                    <a:pt x="11" y="3"/>
                    <a:pt x="11" y="2"/>
                  </a:cubicBezTo>
                  <a:cubicBezTo>
                    <a:pt x="12" y="2"/>
                    <a:pt x="14" y="1"/>
                    <a:pt x="14" y="0"/>
                  </a:cubicBezTo>
                  <a:cubicBezTo>
                    <a:pt x="14" y="0"/>
                    <a:pt x="18" y="0"/>
                    <a:pt x="19" y="1"/>
                  </a:cubicBezTo>
                  <a:cubicBezTo>
                    <a:pt x="20" y="2"/>
                    <a:pt x="21" y="3"/>
                    <a:pt x="23" y="3"/>
                  </a:cubicBezTo>
                  <a:cubicBezTo>
                    <a:pt x="25" y="3"/>
                    <a:pt x="30" y="1"/>
                    <a:pt x="32" y="1"/>
                  </a:cubicBezTo>
                  <a:cubicBezTo>
                    <a:pt x="34" y="1"/>
                    <a:pt x="38" y="2"/>
                    <a:pt x="38" y="2"/>
                  </a:cubicBezTo>
                  <a:cubicBezTo>
                    <a:pt x="43" y="6"/>
                    <a:pt x="43" y="6"/>
                    <a:pt x="43" y="6"/>
                  </a:cubicBezTo>
                  <a:cubicBezTo>
                    <a:pt x="42" y="6"/>
                    <a:pt x="40" y="10"/>
                    <a:pt x="40" y="11"/>
                  </a:cubicBezTo>
                  <a:cubicBezTo>
                    <a:pt x="40" y="11"/>
                    <a:pt x="34" y="10"/>
                    <a:pt x="32" y="10"/>
                  </a:cubicBezTo>
                  <a:cubicBezTo>
                    <a:pt x="30" y="10"/>
                    <a:pt x="27" y="13"/>
                    <a:pt x="25" y="13"/>
                  </a:cubicBezTo>
                  <a:cubicBezTo>
                    <a:pt x="24" y="13"/>
                    <a:pt x="18" y="14"/>
                    <a:pt x="17" y="15"/>
                  </a:cubicBezTo>
                  <a:cubicBezTo>
                    <a:pt x="16" y="15"/>
                    <a:pt x="14" y="18"/>
                    <a:pt x="14" y="18"/>
                  </a:cubicBezTo>
                  <a:cubicBezTo>
                    <a:pt x="14" y="18"/>
                    <a:pt x="7" y="18"/>
                    <a:pt x="6" y="18"/>
                  </a:cubicBezTo>
                  <a:cubicBezTo>
                    <a:pt x="4" y="18"/>
                    <a:pt x="1" y="15"/>
                    <a:pt x="1" y="15"/>
                  </a:cubicBezTo>
                  <a:cubicBezTo>
                    <a:pt x="1" y="15"/>
                    <a:pt x="1" y="15"/>
                    <a:pt x="1" y="15"/>
                  </a:cubicBezTo>
                  <a:cubicBezTo>
                    <a:pt x="1" y="15"/>
                    <a:pt x="1" y="14"/>
                    <a:pt x="1"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6" name="Freeform 235"/>
            <p:cNvSpPr>
              <a:spLocks/>
            </p:cNvSpPr>
            <p:nvPr>
              <p:custDataLst>
                <p:tags r:id="rId165"/>
              </p:custDataLst>
            </p:nvPr>
          </p:nvSpPr>
          <p:spPr bwMode="auto">
            <a:xfrm>
              <a:off x="2945" y="2007"/>
              <a:ext cx="89" cy="50"/>
            </a:xfrm>
            <a:custGeom>
              <a:avLst/>
              <a:gdLst>
                <a:gd name="T0" fmla="*/ 5434 w 52"/>
                <a:gd name="T1" fmla="*/ 55856 h 27"/>
                <a:gd name="T2" fmla="*/ 0 w 52"/>
                <a:gd name="T3" fmla="*/ 47037 h 27"/>
                <a:gd name="T4" fmla="*/ 5434 w 52"/>
                <a:gd name="T5" fmla="*/ 38218 h 27"/>
                <a:gd name="T6" fmla="*/ 8151 w 52"/>
                <a:gd name="T7" fmla="*/ 23519 h 27"/>
                <a:gd name="T8" fmla="*/ 16302 w 52"/>
                <a:gd name="T9" fmla="*/ 26458 h 27"/>
                <a:gd name="T10" fmla="*/ 19020 w 52"/>
                <a:gd name="T11" fmla="*/ 14699 h 27"/>
                <a:gd name="T12" fmla="*/ 19020 w 52"/>
                <a:gd name="T13" fmla="*/ 14699 h 27"/>
                <a:gd name="T14" fmla="*/ 32605 w 52"/>
                <a:gd name="T15" fmla="*/ 23519 h 27"/>
                <a:gd name="T16" fmla="*/ 54342 w 52"/>
                <a:gd name="T17" fmla="*/ 23519 h 27"/>
                <a:gd name="T18" fmla="*/ 62493 w 52"/>
                <a:gd name="T19" fmla="*/ 14699 h 27"/>
                <a:gd name="T20" fmla="*/ 84229 w 52"/>
                <a:gd name="T21" fmla="*/ 8819 h 27"/>
                <a:gd name="T22" fmla="*/ 103249 w 52"/>
                <a:gd name="T23" fmla="*/ 0 h 27"/>
                <a:gd name="T24" fmla="*/ 124986 w 52"/>
                <a:gd name="T25" fmla="*/ 2940 h 27"/>
                <a:gd name="T26" fmla="*/ 138571 w 52"/>
                <a:gd name="T27" fmla="*/ 14699 h 27"/>
                <a:gd name="T28" fmla="*/ 135854 w 52"/>
                <a:gd name="T29" fmla="*/ 23519 h 27"/>
                <a:gd name="T30" fmla="*/ 119551 w 52"/>
                <a:gd name="T31" fmla="*/ 35278 h 27"/>
                <a:gd name="T32" fmla="*/ 103249 w 52"/>
                <a:gd name="T33" fmla="*/ 64676 h 27"/>
                <a:gd name="T34" fmla="*/ 86946 w 52"/>
                <a:gd name="T35" fmla="*/ 67616 h 27"/>
                <a:gd name="T36" fmla="*/ 84229 w 52"/>
                <a:gd name="T37" fmla="*/ 67616 h 27"/>
                <a:gd name="T38" fmla="*/ 62493 w 52"/>
                <a:gd name="T39" fmla="*/ 70556 h 27"/>
                <a:gd name="T40" fmla="*/ 54342 w 52"/>
                <a:gd name="T41" fmla="*/ 73495 h 27"/>
                <a:gd name="T42" fmla="*/ 46190 w 52"/>
                <a:gd name="T43" fmla="*/ 79375 h 27"/>
                <a:gd name="T44" fmla="*/ 27171 w 52"/>
                <a:gd name="T45" fmla="*/ 73495 h 27"/>
                <a:gd name="T46" fmla="*/ 8151 w 52"/>
                <a:gd name="T47" fmla="*/ 58796 h 27"/>
                <a:gd name="T48" fmla="*/ 5434 w 52"/>
                <a:gd name="T49" fmla="*/ 55856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2" h="27">
                  <a:moveTo>
                    <a:pt x="2" y="19"/>
                  </a:moveTo>
                  <a:cubicBezTo>
                    <a:pt x="0" y="16"/>
                    <a:pt x="0" y="16"/>
                    <a:pt x="0" y="16"/>
                  </a:cubicBezTo>
                  <a:cubicBezTo>
                    <a:pt x="1" y="16"/>
                    <a:pt x="2" y="14"/>
                    <a:pt x="2" y="13"/>
                  </a:cubicBezTo>
                  <a:cubicBezTo>
                    <a:pt x="2" y="11"/>
                    <a:pt x="2" y="9"/>
                    <a:pt x="3" y="8"/>
                  </a:cubicBezTo>
                  <a:cubicBezTo>
                    <a:pt x="4" y="8"/>
                    <a:pt x="6" y="9"/>
                    <a:pt x="6" y="9"/>
                  </a:cubicBezTo>
                  <a:cubicBezTo>
                    <a:pt x="7" y="8"/>
                    <a:pt x="7" y="7"/>
                    <a:pt x="7" y="5"/>
                  </a:cubicBezTo>
                  <a:cubicBezTo>
                    <a:pt x="7" y="5"/>
                    <a:pt x="7" y="5"/>
                    <a:pt x="7" y="5"/>
                  </a:cubicBezTo>
                  <a:cubicBezTo>
                    <a:pt x="7" y="5"/>
                    <a:pt x="10" y="8"/>
                    <a:pt x="12" y="8"/>
                  </a:cubicBezTo>
                  <a:cubicBezTo>
                    <a:pt x="13" y="8"/>
                    <a:pt x="20" y="8"/>
                    <a:pt x="20" y="8"/>
                  </a:cubicBezTo>
                  <a:cubicBezTo>
                    <a:pt x="20" y="8"/>
                    <a:pt x="22" y="5"/>
                    <a:pt x="23" y="5"/>
                  </a:cubicBezTo>
                  <a:cubicBezTo>
                    <a:pt x="24" y="4"/>
                    <a:pt x="30" y="3"/>
                    <a:pt x="31" y="3"/>
                  </a:cubicBezTo>
                  <a:cubicBezTo>
                    <a:pt x="33" y="3"/>
                    <a:pt x="36" y="0"/>
                    <a:pt x="38" y="0"/>
                  </a:cubicBezTo>
                  <a:cubicBezTo>
                    <a:pt x="40" y="0"/>
                    <a:pt x="46" y="1"/>
                    <a:pt x="46" y="1"/>
                  </a:cubicBezTo>
                  <a:cubicBezTo>
                    <a:pt x="45" y="2"/>
                    <a:pt x="50" y="4"/>
                    <a:pt x="51" y="5"/>
                  </a:cubicBezTo>
                  <a:cubicBezTo>
                    <a:pt x="52" y="6"/>
                    <a:pt x="50" y="7"/>
                    <a:pt x="50" y="8"/>
                  </a:cubicBezTo>
                  <a:cubicBezTo>
                    <a:pt x="49" y="9"/>
                    <a:pt x="45" y="11"/>
                    <a:pt x="44" y="12"/>
                  </a:cubicBezTo>
                  <a:cubicBezTo>
                    <a:pt x="42" y="12"/>
                    <a:pt x="40" y="21"/>
                    <a:pt x="38" y="22"/>
                  </a:cubicBezTo>
                  <a:cubicBezTo>
                    <a:pt x="38" y="23"/>
                    <a:pt x="34" y="23"/>
                    <a:pt x="32" y="23"/>
                  </a:cubicBezTo>
                  <a:cubicBezTo>
                    <a:pt x="32" y="23"/>
                    <a:pt x="32" y="23"/>
                    <a:pt x="31" y="23"/>
                  </a:cubicBezTo>
                  <a:cubicBezTo>
                    <a:pt x="30" y="23"/>
                    <a:pt x="24" y="24"/>
                    <a:pt x="23" y="24"/>
                  </a:cubicBezTo>
                  <a:cubicBezTo>
                    <a:pt x="22" y="24"/>
                    <a:pt x="21" y="25"/>
                    <a:pt x="20" y="25"/>
                  </a:cubicBezTo>
                  <a:cubicBezTo>
                    <a:pt x="19" y="26"/>
                    <a:pt x="18" y="26"/>
                    <a:pt x="17" y="27"/>
                  </a:cubicBezTo>
                  <a:cubicBezTo>
                    <a:pt x="15" y="27"/>
                    <a:pt x="11" y="26"/>
                    <a:pt x="10" y="25"/>
                  </a:cubicBezTo>
                  <a:cubicBezTo>
                    <a:pt x="8" y="25"/>
                    <a:pt x="4" y="21"/>
                    <a:pt x="3" y="20"/>
                  </a:cubicBezTo>
                  <a:lnTo>
                    <a:pt x="2" y="19"/>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7" name="Freeform 236"/>
            <p:cNvSpPr>
              <a:spLocks/>
            </p:cNvSpPr>
            <p:nvPr>
              <p:custDataLst>
                <p:tags r:id="rId166"/>
              </p:custDataLst>
            </p:nvPr>
          </p:nvSpPr>
          <p:spPr bwMode="auto">
            <a:xfrm>
              <a:off x="2936" y="2068"/>
              <a:ext cx="52" cy="45"/>
            </a:xfrm>
            <a:custGeom>
              <a:avLst/>
              <a:gdLst>
                <a:gd name="T0" fmla="*/ 5503 w 30"/>
                <a:gd name="T1" fmla="*/ 8573 h 25"/>
                <a:gd name="T2" fmla="*/ 5503 w 30"/>
                <a:gd name="T3" fmla="*/ 0 h 25"/>
                <a:gd name="T4" fmla="*/ 22013 w 30"/>
                <a:gd name="T5" fmla="*/ 0 h 25"/>
                <a:gd name="T6" fmla="*/ 55033 w 30"/>
                <a:gd name="T7" fmla="*/ 5715 h 25"/>
                <a:gd name="T8" fmla="*/ 74295 w 30"/>
                <a:gd name="T9" fmla="*/ 11430 h 25"/>
                <a:gd name="T10" fmla="*/ 71543 w 30"/>
                <a:gd name="T11" fmla="*/ 22860 h 25"/>
                <a:gd name="T12" fmla="*/ 79798 w 30"/>
                <a:gd name="T13" fmla="*/ 37148 h 25"/>
                <a:gd name="T14" fmla="*/ 74295 w 30"/>
                <a:gd name="T15" fmla="*/ 42863 h 25"/>
                <a:gd name="T16" fmla="*/ 63288 w 30"/>
                <a:gd name="T17" fmla="*/ 54293 h 25"/>
                <a:gd name="T18" fmla="*/ 57785 w 30"/>
                <a:gd name="T19" fmla="*/ 71438 h 25"/>
                <a:gd name="T20" fmla="*/ 38523 w 30"/>
                <a:gd name="T21" fmla="*/ 60008 h 25"/>
                <a:gd name="T22" fmla="*/ 41275 w 30"/>
                <a:gd name="T23" fmla="*/ 51435 h 25"/>
                <a:gd name="T24" fmla="*/ 27517 w 30"/>
                <a:gd name="T25" fmla="*/ 37148 h 25"/>
                <a:gd name="T26" fmla="*/ 5503 w 30"/>
                <a:gd name="T27" fmla="*/ 857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25">
                  <a:moveTo>
                    <a:pt x="2" y="3"/>
                  </a:moveTo>
                  <a:cubicBezTo>
                    <a:pt x="2" y="2"/>
                    <a:pt x="0" y="0"/>
                    <a:pt x="2" y="0"/>
                  </a:cubicBezTo>
                  <a:cubicBezTo>
                    <a:pt x="4" y="0"/>
                    <a:pt x="8" y="0"/>
                    <a:pt x="8" y="0"/>
                  </a:cubicBezTo>
                  <a:cubicBezTo>
                    <a:pt x="10" y="0"/>
                    <a:pt x="19" y="2"/>
                    <a:pt x="20" y="2"/>
                  </a:cubicBezTo>
                  <a:cubicBezTo>
                    <a:pt x="22" y="2"/>
                    <a:pt x="26" y="4"/>
                    <a:pt x="27" y="4"/>
                  </a:cubicBezTo>
                  <a:cubicBezTo>
                    <a:pt x="26" y="6"/>
                    <a:pt x="26" y="8"/>
                    <a:pt x="26" y="8"/>
                  </a:cubicBezTo>
                  <a:cubicBezTo>
                    <a:pt x="26" y="9"/>
                    <a:pt x="30" y="11"/>
                    <a:pt x="29" y="13"/>
                  </a:cubicBezTo>
                  <a:cubicBezTo>
                    <a:pt x="29" y="14"/>
                    <a:pt x="28" y="14"/>
                    <a:pt x="27" y="15"/>
                  </a:cubicBezTo>
                  <a:cubicBezTo>
                    <a:pt x="26" y="17"/>
                    <a:pt x="23" y="19"/>
                    <a:pt x="23" y="19"/>
                  </a:cubicBezTo>
                  <a:cubicBezTo>
                    <a:pt x="23" y="20"/>
                    <a:pt x="22" y="23"/>
                    <a:pt x="21" y="25"/>
                  </a:cubicBezTo>
                  <a:cubicBezTo>
                    <a:pt x="19" y="23"/>
                    <a:pt x="17" y="22"/>
                    <a:pt x="14" y="21"/>
                  </a:cubicBezTo>
                  <a:cubicBezTo>
                    <a:pt x="15" y="18"/>
                    <a:pt x="15" y="18"/>
                    <a:pt x="15" y="18"/>
                  </a:cubicBezTo>
                  <a:cubicBezTo>
                    <a:pt x="15" y="18"/>
                    <a:pt x="11" y="14"/>
                    <a:pt x="10" y="13"/>
                  </a:cubicBezTo>
                  <a:cubicBezTo>
                    <a:pt x="8" y="11"/>
                    <a:pt x="2" y="4"/>
                    <a:pt x="2" y="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8" name="Freeform 237"/>
            <p:cNvSpPr>
              <a:spLocks/>
            </p:cNvSpPr>
            <p:nvPr>
              <p:custDataLst>
                <p:tags r:id="rId167"/>
              </p:custDataLst>
            </p:nvPr>
          </p:nvSpPr>
          <p:spPr bwMode="auto">
            <a:xfrm>
              <a:off x="2891" y="1961"/>
              <a:ext cx="86" cy="46"/>
            </a:xfrm>
            <a:custGeom>
              <a:avLst/>
              <a:gdLst>
                <a:gd name="T0" fmla="*/ 0 w 51"/>
                <a:gd name="T1" fmla="*/ 26289 h 25"/>
                <a:gd name="T2" fmla="*/ 50862 w 51"/>
                <a:gd name="T3" fmla="*/ 5842 h 25"/>
                <a:gd name="T4" fmla="*/ 58893 w 51"/>
                <a:gd name="T5" fmla="*/ 0 h 25"/>
                <a:gd name="T6" fmla="*/ 66924 w 51"/>
                <a:gd name="T7" fmla="*/ 5842 h 25"/>
                <a:gd name="T8" fmla="*/ 82986 w 51"/>
                <a:gd name="T9" fmla="*/ 14605 h 25"/>
                <a:gd name="T10" fmla="*/ 91017 w 51"/>
                <a:gd name="T11" fmla="*/ 29210 h 25"/>
                <a:gd name="T12" fmla="*/ 99048 w 51"/>
                <a:gd name="T13" fmla="*/ 23368 h 25"/>
                <a:gd name="T14" fmla="*/ 115109 w 51"/>
                <a:gd name="T15" fmla="*/ 29210 h 25"/>
                <a:gd name="T16" fmla="*/ 131171 w 51"/>
                <a:gd name="T17" fmla="*/ 32131 h 25"/>
                <a:gd name="T18" fmla="*/ 136525 w 51"/>
                <a:gd name="T19" fmla="*/ 43815 h 25"/>
                <a:gd name="T20" fmla="*/ 128494 w 51"/>
                <a:gd name="T21" fmla="*/ 49657 h 25"/>
                <a:gd name="T22" fmla="*/ 115109 w 51"/>
                <a:gd name="T23" fmla="*/ 64262 h 25"/>
                <a:gd name="T24" fmla="*/ 99048 w 51"/>
                <a:gd name="T25" fmla="*/ 67183 h 25"/>
                <a:gd name="T26" fmla="*/ 99048 w 51"/>
                <a:gd name="T27" fmla="*/ 70104 h 25"/>
                <a:gd name="T28" fmla="*/ 77632 w 51"/>
                <a:gd name="T29" fmla="*/ 67183 h 25"/>
                <a:gd name="T30" fmla="*/ 61570 w 51"/>
                <a:gd name="T31" fmla="*/ 61341 h 25"/>
                <a:gd name="T32" fmla="*/ 50862 w 51"/>
                <a:gd name="T33" fmla="*/ 73025 h 25"/>
                <a:gd name="T34" fmla="*/ 34800 w 51"/>
                <a:gd name="T35" fmla="*/ 73025 h 25"/>
                <a:gd name="T36" fmla="*/ 0 w 51"/>
                <a:gd name="T37" fmla="*/ 26289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1" h="25">
                  <a:moveTo>
                    <a:pt x="0" y="9"/>
                  </a:moveTo>
                  <a:cubicBezTo>
                    <a:pt x="0" y="8"/>
                    <a:pt x="17" y="2"/>
                    <a:pt x="19" y="2"/>
                  </a:cubicBezTo>
                  <a:cubicBezTo>
                    <a:pt x="20" y="2"/>
                    <a:pt x="21" y="1"/>
                    <a:pt x="22" y="0"/>
                  </a:cubicBezTo>
                  <a:cubicBezTo>
                    <a:pt x="25" y="2"/>
                    <a:pt x="25" y="2"/>
                    <a:pt x="25" y="2"/>
                  </a:cubicBezTo>
                  <a:cubicBezTo>
                    <a:pt x="25" y="2"/>
                    <a:pt x="30" y="4"/>
                    <a:pt x="31" y="5"/>
                  </a:cubicBezTo>
                  <a:cubicBezTo>
                    <a:pt x="33" y="6"/>
                    <a:pt x="33" y="9"/>
                    <a:pt x="34" y="10"/>
                  </a:cubicBezTo>
                  <a:cubicBezTo>
                    <a:pt x="35" y="10"/>
                    <a:pt x="36" y="8"/>
                    <a:pt x="37" y="8"/>
                  </a:cubicBezTo>
                  <a:cubicBezTo>
                    <a:pt x="38" y="8"/>
                    <a:pt x="41" y="9"/>
                    <a:pt x="43" y="10"/>
                  </a:cubicBezTo>
                  <a:cubicBezTo>
                    <a:pt x="44" y="11"/>
                    <a:pt x="48" y="11"/>
                    <a:pt x="49" y="11"/>
                  </a:cubicBezTo>
                  <a:cubicBezTo>
                    <a:pt x="50" y="11"/>
                    <a:pt x="51" y="14"/>
                    <a:pt x="51" y="15"/>
                  </a:cubicBezTo>
                  <a:cubicBezTo>
                    <a:pt x="51" y="16"/>
                    <a:pt x="49" y="17"/>
                    <a:pt x="48" y="17"/>
                  </a:cubicBezTo>
                  <a:cubicBezTo>
                    <a:pt x="48" y="18"/>
                    <a:pt x="45" y="20"/>
                    <a:pt x="43" y="22"/>
                  </a:cubicBezTo>
                  <a:cubicBezTo>
                    <a:pt x="43" y="23"/>
                    <a:pt x="39" y="22"/>
                    <a:pt x="37" y="23"/>
                  </a:cubicBezTo>
                  <a:cubicBezTo>
                    <a:pt x="37" y="23"/>
                    <a:pt x="37" y="23"/>
                    <a:pt x="37" y="24"/>
                  </a:cubicBezTo>
                  <a:cubicBezTo>
                    <a:pt x="36" y="24"/>
                    <a:pt x="31" y="23"/>
                    <a:pt x="29" y="23"/>
                  </a:cubicBezTo>
                  <a:cubicBezTo>
                    <a:pt x="28" y="23"/>
                    <a:pt x="25" y="21"/>
                    <a:pt x="23" y="21"/>
                  </a:cubicBezTo>
                  <a:cubicBezTo>
                    <a:pt x="22" y="21"/>
                    <a:pt x="20" y="25"/>
                    <a:pt x="19" y="25"/>
                  </a:cubicBezTo>
                  <a:cubicBezTo>
                    <a:pt x="17" y="25"/>
                    <a:pt x="13" y="25"/>
                    <a:pt x="13" y="25"/>
                  </a:cubicBezTo>
                  <a:cubicBezTo>
                    <a:pt x="14" y="23"/>
                    <a:pt x="0" y="10"/>
                    <a:pt x="0"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199" name="Freeform 238"/>
            <p:cNvSpPr>
              <a:spLocks/>
            </p:cNvSpPr>
            <p:nvPr>
              <p:custDataLst>
                <p:tags r:id="rId168"/>
              </p:custDataLst>
            </p:nvPr>
          </p:nvSpPr>
          <p:spPr bwMode="auto">
            <a:xfrm>
              <a:off x="2911" y="2042"/>
              <a:ext cx="72" cy="65"/>
            </a:xfrm>
            <a:custGeom>
              <a:avLst/>
              <a:gdLst>
                <a:gd name="T0" fmla="*/ 0 w 42"/>
                <a:gd name="T1" fmla="*/ 38327 h 35"/>
                <a:gd name="T2" fmla="*/ 2721 w 42"/>
                <a:gd name="T3" fmla="*/ 32431 h 35"/>
                <a:gd name="T4" fmla="*/ 19050 w 42"/>
                <a:gd name="T5" fmla="*/ 32431 h 35"/>
                <a:gd name="T6" fmla="*/ 32657 w 42"/>
                <a:gd name="T7" fmla="*/ 32431 h 35"/>
                <a:gd name="T8" fmla="*/ 40821 w 42"/>
                <a:gd name="T9" fmla="*/ 17689 h 35"/>
                <a:gd name="T10" fmla="*/ 48986 w 42"/>
                <a:gd name="T11" fmla="*/ 11793 h 35"/>
                <a:gd name="T12" fmla="*/ 57150 w 42"/>
                <a:gd name="T13" fmla="*/ 0 h 35"/>
                <a:gd name="T14" fmla="*/ 59871 w 42"/>
                <a:gd name="T15" fmla="*/ 2948 h 35"/>
                <a:gd name="T16" fmla="*/ 78921 w 42"/>
                <a:gd name="T17" fmla="*/ 17689 h 35"/>
                <a:gd name="T18" fmla="*/ 97971 w 42"/>
                <a:gd name="T19" fmla="*/ 23586 h 35"/>
                <a:gd name="T20" fmla="*/ 106136 w 42"/>
                <a:gd name="T21" fmla="*/ 17689 h 35"/>
                <a:gd name="T22" fmla="*/ 108857 w 42"/>
                <a:gd name="T23" fmla="*/ 29482 h 35"/>
                <a:gd name="T24" fmla="*/ 114300 w 42"/>
                <a:gd name="T25" fmla="*/ 41275 h 35"/>
                <a:gd name="T26" fmla="*/ 114300 w 42"/>
                <a:gd name="T27" fmla="*/ 53068 h 35"/>
                <a:gd name="T28" fmla="*/ 95250 w 42"/>
                <a:gd name="T29" fmla="*/ 47172 h 35"/>
                <a:gd name="T30" fmla="*/ 62593 w 42"/>
                <a:gd name="T31" fmla="*/ 41275 h 35"/>
                <a:gd name="T32" fmla="*/ 46264 w 42"/>
                <a:gd name="T33" fmla="*/ 41275 h 35"/>
                <a:gd name="T34" fmla="*/ 46264 w 42"/>
                <a:gd name="T35" fmla="*/ 50120 h 35"/>
                <a:gd name="T36" fmla="*/ 68036 w 42"/>
                <a:gd name="T37" fmla="*/ 79602 h 35"/>
                <a:gd name="T38" fmla="*/ 81643 w 42"/>
                <a:gd name="T39" fmla="*/ 94343 h 35"/>
                <a:gd name="T40" fmla="*/ 78921 w 42"/>
                <a:gd name="T41" fmla="*/ 103188 h 35"/>
                <a:gd name="T42" fmla="*/ 62593 w 42"/>
                <a:gd name="T43" fmla="*/ 94343 h 35"/>
                <a:gd name="T44" fmla="*/ 35379 w 42"/>
                <a:gd name="T45" fmla="*/ 76654 h 35"/>
                <a:gd name="T46" fmla="*/ 13607 w 42"/>
                <a:gd name="T47" fmla="*/ 56016 h 35"/>
                <a:gd name="T48" fmla="*/ 0 w 42"/>
                <a:gd name="T49" fmla="*/ 38327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2" h="35">
                  <a:moveTo>
                    <a:pt x="0" y="13"/>
                  </a:moveTo>
                  <a:cubicBezTo>
                    <a:pt x="0" y="13"/>
                    <a:pt x="1" y="12"/>
                    <a:pt x="1" y="11"/>
                  </a:cubicBezTo>
                  <a:cubicBezTo>
                    <a:pt x="7" y="11"/>
                    <a:pt x="7" y="11"/>
                    <a:pt x="7" y="11"/>
                  </a:cubicBezTo>
                  <a:cubicBezTo>
                    <a:pt x="8" y="11"/>
                    <a:pt x="12" y="12"/>
                    <a:pt x="12" y="11"/>
                  </a:cubicBezTo>
                  <a:cubicBezTo>
                    <a:pt x="13" y="9"/>
                    <a:pt x="15" y="7"/>
                    <a:pt x="15" y="6"/>
                  </a:cubicBezTo>
                  <a:cubicBezTo>
                    <a:pt x="15" y="5"/>
                    <a:pt x="17" y="4"/>
                    <a:pt x="18" y="4"/>
                  </a:cubicBezTo>
                  <a:cubicBezTo>
                    <a:pt x="21" y="0"/>
                    <a:pt x="21" y="0"/>
                    <a:pt x="21" y="0"/>
                  </a:cubicBezTo>
                  <a:cubicBezTo>
                    <a:pt x="22" y="1"/>
                    <a:pt x="22" y="1"/>
                    <a:pt x="22" y="1"/>
                  </a:cubicBezTo>
                  <a:cubicBezTo>
                    <a:pt x="23" y="2"/>
                    <a:pt x="27" y="6"/>
                    <a:pt x="29" y="6"/>
                  </a:cubicBezTo>
                  <a:cubicBezTo>
                    <a:pt x="30" y="7"/>
                    <a:pt x="34" y="8"/>
                    <a:pt x="36" y="8"/>
                  </a:cubicBezTo>
                  <a:cubicBezTo>
                    <a:pt x="37" y="7"/>
                    <a:pt x="38" y="7"/>
                    <a:pt x="39" y="6"/>
                  </a:cubicBezTo>
                  <a:cubicBezTo>
                    <a:pt x="40" y="10"/>
                    <a:pt x="40" y="10"/>
                    <a:pt x="40" y="10"/>
                  </a:cubicBezTo>
                  <a:cubicBezTo>
                    <a:pt x="41" y="12"/>
                    <a:pt x="42" y="13"/>
                    <a:pt x="42" y="14"/>
                  </a:cubicBezTo>
                  <a:cubicBezTo>
                    <a:pt x="42" y="15"/>
                    <a:pt x="42" y="17"/>
                    <a:pt x="42" y="18"/>
                  </a:cubicBezTo>
                  <a:cubicBezTo>
                    <a:pt x="41" y="18"/>
                    <a:pt x="37" y="16"/>
                    <a:pt x="35" y="16"/>
                  </a:cubicBezTo>
                  <a:cubicBezTo>
                    <a:pt x="34" y="16"/>
                    <a:pt x="25" y="14"/>
                    <a:pt x="23" y="14"/>
                  </a:cubicBezTo>
                  <a:cubicBezTo>
                    <a:pt x="23" y="14"/>
                    <a:pt x="19" y="14"/>
                    <a:pt x="17" y="14"/>
                  </a:cubicBezTo>
                  <a:cubicBezTo>
                    <a:pt x="15" y="14"/>
                    <a:pt x="17" y="16"/>
                    <a:pt x="17" y="17"/>
                  </a:cubicBezTo>
                  <a:cubicBezTo>
                    <a:pt x="17" y="18"/>
                    <a:pt x="23" y="25"/>
                    <a:pt x="25" y="27"/>
                  </a:cubicBezTo>
                  <a:cubicBezTo>
                    <a:pt x="26" y="28"/>
                    <a:pt x="30" y="32"/>
                    <a:pt x="30" y="32"/>
                  </a:cubicBezTo>
                  <a:cubicBezTo>
                    <a:pt x="29" y="35"/>
                    <a:pt x="29" y="35"/>
                    <a:pt x="29" y="35"/>
                  </a:cubicBezTo>
                  <a:cubicBezTo>
                    <a:pt x="27" y="34"/>
                    <a:pt x="25" y="33"/>
                    <a:pt x="23" y="32"/>
                  </a:cubicBezTo>
                  <a:cubicBezTo>
                    <a:pt x="19" y="31"/>
                    <a:pt x="15" y="28"/>
                    <a:pt x="13" y="26"/>
                  </a:cubicBezTo>
                  <a:cubicBezTo>
                    <a:pt x="11" y="24"/>
                    <a:pt x="6" y="20"/>
                    <a:pt x="5" y="19"/>
                  </a:cubicBezTo>
                  <a:cubicBezTo>
                    <a:pt x="4" y="18"/>
                    <a:pt x="0" y="15"/>
                    <a:pt x="0" y="1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0" name="Freeform 239"/>
            <p:cNvSpPr>
              <a:spLocks/>
            </p:cNvSpPr>
            <p:nvPr>
              <p:custDataLst>
                <p:tags r:id="rId169"/>
              </p:custDataLst>
            </p:nvPr>
          </p:nvSpPr>
          <p:spPr bwMode="auto">
            <a:xfrm>
              <a:off x="2907" y="2036"/>
              <a:ext cx="40" cy="27"/>
            </a:xfrm>
            <a:custGeom>
              <a:avLst/>
              <a:gdLst>
                <a:gd name="T0" fmla="*/ 0 w 23"/>
                <a:gd name="T1" fmla="*/ 31433 h 15"/>
                <a:gd name="T2" fmla="*/ 2761 w 23"/>
                <a:gd name="T3" fmla="*/ 11430 h 15"/>
                <a:gd name="T4" fmla="*/ 22087 w 23"/>
                <a:gd name="T5" fmla="*/ 14288 h 15"/>
                <a:gd name="T6" fmla="*/ 38652 w 23"/>
                <a:gd name="T7" fmla="*/ 5715 h 15"/>
                <a:gd name="T8" fmla="*/ 57978 w 23"/>
                <a:gd name="T9" fmla="*/ 0 h 15"/>
                <a:gd name="T10" fmla="*/ 63500 w 23"/>
                <a:gd name="T11" fmla="*/ 8573 h 15"/>
                <a:gd name="T12" fmla="*/ 55217 w 23"/>
                <a:gd name="T13" fmla="*/ 20003 h 15"/>
                <a:gd name="T14" fmla="*/ 46935 w 23"/>
                <a:gd name="T15" fmla="*/ 25718 h 15"/>
                <a:gd name="T16" fmla="*/ 38652 w 23"/>
                <a:gd name="T17" fmla="*/ 40005 h 15"/>
                <a:gd name="T18" fmla="*/ 24848 w 23"/>
                <a:gd name="T19" fmla="*/ 40005 h 15"/>
                <a:gd name="T20" fmla="*/ 8283 w 23"/>
                <a:gd name="T21" fmla="*/ 40005 h 15"/>
                <a:gd name="T22" fmla="*/ 8283 w 23"/>
                <a:gd name="T23" fmla="*/ 34290 h 15"/>
                <a:gd name="T24" fmla="*/ 0 w 23"/>
                <a:gd name="T25" fmla="*/ 31433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 h="15">
                  <a:moveTo>
                    <a:pt x="0" y="11"/>
                  </a:moveTo>
                  <a:cubicBezTo>
                    <a:pt x="1" y="4"/>
                    <a:pt x="1" y="4"/>
                    <a:pt x="1" y="4"/>
                  </a:cubicBezTo>
                  <a:cubicBezTo>
                    <a:pt x="5" y="4"/>
                    <a:pt x="8" y="5"/>
                    <a:pt x="8" y="5"/>
                  </a:cubicBezTo>
                  <a:cubicBezTo>
                    <a:pt x="9" y="5"/>
                    <a:pt x="12" y="2"/>
                    <a:pt x="14" y="2"/>
                  </a:cubicBezTo>
                  <a:cubicBezTo>
                    <a:pt x="16" y="2"/>
                    <a:pt x="20" y="1"/>
                    <a:pt x="21" y="0"/>
                  </a:cubicBezTo>
                  <a:cubicBezTo>
                    <a:pt x="23" y="3"/>
                    <a:pt x="23" y="3"/>
                    <a:pt x="23" y="3"/>
                  </a:cubicBezTo>
                  <a:cubicBezTo>
                    <a:pt x="20" y="7"/>
                    <a:pt x="20" y="7"/>
                    <a:pt x="20" y="7"/>
                  </a:cubicBezTo>
                  <a:cubicBezTo>
                    <a:pt x="19" y="7"/>
                    <a:pt x="17" y="8"/>
                    <a:pt x="17" y="9"/>
                  </a:cubicBezTo>
                  <a:cubicBezTo>
                    <a:pt x="17" y="10"/>
                    <a:pt x="15" y="12"/>
                    <a:pt x="14" y="14"/>
                  </a:cubicBezTo>
                  <a:cubicBezTo>
                    <a:pt x="14" y="15"/>
                    <a:pt x="10" y="14"/>
                    <a:pt x="9" y="14"/>
                  </a:cubicBezTo>
                  <a:cubicBezTo>
                    <a:pt x="3" y="14"/>
                    <a:pt x="3" y="14"/>
                    <a:pt x="3" y="14"/>
                  </a:cubicBezTo>
                  <a:cubicBezTo>
                    <a:pt x="3" y="13"/>
                    <a:pt x="3" y="12"/>
                    <a:pt x="3" y="12"/>
                  </a:cubicBezTo>
                  <a:cubicBezTo>
                    <a:pt x="3" y="11"/>
                    <a:pt x="1" y="11"/>
                    <a:pt x="0"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1" name="Freeform 240"/>
            <p:cNvSpPr>
              <a:spLocks/>
            </p:cNvSpPr>
            <p:nvPr>
              <p:custDataLst>
                <p:tags r:id="rId170"/>
              </p:custDataLst>
            </p:nvPr>
          </p:nvSpPr>
          <p:spPr bwMode="auto">
            <a:xfrm>
              <a:off x="2856" y="1999"/>
              <a:ext cx="99" cy="47"/>
            </a:xfrm>
            <a:custGeom>
              <a:avLst/>
              <a:gdLst>
                <a:gd name="T0" fmla="*/ 16258 w 58"/>
                <a:gd name="T1" fmla="*/ 59690 h 25"/>
                <a:gd name="T2" fmla="*/ 0 w 58"/>
                <a:gd name="T3" fmla="*/ 56706 h 25"/>
                <a:gd name="T4" fmla="*/ 2710 w 58"/>
                <a:gd name="T5" fmla="*/ 38799 h 25"/>
                <a:gd name="T6" fmla="*/ 8129 w 58"/>
                <a:gd name="T7" fmla="*/ 41783 h 25"/>
                <a:gd name="T8" fmla="*/ 18968 w 58"/>
                <a:gd name="T9" fmla="*/ 44768 h 25"/>
                <a:gd name="T10" fmla="*/ 40646 w 58"/>
                <a:gd name="T11" fmla="*/ 38799 h 25"/>
                <a:gd name="T12" fmla="*/ 65033 w 58"/>
                <a:gd name="T13" fmla="*/ 35814 h 25"/>
                <a:gd name="T14" fmla="*/ 73162 w 58"/>
                <a:gd name="T15" fmla="*/ 20892 h 25"/>
                <a:gd name="T16" fmla="*/ 89420 w 58"/>
                <a:gd name="T17" fmla="*/ 11938 h 25"/>
                <a:gd name="T18" fmla="*/ 105679 w 58"/>
                <a:gd name="T19" fmla="*/ 11938 h 25"/>
                <a:gd name="T20" fmla="*/ 116517 w 58"/>
                <a:gd name="T21" fmla="*/ 0 h 25"/>
                <a:gd name="T22" fmla="*/ 132776 w 58"/>
                <a:gd name="T23" fmla="*/ 5969 h 25"/>
                <a:gd name="T24" fmla="*/ 154453 w 58"/>
                <a:gd name="T25" fmla="*/ 8954 h 25"/>
                <a:gd name="T26" fmla="*/ 157163 w 58"/>
                <a:gd name="T27" fmla="*/ 23876 h 25"/>
                <a:gd name="T28" fmla="*/ 157163 w 58"/>
                <a:gd name="T29" fmla="*/ 26861 h 25"/>
                <a:gd name="T30" fmla="*/ 154453 w 58"/>
                <a:gd name="T31" fmla="*/ 38799 h 25"/>
                <a:gd name="T32" fmla="*/ 146324 w 58"/>
                <a:gd name="T33" fmla="*/ 35814 h 25"/>
                <a:gd name="T34" fmla="*/ 143614 w 58"/>
                <a:gd name="T35" fmla="*/ 50737 h 25"/>
                <a:gd name="T36" fmla="*/ 138195 w 58"/>
                <a:gd name="T37" fmla="*/ 59690 h 25"/>
                <a:gd name="T38" fmla="*/ 119227 w 58"/>
                <a:gd name="T39" fmla="*/ 65659 h 25"/>
                <a:gd name="T40" fmla="*/ 102969 w 58"/>
                <a:gd name="T41" fmla="*/ 74613 h 25"/>
                <a:gd name="T42" fmla="*/ 84001 w 58"/>
                <a:gd name="T43" fmla="*/ 71628 h 25"/>
                <a:gd name="T44" fmla="*/ 65033 w 58"/>
                <a:gd name="T45" fmla="*/ 68644 h 25"/>
                <a:gd name="T46" fmla="*/ 54194 w 58"/>
                <a:gd name="T47" fmla="*/ 56706 h 25"/>
                <a:gd name="T48" fmla="*/ 40646 w 58"/>
                <a:gd name="T49" fmla="*/ 56706 h 25"/>
                <a:gd name="T50" fmla="*/ 32516 w 58"/>
                <a:gd name="T51" fmla="*/ 65659 h 25"/>
                <a:gd name="T52" fmla="*/ 18968 w 58"/>
                <a:gd name="T53" fmla="*/ 65659 h 25"/>
                <a:gd name="T54" fmla="*/ 18968 w 58"/>
                <a:gd name="T55" fmla="*/ 65659 h 25"/>
                <a:gd name="T56" fmla="*/ 16258 w 58"/>
                <a:gd name="T57" fmla="*/ 59690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8" h="25">
                  <a:moveTo>
                    <a:pt x="6" y="20"/>
                  </a:moveTo>
                  <a:cubicBezTo>
                    <a:pt x="5" y="20"/>
                    <a:pt x="1" y="19"/>
                    <a:pt x="0" y="19"/>
                  </a:cubicBezTo>
                  <a:cubicBezTo>
                    <a:pt x="1" y="13"/>
                    <a:pt x="1" y="13"/>
                    <a:pt x="1" y="13"/>
                  </a:cubicBezTo>
                  <a:cubicBezTo>
                    <a:pt x="2" y="14"/>
                    <a:pt x="2" y="14"/>
                    <a:pt x="3" y="14"/>
                  </a:cubicBezTo>
                  <a:cubicBezTo>
                    <a:pt x="4" y="14"/>
                    <a:pt x="5" y="15"/>
                    <a:pt x="7" y="15"/>
                  </a:cubicBezTo>
                  <a:cubicBezTo>
                    <a:pt x="9" y="15"/>
                    <a:pt x="14" y="13"/>
                    <a:pt x="15" y="13"/>
                  </a:cubicBezTo>
                  <a:cubicBezTo>
                    <a:pt x="16" y="13"/>
                    <a:pt x="23" y="12"/>
                    <a:pt x="24" y="12"/>
                  </a:cubicBezTo>
                  <a:cubicBezTo>
                    <a:pt x="28" y="15"/>
                    <a:pt x="26" y="8"/>
                    <a:pt x="27" y="7"/>
                  </a:cubicBezTo>
                  <a:cubicBezTo>
                    <a:pt x="29" y="6"/>
                    <a:pt x="32" y="5"/>
                    <a:pt x="33" y="4"/>
                  </a:cubicBezTo>
                  <a:cubicBezTo>
                    <a:pt x="33" y="4"/>
                    <a:pt x="37" y="4"/>
                    <a:pt x="39" y="4"/>
                  </a:cubicBezTo>
                  <a:cubicBezTo>
                    <a:pt x="40" y="4"/>
                    <a:pt x="42" y="0"/>
                    <a:pt x="43" y="0"/>
                  </a:cubicBezTo>
                  <a:cubicBezTo>
                    <a:pt x="45" y="0"/>
                    <a:pt x="48" y="2"/>
                    <a:pt x="49" y="2"/>
                  </a:cubicBezTo>
                  <a:cubicBezTo>
                    <a:pt x="51" y="2"/>
                    <a:pt x="56" y="3"/>
                    <a:pt x="57" y="3"/>
                  </a:cubicBezTo>
                  <a:cubicBezTo>
                    <a:pt x="57" y="4"/>
                    <a:pt x="57" y="7"/>
                    <a:pt x="58" y="8"/>
                  </a:cubicBezTo>
                  <a:cubicBezTo>
                    <a:pt x="58" y="8"/>
                    <a:pt x="58" y="9"/>
                    <a:pt x="58" y="9"/>
                  </a:cubicBezTo>
                  <a:cubicBezTo>
                    <a:pt x="58" y="11"/>
                    <a:pt x="58" y="12"/>
                    <a:pt x="57" y="13"/>
                  </a:cubicBezTo>
                  <a:cubicBezTo>
                    <a:pt x="57" y="13"/>
                    <a:pt x="55" y="12"/>
                    <a:pt x="54" y="12"/>
                  </a:cubicBezTo>
                  <a:cubicBezTo>
                    <a:pt x="53" y="13"/>
                    <a:pt x="53" y="15"/>
                    <a:pt x="53" y="17"/>
                  </a:cubicBezTo>
                  <a:cubicBezTo>
                    <a:pt x="53" y="18"/>
                    <a:pt x="52" y="20"/>
                    <a:pt x="51" y="20"/>
                  </a:cubicBezTo>
                  <a:cubicBezTo>
                    <a:pt x="50" y="21"/>
                    <a:pt x="46" y="22"/>
                    <a:pt x="44" y="22"/>
                  </a:cubicBezTo>
                  <a:cubicBezTo>
                    <a:pt x="42" y="22"/>
                    <a:pt x="39" y="25"/>
                    <a:pt x="38" y="25"/>
                  </a:cubicBezTo>
                  <a:cubicBezTo>
                    <a:pt x="38" y="25"/>
                    <a:pt x="35" y="24"/>
                    <a:pt x="31" y="24"/>
                  </a:cubicBezTo>
                  <a:cubicBezTo>
                    <a:pt x="28" y="23"/>
                    <a:pt x="25" y="23"/>
                    <a:pt x="24" y="23"/>
                  </a:cubicBezTo>
                  <a:cubicBezTo>
                    <a:pt x="23" y="22"/>
                    <a:pt x="21" y="20"/>
                    <a:pt x="20" y="19"/>
                  </a:cubicBezTo>
                  <a:cubicBezTo>
                    <a:pt x="19" y="19"/>
                    <a:pt x="15" y="19"/>
                    <a:pt x="15" y="19"/>
                  </a:cubicBezTo>
                  <a:cubicBezTo>
                    <a:pt x="13" y="19"/>
                    <a:pt x="12" y="22"/>
                    <a:pt x="12" y="22"/>
                  </a:cubicBezTo>
                  <a:cubicBezTo>
                    <a:pt x="7" y="22"/>
                    <a:pt x="7" y="22"/>
                    <a:pt x="7" y="22"/>
                  </a:cubicBezTo>
                  <a:cubicBezTo>
                    <a:pt x="7" y="22"/>
                    <a:pt x="7" y="22"/>
                    <a:pt x="7" y="22"/>
                  </a:cubicBezTo>
                  <a:cubicBezTo>
                    <a:pt x="7" y="21"/>
                    <a:pt x="6" y="20"/>
                    <a:pt x="6" y="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2" name="Freeform 241"/>
            <p:cNvSpPr>
              <a:spLocks/>
            </p:cNvSpPr>
            <p:nvPr>
              <p:custDataLst>
                <p:tags r:id="rId171"/>
              </p:custDataLst>
            </p:nvPr>
          </p:nvSpPr>
          <p:spPr bwMode="auto">
            <a:xfrm>
              <a:off x="2808" y="1890"/>
              <a:ext cx="120" cy="137"/>
            </a:xfrm>
            <a:custGeom>
              <a:avLst/>
              <a:gdLst>
                <a:gd name="T0" fmla="*/ 21771 w 70"/>
                <a:gd name="T1" fmla="*/ 40598 h 75"/>
                <a:gd name="T2" fmla="*/ 40821 w 70"/>
                <a:gd name="T3" fmla="*/ 34798 h 75"/>
                <a:gd name="T4" fmla="*/ 51707 w 70"/>
                <a:gd name="T5" fmla="*/ 43498 h 75"/>
                <a:gd name="T6" fmla="*/ 68036 w 70"/>
                <a:gd name="T7" fmla="*/ 31898 h 75"/>
                <a:gd name="T8" fmla="*/ 59871 w 70"/>
                <a:gd name="T9" fmla="*/ 17399 h 75"/>
                <a:gd name="T10" fmla="*/ 51707 w 70"/>
                <a:gd name="T11" fmla="*/ 0 h 75"/>
                <a:gd name="T12" fmla="*/ 81643 w 70"/>
                <a:gd name="T13" fmla="*/ 0 h 75"/>
                <a:gd name="T14" fmla="*/ 87086 w 70"/>
                <a:gd name="T15" fmla="*/ 8700 h 75"/>
                <a:gd name="T16" fmla="*/ 103414 w 70"/>
                <a:gd name="T17" fmla="*/ 14499 h 75"/>
                <a:gd name="T18" fmla="*/ 108857 w 70"/>
                <a:gd name="T19" fmla="*/ 14499 h 75"/>
                <a:gd name="T20" fmla="*/ 111579 w 70"/>
                <a:gd name="T21" fmla="*/ 26099 h 75"/>
                <a:gd name="T22" fmla="*/ 130629 w 70"/>
                <a:gd name="T23" fmla="*/ 23199 h 75"/>
                <a:gd name="T24" fmla="*/ 146957 w 70"/>
                <a:gd name="T25" fmla="*/ 14499 h 75"/>
                <a:gd name="T26" fmla="*/ 155121 w 70"/>
                <a:gd name="T27" fmla="*/ 11599 h 75"/>
                <a:gd name="T28" fmla="*/ 157843 w 70"/>
                <a:gd name="T29" fmla="*/ 26099 h 75"/>
                <a:gd name="T30" fmla="*/ 174171 w 70"/>
                <a:gd name="T31" fmla="*/ 28998 h 75"/>
                <a:gd name="T32" fmla="*/ 174171 w 70"/>
                <a:gd name="T33" fmla="*/ 28998 h 75"/>
                <a:gd name="T34" fmla="*/ 176893 w 70"/>
                <a:gd name="T35" fmla="*/ 43498 h 75"/>
                <a:gd name="T36" fmla="*/ 171450 w 70"/>
                <a:gd name="T37" fmla="*/ 57997 h 75"/>
                <a:gd name="T38" fmla="*/ 182336 w 70"/>
                <a:gd name="T39" fmla="*/ 69596 h 75"/>
                <a:gd name="T40" fmla="*/ 182336 w 70"/>
                <a:gd name="T41" fmla="*/ 86995 h 75"/>
                <a:gd name="T42" fmla="*/ 190500 w 70"/>
                <a:gd name="T43" fmla="*/ 107294 h 75"/>
                <a:gd name="T44" fmla="*/ 190500 w 70"/>
                <a:gd name="T45" fmla="*/ 113094 h 75"/>
                <a:gd name="T46" fmla="*/ 182336 w 70"/>
                <a:gd name="T47" fmla="*/ 118893 h 75"/>
                <a:gd name="T48" fmla="*/ 130629 w 70"/>
                <a:gd name="T49" fmla="*/ 139192 h 75"/>
                <a:gd name="T50" fmla="*/ 166007 w 70"/>
                <a:gd name="T51" fmla="*/ 185590 h 75"/>
                <a:gd name="T52" fmla="*/ 149679 w 70"/>
                <a:gd name="T53" fmla="*/ 194289 h 75"/>
                <a:gd name="T54" fmla="*/ 141514 w 70"/>
                <a:gd name="T55" fmla="*/ 208788 h 75"/>
                <a:gd name="T56" fmla="*/ 117021 w 70"/>
                <a:gd name="T57" fmla="*/ 211688 h 75"/>
                <a:gd name="T58" fmla="*/ 95250 w 70"/>
                <a:gd name="T59" fmla="*/ 217488 h 75"/>
                <a:gd name="T60" fmla="*/ 84364 w 70"/>
                <a:gd name="T61" fmla="*/ 214588 h 75"/>
                <a:gd name="T62" fmla="*/ 78921 w 70"/>
                <a:gd name="T63" fmla="*/ 211688 h 75"/>
                <a:gd name="T64" fmla="*/ 59871 w 70"/>
                <a:gd name="T65" fmla="*/ 208788 h 75"/>
                <a:gd name="T66" fmla="*/ 43543 w 70"/>
                <a:gd name="T67" fmla="*/ 211688 h 75"/>
                <a:gd name="T68" fmla="*/ 35379 w 70"/>
                <a:gd name="T69" fmla="*/ 211688 h 75"/>
                <a:gd name="T70" fmla="*/ 46264 w 70"/>
                <a:gd name="T71" fmla="*/ 179790 h 75"/>
                <a:gd name="T72" fmla="*/ 16329 w 70"/>
                <a:gd name="T73" fmla="*/ 168191 h 75"/>
                <a:gd name="T74" fmla="*/ 10886 w 70"/>
                <a:gd name="T75" fmla="*/ 159491 h 75"/>
                <a:gd name="T76" fmla="*/ 10886 w 70"/>
                <a:gd name="T77" fmla="*/ 153692 h 75"/>
                <a:gd name="T78" fmla="*/ 8164 w 70"/>
                <a:gd name="T79" fmla="*/ 133393 h 75"/>
                <a:gd name="T80" fmla="*/ 5443 w 70"/>
                <a:gd name="T81" fmla="*/ 124693 h 75"/>
                <a:gd name="T82" fmla="*/ 2721 w 70"/>
                <a:gd name="T83" fmla="*/ 115994 h 75"/>
                <a:gd name="T84" fmla="*/ 5443 w 70"/>
                <a:gd name="T85" fmla="*/ 101494 h 75"/>
                <a:gd name="T86" fmla="*/ 2721 w 70"/>
                <a:gd name="T87" fmla="*/ 89895 h 75"/>
                <a:gd name="T88" fmla="*/ 21771 w 70"/>
                <a:gd name="T89" fmla="*/ 86995 h 75"/>
                <a:gd name="T90" fmla="*/ 24493 w 70"/>
                <a:gd name="T91" fmla="*/ 66696 h 75"/>
                <a:gd name="T92" fmla="*/ 24493 w 70"/>
                <a:gd name="T93" fmla="*/ 52197 h 75"/>
                <a:gd name="T94" fmla="*/ 21771 w 70"/>
                <a:gd name="T95" fmla="*/ 4059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 h="75">
                  <a:moveTo>
                    <a:pt x="8" y="14"/>
                  </a:moveTo>
                  <a:cubicBezTo>
                    <a:pt x="10" y="13"/>
                    <a:pt x="14" y="12"/>
                    <a:pt x="15" y="12"/>
                  </a:cubicBezTo>
                  <a:cubicBezTo>
                    <a:pt x="16" y="12"/>
                    <a:pt x="18" y="15"/>
                    <a:pt x="19" y="15"/>
                  </a:cubicBezTo>
                  <a:cubicBezTo>
                    <a:pt x="20" y="14"/>
                    <a:pt x="25" y="12"/>
                    <a:pt x="25" y="11"/>
                  </a:cubicBezTo>
                  <a:cubicBezTo>
                    <a:pt x="25" y="9"/>
                    <a:pt x="23" y="8"/>
                    <a:pt x="22" y="6"/>
                  </a:cubicBezTo>
                  <a:cubicBezTo>
                    <a:pt x="22" y="5"/>
                    <a:pt x="19" y="2"/>
                    <a:pt x="19" y="0"/>
                  </a:cubicBezTo>
                  <a:cubicBezTo>
                    <a:pt x="30" y="0"/>
                    <a:pt x="30" y="0"/>
                    <a:pt x="30" y="0"/>
                  </a:cubicBezTo>
                  <a:cubicBezTo>
                    <a:pt x="30" y="1"/>
                    <a:pt x="31" y="3"/>
                    <a:pt x="32" y="3"/>
                  </a:cubicBezTo>
                  <a:cubicBezTo>
                    <a:pt x="33" y="4"/>
                    <a:pt x="36" y="5"/>
                    <a:pt x="38" y="5"/>
                  </a:cubicBezTo>
                  <a:cubicBezTo>
                    <a:pt x="39" y="5"/>
                    <a:pt x="40" y="5"/>
                    <a:pt x="40" y="5"/>
                  </a:cubicBezTo>
                  <a:cubicBezTo>
                    <a:pt x="41" y="6"/>
                    <a:pt x="40" y="9"/>
                    <a:pt x="41" y="9"/>
                  </a:cubicBezTo>
                  <a:cubicBezTo>
                    <a:pt x="42" y="9"/>
                    <a:pt x="47" y="8"/>
                    <a:pt x="48" y="8"/>
                  </a:cubicBezTo>
                  <a:cubicBezTo>
                    <a:pt x="49" y="7"/>
                    <a:pt x="53" y="5"/>
                    <a:pt x="54" y="5"/>
                  </a:cubicBezTo>
                  <a:cubicBezTo>
                    <a:pt x="55" y="4"/>
                    <a:pt x="56" y="3"/>
                    <a:pt x="57" y="4"/>
                  </a:cubicBezTo>
                  <a:cubicBezTo>
                    <a:pt x="58" y="4"/>
                    <a:pt x="57" y="8"/>
                    <a:pt x="58" y="9"/>
                  </a:cubicBezTo>
                  <a:cubicBezTo>
                    <a:pt x="59" y="9"/>
                    <a:pt x="62" y="10"/>
                    <a:pt x="64" y="10"/>
                  </a:cubicBezTo>
                  <a:cubicBezTo>
                    <a:pt x="64" y="10"/>
                    <a:pt x="64" y="10"/>
                    <a:pt x="64" y="10"/>
                  </a:cubicBezTo>
                  <a:cubicBezTo>
                    <a:pt x="64" y="10"/>
                    <a:pt x="65" y="13"/>
                    <a:pt x="65" y="15"/>
                  </a:cubicBezTo>
                  <a:cubicBezTo>
                    <a:pt x="65" y="16"/>
                    <a:pt x="63" y="19"/>
                    <a:pt x="63" y="20"/>
                  </a:cubicBezTo>
                  <a:cubicBezTo>
                    <a:pt x="63" y="21"/>
                    <a:pt x="65" y="23"/>
                    <a:pt x="67" y="24"/>
                  </a:cubicBezTo>
                  <a:cubicBezTo>
                    <a:pt x="67" y="26"/>
                    <a:pt x="67" y="28"/>
                    <a:pt x="67" y="30"/>
                  </a:cubicBezTo>
                  <a:cubicBezTo>
                    <a:pt x="67" y="32"/>
                    <a:pt x="70" y="35"/>
                    <a:pt x="70" y="37"/>
                  </a:cubicBezTo>
                  <a:cubicBezTo>
                    <a:pt x="70" y="37"/>
                    <a:pt x="70" y="38"/>
                    <a:pt x="70" y="39"/>
                  </a:cubicBezTo>
                  <a:cubicBezTo>
                    <a:pt x="69" y="40"/>
                    <a:pt x="68" y="41"/>
                    <a:pt x="67" y="41"/>
                  </a:cubicBezTo>
                  <a:cubicBezTo>
                    <a:pt x="65" y="41"/>
                    <a:pt x="48" y="47"/>
                    <a:pt x="48" y="48"/>
                  </a:cubicBezTo>
                  <a:cubicBezTo>
                    <a:pt x="48" y="49"/>
                    <a:pt x="62" y="62"/>
                    <a:pt x="61" y="64"/>
                  </a:cubicBezTo>
                  <a:cubicBezTo>
                    <a:pt x="60" y="65"/>
                    <a:pt x="57" y="66"/>
                    <a:pt x="55" y="67"/>
                  </a:cubicBezTo>
                  <a:cubicBezTo>
                    <a:pt x="54" y="68"/>
                    <a:pt x="56" y="75"/>
                    <a:pt x="52" y="72"/>
                  </a:cubicBezTo>
                  <a:cubicBezTo>
                    <a:pt x="51" y="72"/>
                    <a:pt x="44" y="73"/>
                    <a:pt x="43" y="73"/>
                  </a:cubicBezTo>
                  <a:cubicBezTo>
                    <a:pt x="42" y="73"/>
                    <a:pt x="37" y="75"/>
                    <a:pt x="35" y="75"/>
                  </a:cubicBezTo>
                  <a:cubicBezTo>
                    <a:pt x="33" y="75"/>
                    <a:pt x="32" y="74"/>
                    <a:pt x="31" y="74"/>
                  </a:cubicBezTo>
                  <a:cubicBezTo>
                    <a:pt x="30" y="74"/>
                    <a:pt x="30" y="74"/>
                    <a:pt x="29" y="73"/>
                  </a:cubicBezTo>
                  <a:cubicBezTo>
                    <a:pt x="27" y="73"/>
                    <a:pt x="23" y="72"/>
                    <a:pt x="22" y="72"/>
                  </a:cubicBezTo>
                  <a:cubicBezTo>
                    <a:pt x="21" y="72"/>
                    <a:pt x="17" y="73"/>
                    <a:pt x="16" y="73"/>
                  </a:cubicBezTo>
                  <a:cubicBezTo>
                    <a:pt x="13" y="73"/>
                    <a:pt x="13" y="73"/>
                    <a:pt x="13" y="73"/>
                  </a:cubicBezTo>
                  <a:cubicBezTo>
                    <a:pt x="14" y="70"/>
                    <a:pt x="16" y="63"/>
                    <a:pt x="17" y="62"/>
                  </a:cubicBezTo>
                  <a:cubicBezTo>
                    <a:pt x="18" y="60"/>
                    <a:pt x="8" y="59"/>
                    <a:pt x="6" y="58"/>
                  </a:cubicBezTo>
                  <a:cubicBezTo>
                    <a:pt x="5" y="57"/>
                    <a:pt x="4" y="56"/>
                    <a:pt x="4" y="55"/>
                  </a:cubicBezTo>
                  <a:cubicBezTo>
                    <a:pt x="4" y="54"/>
                    <a:pt x="4" y="53"/>
                    <a:pt x="4" y="53"/>
                  </a:cubicBezTo>
                  <a:cubicBezTo>
                    <a:pt x="4" y="50"/>
                    <a:pt x="5" y="47"/>
                    <a:pt x="3" y="46"/>
                  </a:cubicBezTo>
                  <a:cubicBezTo>
                    <a:pt x="2" y="45"/>
                    <a:pt x="2" y="44"/>
                    <a:pt x="2" y="43"/>
                  </a:cubicBezTo>
                  <a:cubicBezTo>
                    <a:pt x="1" y="42"/>
                    <a:pt x="1" y="41"/>
                    <a:pt x="1" y="40"/>
                  </a:cubicBezTo>
                  <a:cubicBezTo>
                    <a:pt x="1" y="39"/>
                    <a:pt x="3" y="36"/>
                    <a:pt x="2" y="35"/>
                  </a:cubicBezTo>
                  <a:cubicBezTo>
                    <a:pt x="1" y="34"/>
                    <a:pt x="0" y="32"/>
                    <a:pt x="1" y="31"/>
                  </a:cubicBezTo>
                  <a:cubicBezTo>
                    <a:pt x="2" y="31"/>
                    <a:pt x="7" y="31"/>
                    <a:pt x="8" y="30"/>
                  </a:cubicBezTo>
                  <a:cubicBezTo>
                    <a:pt x="9" y="29"/>
                    <a:pt x="9" y="25"/>
                    <a:pt x="9" y="23"/>
                  </a:cubicBezTo>
                  <a:cubicBezTo>
                    <a:pt x="9" y="21"/>
                    <a:pt x="10" y="19"/>
                    <a:pt x="9" y="18"/>
                  </a:cubicBezTo>
                  <a:cubicBezTo>
                    <a:pt x="9" y="17"/>
                    <a:pt x="8" y="14"/>
                    <a:pt x="8"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3" name="Freeform 243"/>
            <p:cNvSpPr>
              <a:spLocks/>
            </p:cNvSpPr>
            <p:nvPr>
              <p:custDataLst>
                <p:tags r:id="rId172"/>
              </p:custDataLst>
            </p:nvPr>
          </p:nvSpPr>
          <p:spPr bwMode="auto">
            <a:xfrm>
              <a:off x="2810" y="2022"/>
              <a:ext cx="58" cy="35"/>
            </a:xfrm>
            <a:custGeom>
              <a:avLst/>
              <a:gdLst>
                <a:gd name="T0" fmla="*/ 16249 w 34"/>
                <a:gd name="T1" fmla="*/ 40941 h 19"/>
                <a:gd name="T2" fmla="*/ 0 w 34"/>
                <a:gd name="T3" fmla="*/ 38017 h 19"/>
                <a:gd name="T4" fmla="*/ 13540 w 34"/>
                <a:gd name="T5" fmla="*/ 17546 h 19"/>
                <a:gd name="T6" fmla="*/ 32497 w 34"/>
                <a:gd name="T7" fmla="*/ 5849 h 19"/>
                <a:gd name="T8" fmla="*/ 32497 w 34"/>
                <a:gd name="T9" fmla="*/ 2924 h 19"/>
                <a:gd name="T10" fmla="*/ 40621 w 34"/>
                <a:gd name="T11" fmla="*/ 2924 h 19"/>
                <a:gd name="T12" fmla="*/ 56870 w 34"/>
                <a:gd name="T13" fmla="*/ 0 h 19"/>
                <a:gd name="T14" fmla="*/ 75826 w 34"/>
                <a:gd name="T15" fmla="*/ 2924 h 19"/>
                <a:gd name="T16" fmla="*/ 73118 w 34"/>
                <a:gd name="T17" fmla="*/ 20471 h 19"/>
                <a:gd name="T18" fmla="*/ 89367 w 34"/>
                <a:gd name="T19" fmla="*/ 23395 h 19"/>
                <a:gd name="T20" fmla="*/ 92075 w 34"/>
                <a:gd name="T21" fmla="*/ 29244 h 19"/>
                <a:gd name="T22" fmla="*/ 92075 w 34"/>
                <a:gd name="T23" fmla="*/ 32168 h 19"/>
                <a:gd name="T24" fmla="*/ 86659 w 34"/>
                <a:gd name="T25" fmla="*/ 40941 h 19"/>
                <a:gd name="T26" fmla="*/ 73118 w 34"/>
                <a:gd name="T27" fmla="*/ 35092 h 19"/>
                <a:gd name="T28" fmla="*/ 62286 w 34"/>
                <a:gd name="T29" fmla="*/ 55563 h 19"/>
                <a:gd name="T30" fmla="*/ 48746 w 34"/>
                <a:gd name="T31" fmla="*/ 35092 h 19"/>
                <a:gd name="T32" fmla="*/ 40621 w 34"/>
                <a:gd name="T33" fmla="*/ 49714 h 19"/>
                <a:gd name="T34" fmla="*/ 32497 w 34"/>
                <a:gd name="T35" fmla="*/ 52639 h 19"/>
                <a:gd name="T36" fmla="*/ 21665 w 34"/>
                <a:gd name="T37" fmla="*/ 55563 h 19"/>
                <a:gd name="T38" fmla="*/ 16249 w 34"/>
                <a:gd name="T39" fmla="*/ 409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4" h="19">
                  <a:moveTo>
                    <a:pt x="6" y="14"/>
                  </a:moveTo>
                  <a:cubicBezTo>
                    <a:pt x="5" y="14"/>
                    <a:pt x="0" y="15"/>
                    <a:pt x="0" y="13"/>
                  </a:cubicBezTo>
                  <a:cubicBezTo>
                    <a:pt x="0" y="12"/>
                    <a:pt x="3" y="7"/>
                    <a:pt x="5" y="6"/>
                  </a:cubicBezTo>
                  <a:cubicBezTo>
                    <a:pt x="7" y="5"/>
                    <a:pt x="11" y="3"/>
                    <a:pt x="12" y="2"/>
                  </a:cubicBezTo>
                  <a:cubicBezTo>
                    <a:pt x="12" y="2"/>
                    <a:pt x="12" y="1"/>
                    <a:pt x="12" y="1"/>
                  </a:cubicBezTo>
                  <a:cubicBezTo>
                    <a:pt x="15" y="1"/>
                    <a:pt x="15" y="1"/>
                    <a:pt x="15" y="1"/>
                  </a:cubicBezTo>
                  <a:cubicBezTo>
                    <a:pt x="16" y="1"/>
                    <a:pt x="20" y="0"/>
                    <a:pt x="21" y="0"/>
                  </a:cubicBezTo>
                  <a:cubicBezTo>
                    <a:pt x="22" y="0"/>
                    <a:pt x="26" y="1"/>
                    <a:pt x="28" y="1"/>
                  </a:cubicBezTo>
                  <a:cubicBezTo>
                    <a:pt x="27" y="7"/>
                    <a:pt x="27" y="7"/>
                    <a:pt x="27" y="7"/>
                  </a:cubicBezTo>
                  <a:cubicBezTo>
                    <a:pt x="28" y="7"/>
                    <a:pt x="32" y="8"/>
                    <a:pt x="33" y="8"/>
                  </a:cubicBezTo>
                  <a:cubicBezTo>
                    <a:pt x="33" y="8"/>
                    <a:pt x="34" y="9"/>
                    <a:pt x="34" y="10"/>
                  </a:cubicBezTo>
                  <a:cubicBezTo>
                    <a:pt x="34" y="10"/>
                    <a:pt x="34" y="11"/>
                    <a:pt x="34" y="11"/>
                  </a:cubicBezTo>
                  <a:cubicBezTo>
                    <a:pt x="34" y="12"/>
                    <a:pt x="32" y="14"/>
                    <a:pt x="32" y="14"/>
                  </a:cubicBezTo>
                  <a:cubicBezTo>
                    <a:pt x="31" y="15"/>
                    <a:pt x="28" y="12"/>
                    <a:pt x="27" y="12"/>
                  </a:cubicBezTo>
                  <a:cubicBezTo>
                    <a:pt x="26" y="12"/>
                    <a:pt x="24" y="18"/>
                    <a:pt x="23" y="19"/>
                  </a:cubicBezTo>
                  <a:cubicBezTo>
                    <a:pt x="22" y="19"/>
                    <a:pt x="20" y="12"/>
                    <a:pt x="18" y="12"/>
                  </a:cubicBezTo>
                  <a:cubicBezTo>
                    <a:pt x="18" y="12"/>
                    <a:pt x="16" y="16"/>
                    <a:pt x="15" y="17"/>
                  </a:cubicBezTo>
                  <a:cubicBezTo>
                    <a:pt x="14" y="18"/>
                    <a:pt x="12" y="18"/>
                    <a:pt x="12" y="18"/>
                  </a:cubicBezTo>
                  <a:cubicBezTo>
                    <a:pt x="8" y="19"/>
                    <a:pt x="8" y="19"/>
                    <a:pt x="8" y="19"/>
                  </a:cubicBezTo>
                  <a:cubicBezTo>
                    <a:pt x="8" y="16"/>
                    <a:pt x="8" y="15"/>
                    <a:pt x="6"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4" name="Freeform 244"/>
            <p:cNvSpPr>
              <a:spLocks/>
            </p:cNvSpPr>
            <p:nvPr>
              <p:custDataLst>
                <p:tags r:id="rId173"/>
              </p:custDataLst>
            </p:nvPr>
          </p:nvSpPr>
          <p:spPr bwMode="auto">
            <a:xfrm>
              <a:off x="3152" y="2225"/>
              <a:ext cx="30" cy="19"/>
            </a:xfrm>
            <a:custGeom>
              <a:avLst/>
              <a:gdLst>
                <a:gd name="T0" fmla="*/ 18521 w 18"/>
                <a:gd name="T1" fmla="*/ 30163 h 10"/>
                <a:gd name="T2" fmla="*/ 5292 w 18"/>
                <a:gd name="T3" fmla="*/ 27147 h 10"/>
                <a:gd name="T4" fmla="*/ 10583 w 18"/>
                <a:gd name="T5" fmla="*/ 15082 h 10"/>
                <a:gd name="T6" fmla="*/ 42333 w 18"/>
                <a:gd name="T7" fmla="*/ 3016 h 10"/>
                <a:gd name="T8" fmla="*/ 31750 w 18"/>
                <a:gd name="T9" fmla="*/ 27147 h 10"/>
                <a:gd name="T10" fmla="*/ 18521 w 18"/>
                <a:gd name="T11" fmla="*/ 30163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0">
                  <a:moveTo>
                    <a:pt x="7" y="10"/>
                  </a:moveTo>
                  <a:cubicBezTo>
                    <a:pt x="5" y="10"/>
                    <a:pt x="2" y="9"/>
                    <a:pt x="2" y="9"/>
                  </a:cubicBezTo>
                  <a:cubicBezTo>
                    <a:pt x="0" y="7"/>
                    <a:pt x="2" y="5"/>
                    <a:pt x="4" y="5"/>
                  </a:cubicBezTo>
                  <a:cubicBezTo>
                    <a:pt x="5" y="4"/>
                    <a:pt x="15" y="2"/>
                    <a:pt x="16" y="1"/>
                  </a:cubicBezTo>
                  <a:cubicBezTo>
                    <a:pt x="18" y="0"/>
                    <a:pt x="14" y="8"/>
                    <a:pt x="12" y="9"/>
                  </a:cubicBezTo>
                  <a:cubicBezTo>
                    <a:pt x="11" y="10"/>
                    <a:pt x="9" y="10"/>
                    <a:pt x="7"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 name="Freeform 246"/>
            <p:cNvSpPr>
              <a:spLocks/>
            </p:cNvSpPr>
            <p:nvPr>
              <p:custDataLst>
                <p:tags r:id="rId174"/>
              </p:custDataLst>
            </p:nvPr>
          </p:nvSpPr>
          <p:spPr bwMode="auto">
            <a:xfrm>
              <a:off x="3040" y="2225"/>
              <a:ext cx="37" cy="17"/>
            </a:xfrm>
            <a:custGeom>
              <a:avLst/>
              <a:gdLst>
                <a:gd name="T0" fmla="*/ 13350 w 22"/>
                <a:gd name="T1" fmla="*/ 14993 h 9"/>
                <a:gd name="T2" fmla="*/ 0 w 22"/>
                <a:gd name="T3" fmla="*/ 8996 h 9"/>
                <a:gd name="T4" fmla="*/ 5340 w 22"/>
                <a:gd name="T5" fmla="*/ 2999 h 9"/>
                <a:gd name="T6" fmla="*/ 40049 w 22"/>
                <a:gd name="T7" fmla="*/ 5997 h 9"/>
                <a:gd name="T8" fmla="*/ 48058 w 22"/>
                <a:gd name="T9" fmla="*/ 11995 h 9"/>
                <a:gd name="T10" fmla="*/ 58738 w 22"/>
                <a:gd name="T11" fmla="*/ 11995 h 9"/>
                <a:gd name="T12" fmla="*/ 58738 w 22"/>
                <a:gd name="T13" fmla="*/ 23989 h 9"/>
                <a:gd name="T14" fmla="*/ 42719 w 22"/>
                <a:gd name="T15" fmla="*/ 23989 h 9"/>
                <a:gd name="T16" fmla="*/ 24029 w 22"/>
                <a:gd name="T17" fmla="*/ 23989 h 9"/>
                <a:gd name="T18" fmla="*/ 13350 w 22"/>
                <a:gd name="T19" fmla="*/ 14993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9">
                  <a:moveTo>
                    <a:pt x="5" y="5"/>
                  </a:moveTo>
                  <a:cubicBezTo>
                    <a:pt x="4" y="5"/>
                    <a:pt x="0" y="3"/>
                    <a:pt x="0" y="3"/>
                  </a:cubicBezTo>
                  <a:cubicBezTo>
                    <a:pt x="0" y="1"/>
                    <a:pt x="0" y="0"/>
                    <a:pt x="2" y="1"/>
                  </a:cubicBezTo>
                  <a:cubicBezTo>
                    <a:pt x="4" y="1"/>
                    <a:pt x="14" y="2"/>
                    <a:pt x="15" y="2"/>
                  </a:cubicBezTo>
                  <a:cubicBezTo>
                    <a:pt x="17" y="2"/>
                    <a:pt x="17" y="4"/>
                    <a:pt x="18" y="4"/>
                  </a:cubicBezTo>
                  <a:cubicBezTo>
                    <a:pt x="19" y="4"/>
                    <a:pt x="22" y="3"/>
                    <a:pt x="22" y="4"/>
                  </a:cubicBezTo>
                  <a:cubicBezTo>
                    <a:pt x="22" y="5"/>
                    <a:pt x="22" y="7"/>
                    <a:pt x="22" y="8"/>
                  </a:cubicBezTo>
                  <a:cubicBezTo>
                    <a:pt x="22" y="9"/>
                    <a:pt x="19" y="8"/>
                    <a:pt x="16" y="8"/>
                  </a:cubicBezTo>
                  <a:cubicBezTo>
                    <a:pt x="13" y="8"/>
                    <a:pt x="10" y="8"/>
                    <a:pt x="9" y="8"/>
                  </a:cubicBezTo>
                  <a:cubicBezTo>
                    <a:pt x="8" y="8"/>
                    <a:pt x="7" y="5"/>
                    <a:pt x="5"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 name="Freeform 247"/>
            <p:cNvSpPr>
              <a:spLocks/>
            </p:cNvSpPr>
            <p:nvPr>
              <p:custDataLst>
                <p:tags r:id="rId175"/>
              </p:custDataLst>
            </p:nvPr>
          </p:nvSpPr>
          <p:spPr bwMode="auto">
            <a:xfrm>
              <a:off x="2995" y="2121"/>
              <a:ext cx="84" cy="91"/>
            </a:xfrm>
            <a:custGeom>
              <a:avLst/>
              <a:gdLst>
                <a:gd name="T0" fmla="*/ 8164 w 49"/>
                <a:gd name="T1" fmla="*/ 75121 h 50"/>
                <a:gd name="T2" fmla="*/ 0 w 49"/>
                <a:gd name="T3" fmla="*/ 60674 h 50"/>
                <a:gd name="T4" fmla="*/ 19050 w 49"/>
                <a:gd name="T5" fmla="*/ 37560 h 50"/>
                <a:gd name="T6" fmla="*/ 19050 w 49"/>
                <a:gd name="T7" fmla="*/ 31782 h 50"/>
                <a:gd name="T8" fmla="*/ 38100 w 49"/>
                <a:gd name="T9" fmla="*/ 23114 h 50"/>
                <a:gd name="T10" fmla="*/ 57150 w 49"/>
                <a:gd name="T11" fmla="*/ 17336 h 50"/>
                <a:gd name="T12" fmla="*/ 59871 w 49"/>
                <a:gd name="T13" fmla="*/ 17336 h 50"/>
                <a:gd name="T14" fmla="*/ 76200 w 49"/>
                <a:gd name="T15" fmla="*/ 8668 h 50"/>
                <a:gd name="T16" fmla="*/ 97971 w 49"/>
                <a:gd name="T17" fmla="*/ 8668 h 50"/>
                <a:gd name="T18" fmla="*/ 117021 w 49"/>
                <a:gd name="T19" fmla="*/ 11557 h 50"/>
                <a:gd name="T20" fmla="*/ 127907 w 49"/>
                <a:gd name="T21" fmla="*/ 0 h 50"/>
                <a:gd name="T22" fmla="*/ 133350 w 49"/>
                <a:gd name="T23" fmla="*/ 20225 h 50"/>
                <a:gd name="T24" fmla="*/ 125186 w 49"/>
                <a:gd name="T25" fmla="*/ 31782 h 50"/>
                <a:gd name="T26" fmla="*/ 108857 w 49"/>
                <a:gd name="T27" fmla="*/ 26003 h 50"/>
                <a:gd name="T28" fmla="*/ 87086 w 49"/>
                <a:gd name="T29" fmla="*/ 28893 h 50"/>
                <a:gd name="T30" fmla="*/ 78921 w 49"/>
                <a:gd name="T31" fmla="*/ 37560 h 50"/>
                <a:gd name="T32" fmla="*/ 87086 w 49"/>
                <a:gd name="T33" fmla="*/ 49117 h 50"/>
                <a:gd name="T34" fmla="*/ 70757 w 49"/>
                <a:gd name="T35" fmla="*/ 52007 h 50"/>
                <a:gd name="T36" fmla="*/ 57150 w 49"/>
                <a:gd name="T37" fmla="*/ 37560 h 50"/>
                <a:gd name="T38" fmla="*/ 51707 w 49"/>
                <a:gd name="T39" fmla="*/ 52007 h 50"/>
                <a:gd name="T40" fmla="*/ 65314 w 49"/>
                <a:gd name="T41" fmla="*/ 72232 h 50"/>
                <a:gd name="T42" fmla="*/ 76200 w 49"/>
                <a:gd name="T43" fmla="*/ 83789 h 50"/>
                <a:gd name="T44" fmla="*/ 87086 w 49"/>
                <a:gd name="T45" fmla="*/ 101124 h 50"/>
                <a:gd name="T46" fmla="*/ 100693 w 49"/>
                <a:gd name="T47" fmla="*/ 109792 h 50"/>
                <a:gd name="T48" fmla="*/ 81643 w 49"/>
                <a:gd name="T49" fmla="*/ 109792 h 50"/>
                <a:gd name="T50" fmla="*/ 68036 w 49"/>
                <a:gd name="T51" fmla="*/ 106903 h 50"/>
                <a:gd name="T52" fmla="*/ 68036 w 49"/>
                <a:gd name="T53" fmla="*/ 118460 h 50"/>
                <a:gd name="T54" fmla="*/ 54429 w 49"/>
                <a:gd name="T55" fmla="*/ 118460 h 50"/>
                <a:gd name="T56" fmla="*/ 59871 w 49"/>
                <a:gd name="T57" fmla="*/ 144463 h 50"/>
                <a:gd name="T58" fmla="*/ 43543 w 49"/>
                <a:gd name="T59" fmla="*/ 138684 h 50"/>
                <a:gd name="T60" fmla="*/ 29936 w 49"/>
                <a:gd name="T61" fmla="*/ 132906 h 50"/>
                <a:gd name="T62" fmla="*/ 32657 w 49"/>
                <a:gd name="T63" fmla="*/ 118460 h 50"/>
                <a:gd name="T64" fmla="*/ 24493 w 49"/>
                <a:gd name="T65" fmla="*/ 106903 h 50"/>
                <a:gd name="T66" fmla="*/ 38100 w 49"/>
                <a:gd name="T67" fmla="*/ 104013 h 50"/>
                <a:gd name="T68" fmla="*/ 21771 w 49"/>
                <a:gd name="T69" fmla="*/ 92456 h 50"/>
                <a:gd name="T70" fmla="*/ 8164 w 49"/>
                <a:gd name="T71" fmla="*/ 75121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9" h="50">
                  <a:moveTo>
                    <a:pt x="3" y="26"/>
                  </a:moveTo>
                  <a:cubicBezTo>
                    <a:pt x="2" y="24"/>
                    <a:pt x="1" y="23"/>
                    <a:pt x="0" y="21"/>
                  </a:cubicBezTo>
                  <a:cubicBezTo>
                    <a:pt x="3" y="18"/>
                    <a:pt x="7" y="14"/>
                    <a:pt x="7" y="13"/>
                  </a:cubicBezTo>
                  <a:cubicBezTo>
                    <a:pt x="7" y="13"/>
                    <a:pt x="7" y="12"/>
                    <a:pt x="7" y="11"/>
                  </a:cubicBezTo>
                  <a:cubicBezTo>
                    <a:pt x="7" y="11"/>
                    <a:pt x="13" y="8"/>
                    <a:pt x="14" y="8"/>
                  </a:cubicBezTo>
                  <a:cubicBezTo>
                    <a:pt x="15" y="7"/>
                    <a:pt x="19" y="6"/>
                    <a:pt x="21" y="6"/>
                  </a:cubicBezTo>
                  <a:cubicBezTo>
                    <a:pt x="21" y="6"/>
                    <a:pt x="21" y="6"/>
                    <a:pt x="22" y="6"/>
                  </a:cubicBezTo>
                  <a:cubicBezTo>
                    <a:pt x="24" y="5"/>
                    <a:pt x="27" y="3"/>
                    <a:pt x="28" y="3"/>
                  </a:cubicBezTo>
                  <a:cubicBezTo>
                    <a:pt x="30" y="3"/>
                    <a:pt x="35" y="3"/>
                    <a:pt x="36" y="3"/>
                  </a:cubicBezTo>
                  <a:cubicBezTo>
                    <a:pt x="37" y="4"/>
                    <a:pt x="42" y="5"/>
                    <a:pt x="43" y="4"/>
                  </a:cubicBezTo>
                  <a:cubicBezTo>
                    <a:pt x="44" y="2"/>
                    <a:pt x="46" y="1"/>
                    <a:pt x="47" y="0"/>
                  </a:cubicBezTo>
                  <a:cubicBezTo>
                    <a:pt x="49" y="7"/>
                    <a:pt x="49" y="7"/>
                    <a:pt x="49" y="7"/>
                  </a:cubicBezTo>
                  <a:cubicBezTo>
                    <a:pt x="46" y="11"/>
                    <a:pt x="46" y="11"/>
                    <a:pt x="46" y="11"/>
                  </a:cubicBezTo>
                  <a:cubicBezTo>
                    <a:pt x="44" y="9"/>
                    <a:pt x="41" y="9"/>
                    <a:pt x="40" y="9"/>
                  </a:cubicBezTo>
                  <a:cubicBezTo>
                    <a:pt x="38" y="9"/>
                    <a:pt x="33" y="9"/>
                    <a:pt x="32" y="10"/>
                  </a:cubicBezTo>
                  <a:cubicBezTo>
                    <a:pt x="30" y="11"/>
                    <a:pt x="27" y="12"/>
                    <a:pt x="29" y="13"/>
                  </a:cubicBezTo>
                  <a:cubicBezTo>
                    <a:pt x="32" y="15"/>
                    <a:pt x="34" y="17"/>
                    <a:pt x="32" y="17"/>
                  </a:cubicBezTo>
                  <a:cubicBezTo>
                    <a:pt x="31" y="18"/>
                    <a:pt x="27" y="20"/>
                    <a:pt x="26" y="18"/>
                  </a:cubicBezTo>
                  <a:cubicBezTo>
                    <a:pt x="25" y="17"/>
                    <a:pt x="23" y="13"/>
                    <a:pt x="21" y="13"/>
                  </a:cubicBezTo>
                  <a:cubicBezTo>
                    <a:pt x="20" y="13"/>
                    <a:pt x="19" y="16"/>
                    <a:pt x="19" y="18"/>
                  </a:cubicBezTo>
                  <a:cubicBezTo>
                    <a:pt x="20" y="21"/>
                    <a:pt x="24" y="23"/>
                    <a:pt x="24" y="25"/>
                  </a:cubicBezTo>
                  <a:cubicBezTo>
                    <a:pt x="24" y="27"/>
                    <a:pt x="25" y="27"/>
                    <a:pt x="28" y="29"/>
                  </a:cubicBezTo>
                  <a:cubicBezTo>
                    <a:pt x="30" y="31"/>
                    <a:pt x="32" y="34"/>
                    <a:pt x="32" y="35"/>
                  </a:cubicBezTo>
                  <a:cubicBezTo>
                    <a:pt x="33" y="35"/>
                    <a:pt x="37" y="38"/>
                    <a:pt x="37" y="38"/>
                  </a:cubicBezTo>
                  <a:cubicBezTo>
                    <a:pt x="36" y="39"/>
                    <a:pt x="32" y="37"/>
                    <a:pt x="30" y="38"/>
                  </a:cubicBezTo>
                  <a:cubicBezTo>
                    <a:pt x="29" y="38"/>
                    <a:pt x="26" y="35"/>
                    <a:pt x="25" y="37"/>
                  </a:cubicBezTo>
                  <a:cubicBezTo>
                    <a:pt x="24" y="38"/>
                    <a:pt x="26" y="41"/>
                    <a:pt x="25" y="41"/>
                  </a:cubicBezTo>
                  <a:cubicBezTo>
                    <a:pt x="24" y="42"/>
                    <a:pt x="21" y="39"/>
                    <a:pt x="20" y="41"/>
                  </a:cubicBezTo>
                  <a:cubicBezTo>
                    <a:pt x="20" y="42"/>
                    <a:pt x="24" y="50"/>
                    <a:pt x="22" y="50"/>
                  </a:cubicBezTo>
                  <a:cubicBezTo>
                    <a:pt x="21" y="50"/>
                    <a:pt x="17" y="48"/>
                    <a:pt x="16" y="48"/>
                  </a:cubicBezTo>
                  <a:cubicBezTo>
                    <a:pt x="15" y="47"/>
                    <a:pt x="11" y="47"/>
                    <a:pt x="11" y="46"/>
                  </a:cubicBezTo>
                  <a:cubicBezTo>
                    <a:pt x="11" y="44"/>
                    <a:pt x="14" y="42"/>
                    <a:pt x="12" y="41"/>
                  </a:cubicBezTo>
                  <a:cubicBezTo>
                    <a:pt x="10" y="39"/>
                    <a:pt x="8" y="37"/>
                    <a:pt x="9" y="37"/>
                  </a:cubicBezTo>
                  <a:cubicBezTo>
                    <a:pt x="10" y="36"/>
                    <a:pt x="12" y="36"/>
                    <a:pt x="14" y="36"/>
                  </a:cubicBezTo>
                  <a:cubicBezTo>
                    <a:pt x="15" y="36"/>
                    <a:pt x="10" y="33"/>
                    <a:pt x="8" y="32"/>
                  </a:cubicBezTo>
                  <a:cubicBezTo>
                    <a:pt x="6" y="30"/>
                    <a:pt x="5" y="28"/>
                    <a:pt x="3"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 name="Freeform 248"/>
            <p:cNvSpPr>
              <a:spLocks/>
            </p:cNvSpPr>
            <p:nvPr>
              <p:custDataLst>
                <p:tags r:id="rId176"/>
              </p:custDataLst>
            </p:nvPr>
          </p:nvSpPr>
          <p:spPr bwMode="auto">
            <a:xfrm>
              <a:off x="3002" y="2115"/>
              <a:ext cx="31" cy="26"/>
            </a:xfrm>
            <a:custGeom>
              <a:avLst/>
              <a:gdLst>
                <a:gd name="T0" fmla="*/ 2734 w 18"/>
                <a:gd name="T1" fmla="*/ 35379 h 14"/>
                <a:gd name="T2" fmla="*/ 0 w 18"/>
                <a:gd name="T3" fmla="*/ 17689 h 14"/>
                <a:gd name="T4" fmla="*/ 0 w 18"/>
                <a:gd name="T5" fmla="*/ 8845 h 14"/>
                <a:gd name="T6" fmla="*/ 35543 w 18"/>
                <a:gd name="T7" fmla="*/ 0 h 14"/>
                <a:gd name="T8" fmla="*/ 49213 w 18"/>
                <a:gd name="T9" fmla="*/ 14741 h 14"/>
                <a:gd name="T10" fmla="*/ 49213 w 18"/>
                <a:gd name="T11" fmla="*/ 26534 h 14"/>
                <a:gd name="T12" fmla="*/ 46479 w 18"/>
                <a:gd name="T13" fmla="*/ 26534 h 14"/>
                <a:gd name="T14" fmla="*/ 27341 w 18"/>
                <a:gd name="T15" fmla="*/ 32430 h 14"/>
                <a:gd name="T16" fmla="*/ 8202 w 18"/>
                <a:gd name="T17" fmla="*/ 41275 h 14"/>
                <a:gd name="T18" fmla="*/ 2734 w 18"/>
                <a:gd name="T19" fmla="*/ 35379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4">
                  <a:moveTo>
                    <a:pt x="1" y="12"/>
                  </a:moveTo>
                  <a:cubicBezTo>
                    <a:pt x="0" y="12"/>
                    <a:pt x="0" y="9"/>
                    <a:pt x="0" y="6"/>
                  </a:cubicBezTo>
                  <a:cubicBezTo>
                    <a:pt x="0" y="5"/>
                    <a:pt x="0" y="4"/>
                    <a:pt x="0" y="3"/>
                  </a:cubicBezTo>
                  <a:cubicBezTo>
                    <a:pt x="13" y="0"/>
                    <a:pt x="13" y="0"/>
                    <a:pt x="13" y="0"/>
                  </a:cubicBezTo>
                  <a:cubicBezTo>
                    <a:pt x="13" y="2"/>
                    <a:pt x="17" y="3"/>
                    <a:pt x="18" y="5"/>
                  </a:cubicBezTo>
                  <a:cubicBezTo>
                    <a:pt x="18" y="9"/>
                    <a:pt x="18" y="9"/>
                    <a:pt x="18" y="9"/>
                  </a:cubicBezTo>
                  <a:cubicBezTo>
                    <a:pt x="17" y="9"/>
                    <a:pt x="17" y="9"/>
                    <a:pt x="17" y="9"/>
                  </a:cubicBezTo>
                  <a:cubicBezTo>
                    <a:pt x="15" y="9"/>
                    <a:pt x="11" y="10"/>
                    <a:pt x="10" y="11"/>
                  </a:cubicBezTo>
                  <a:cubicBezTo>
                    <a:pt x="9" y="11"/>
                    <a:pt x="3" y="14"/>
                    <a:pt x="3" y="14"/>
                  </a:cubicBezTo>
                  <a:cubicBezTo>
                    <a:pt x="2" y="13"/>
                    <a:pt x="2" y="12"/>
                    <a:pt x="1" y="1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8" name="Freeform 249"/>
            <p:cNvSpPr>
              <a:spLocks/>
            </p:cNvSpPr>
            <p:nvPr>
              <p:custDataLst>
                <p:tags r:id="rId177"/>
              </p:custDataLst>
            </p:nvPr>
          </p:nvSpPr>
          <p:spPr bwMode="auto">
            <a:xfrm>
              <a:off x="2983" y="2110"/>
              <a:ext cx="24" cy="50"/>
            </a:xfrm>
            <a:custGeom>
              <a:avLst/>
              <a:gdLst>
                <a:gd name="T0" fmla="*/ 8164 w 14"/>
                <a:gd name="T1" fmla="*/ 23519 h 27"/>
                <a:gd name="T2" fmla="*/ 0 w 14"/>
                <a:gd name="T3" fmla="*/ 14699 h 27"/>
                <a:gd name="T4" fmla="*/ 8164 w 14"/>
                <a:gd name="T5" fmla="*/ 5880 h 27"/>
                <a:gd name="T6" fmla="*/ 19050 w 14"/>
                <a:gd name="T7" fmla="*/ 2940 h 27"/>
                <a:gd name="T8" fmla="*/ 21771 w 14"/>
                <a:gd name="T9" fmla="*/ 0 h 27"/>
                <a:gd name="T10" fmla="*/ 27214 w 14"/>
                <a:gd name="T11" fmla="*/ 11759 h 27"/>
                <a:gd name="T12" fmla="*/ 29936 w 14"/>
                <a:gd name="T13" fmla="*/ 17639 h 27"/>
                <a:gd name="T14" fmla="*/ 29936 w 14"/>
                <a:gd name="T15" fmla="*/ 26458 h 27"/>
                <a:gd name="T16" fmla="*/ 32657 w 14"/>
                <a:gd name="T17" fmla="*/ 44097 h 27"/>
                <a:gd name="T18" fmla="*/ 38100 w 14"/>
                <a:gd name="T19" fmla="*/ 49977 h 27"/>
                <a:gd name="T20" fmla="*/ 38100 w 14"/>
                <a:gd name="T21" fmla="*/ 55856 h 27"/>
                <a:gd name="T22" fmla="*/ 19050 w 14"/>
                <a:gd name="T23" fmla="*/ 79375 h 27"/>
                <a:gd name="T24" fmla="*/ 16329 w 14"/>
                <a:gd name="T25" fmla="*/ 76435 h 27"/>
                <a:gd name="T26" fmla="*/ 5443 w 14"/>
                <a:gd name="T27" fmla="*/ 58796 h 27"/>
                <a:gd name="T28" fmla="*/ 8164 w 14"/>
                <a:gd name="T29" fmla="*/ 23519 h 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27">
                  <a:moveTo>
                    <a:pt x="3" y="8"/>
                  </a:moveTo>
                  <a:cubicBezTo>
                    <a:pt x="2" y="7"/>
                    <a:pt x="1" y="6"/>
                    <a:pt x="0" y="5"/>
                  </a:cubicBezTo>
                  <a:cubicBezTo>
                    <a:pt x="1" y="4"/>
                    <a:pt x="3" y="2"/>
                    <a:pt x="3" y="2"/>
                  </a:cubicBezTo>
                  <a:cubicBezTo>
                    <a:pt x="4" y="2"/>
                    <a:pt x="6" y="1"/>
                    <a:pt x="7" y="1"/>
                  </a:cubicBezTo>
                  <a:cubicBezTo>
                    <a:pt x="7" y="1"/>
                    <a:pt x="8" y="1"/>
                    <a:pt x="8" y="0"/>
                  </a:cubicBezTo>
                  <a:cubicBezTo>
                    <a:pt x="10" y="4"/>
                    <a:pt x="10" y="4"/>
                    <a:pt x="10" y="4"/>
                  </a:cubicBezTo>
                  <a:cubicBezTo>
                    <a:pt x="10" y="4"/>
                    <a:pt x="10" y="5"/>
                    <a:pt x="11" y="6"/>
                  </a:cubicBezTo>
                  <a:cubicBezTo>
                    <a:pt x="11" y="7"/>
                    <a:pt x="11" y="8"/>
                    <a:pt x="11" y="9"/>
                  </a:cubicBezTo>
                  <a:cubicBezTo>
                    <a:pt x="11" y="12"/>
                    <a:pt x="11" y="15"/>
                    <a:pt x="12" y="15"/>
                  </a:cubicBezTo>
                  <a:cubicBezTo>
                    <a:pt x="13" y="15"/>
                    <a:pt x="13" y="16"/>
                    <a:pt x="14" y="17"/>
                  </a:cubicBezTo>
                  <a:cubicBezTo>
                    <a:pt x="14" y="18"/>
                    <a:pt x="14" y="19"/>
                    <a:pt x="14" y="19"/>
                  </a:cubicBezTo>
                  <a:cubicBezTo>
                    <a:pt x="14" y="20"/>
                    <a:pt x="10" y="24"/>
                    <a:pt x="7" y="27"/>
                  </a:cubicBezTo>
                  <a:cubicBezTo>
                    <a:pt x="7" y="27"/>
                    <a:pt x="6" y="26"/>
                    <a:pt x="6" y="26"/>
                  </a:cubicBezTo>
                  <a:cubicBezTo>
                    <a:pt x="3" y="23"/>
                    <a:pt x="2" y="23"/>
                    <a:pt x="2" y="20"/>
                  </a:cubicBezTo>
                  <a:cubicBezTo>
                    <a:pt x="2" y="17"/>
                    <a:pt x="6" y="10"/>
                    <a:pt x="3"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9" name="Freeform 251"/>
            <p:cNvSpPr>
              <a:spLocks/>
            </p:cNvSpPr>
            <p:nvPr>
              <p:custDataLst>
                <p:tags r:id="rId178"/>
              </p:custDataLst>
            </p:nvPr>
          </p:nvSpPr>
          <p:spPr bwMode="auto">
            <a:xfrm>
              <a:off x="2837" y="2136"/>
              <a:ext cx="22" cy="41"/>
            </a:xfrm>
            <a:custGeom>
              <a:avLst/>
              <a:gdLst>
                <a:gd name="T0" fmla="*/ 2687 w 13"/>
                <a:gd name="T1" fmla="*/ 14793 h 22"/>
                <a:gd name="T2" fmla="*/ 18806 w 13"/>
                <a:gd name="T3" fmla="*/ 8876 h 22"/>
                <a:gd name="T4" fmla="*/ 29552 w 13"/>
                <a:gd name="T5" fmla="*/ 2959 h 22"/>
                <a:gd name="T6" fmla="*/ 32238 w 13"/>
                <a:gd name="T7" fmla="*/ 26627 h 22"/>
                <a:gd name="T8" fmla="*/ 29552 w 13"/>
                <a:gd name="T9" fmla="*/ 53254 h 22"/>
                <a:gd name="T10" fmla="*/ 21492 w 13"/>
                <a:gd name="T11" fmla="*/ 50295 h 22"/>
                <a:gd name="T12" fmla="*/ 13433 w 13"/>
                <a:gd name="T13" fmla="*/ 62129 h 22"/>
                <a:gd name="T14" fmla="*/ 10746 w 13"/>
                <a:gd name="T15" fmla="*/ 62129 h 22"/>
                <a:gd name="T16" fmla="*/ 8060 w 13"/>
                <a:gd name="T17" fmla="*/ 47337 h 22"/>
                <a:gd name="T18" fmla="*/ 8060 w 13"/>
                <a:gd name="T19" fmla="*/ 23668 h 22"/>
                <a:gd name="T20" fmla="*/ 2687 w 13"/>
                <a:gd name="T21" fmla="*/ 1479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 y="5"/>
                  </a:moveTo>
                  <a:cubicBezTo>
                    <a:pt x="2" y="3"/>
                    <a:pt x="6" y="4"/>
                    <a:pt x="7" y="3"/>
                  </a:cubicBezTo>
                  <a:cubicBezTo>
                    <a:pt x="8" y="2"/>
                    <a:pt x="10" y="0"/>
                    <a:pt x="11" y="1"/>
                  </a:cubicBezTo>
                  <a:cubicBezTo>
                    <a:pt x="12" y="3"/>
                    <a:pt x="12" y="6"/>
                    <a:pt x="12" y="9"/>
                  </a:cubicBezTo>
                  <a:cubicBezTo>
                    <a:pt x="12" y="11"/>
                    <a:pt x="13" y="19"/>
                    <a:pt x="11" y="18"/>
                  </a:cubicBezTo>
                  <a:cubicBezTo>
                    <a:pt x="10" y="17"/>
                    <a:pt x="9" y="17"/>
                    <a:pt x="8" y="17"/>
                  </a:cubicBezTo>
                  <a:cubicBezTo>
                    <a:pt x="7" y="18"/>
                    <a:pt x="6" y="22"/>
                    <a:pt x="5" y="21"/>
                  </a:cubicBezTo>
                  <a:cubicBezTo>
                    <a:pt x="4" y="21"/>
                    <a:pt x="4" y="21"/>
                    <a:pt x="4" y="21"/>
                  </a:cubicBezTo>
                  <a:cubicBezTo>
                    <a:pt x="3" y="20"/>
                    <a:pt x="2" y="18"/>
                    <a:pt x="3" y="16"/>
                  </a:cubicBezTo>
                  <a:cubicBezTo>
                    <a:pt x="3" y="13"/>
                    <a:pt x="4" y="9"/>
                    <a:pt x="3" y="8"/>
                  </a:cubicBezTo>
                  <a:cubicBezTo>
                    <a:pt x="1" y="7"/>
                    <a:pt x="0" y="7"/>
                    <a:pt x="1"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0" name="Freeform 252"/>
            <p:cNvSpPr>
              <a:spLocks/>
            </p:cNvSpPr>
            <p:nvPr>
              <p:custDataLst>
                <p:tags r:id="rId179"/>
              </p:custDataLst>
            </p:nvPr>
          </p:nvSpPr>
          <p:spPr bwMode="auto">
            <a:xfrm>
              <a:off x="2817" y="2035"/>
              <a:ext cx="158" cy="176"/>
            </a:xfrm>
            <a:custGeom>
              <a:avLst/>
              <a:gdLst>
                <a:gd name="T0" fmla="*/ 8179 w 92"/>
                <a:gd name="T1" fmla="*/ 72760 h 96"/>
                <a:gd name="T2" fmla="*/ 5453 w 92"/>
                <a:gd name="T3" fmla="*/ 55298 h 96"/>
                <a:gd name="T4" fmla="*/ 10905 w 92"/>
                <a:gd name="T5" fmla="*/ 37835 h 96"/>
                <a:gd name="T6" fmla="*/ 10905 w 92"/>
                <a:gd name="T7" fmla="*/ 34925 h 96"/>
                <a:gd name="T8" fmla="*/ 21811 w 92"/>
                <a:gd name="T9" fmla="*/ 32015 h 96"/>
                <a:gd name="T10" fmla="*/ 29990 w 92"/>
                <a:gd name="T11" fmla="*/ 29104 h 96"/>
                <a:gd name="T12" fmla="*/ 38169 w 92"/>
                <a:gd name="T13" fmla="*/ 14552 h 96"/>
                <a:gd name="T14" fmla="*/ 51801 w 92"/>
                <a:gd name="T15" fmla="*/ 34925 h 96"/>
                <a:gd name="T16" fmla="*/ 62706 w 92"/>
                <a:gd name="T17" fmla="*/ 14552 h 96"/>
                <a:gd name="T18" fmla="*/ 76338 w 92"/>
                <a:gd name="T19" fmla="*/ 20373 h 96"/>
                <a:gd name="T20" fmla="*/ 81791 w 92"/>
                <a:gd name="T21" fmla="*/ 11642 h 96"/>
                <a:gd name="T22" fmla="*/ 81791 w 92"/>
                <a:gd name="T23" fmla="*/ 8731 h 96"/>
                <a:gd name="T24" fmla="*/ 81791 w 92"/>
                <a:gd name="T25" fmla="*/ 8731 h 96"/>
                <a:gd name="T26" fmla="*/ 95423 w 92"/>
                <a:gd name="T27" fmla="*/ 8731 h 96"/>
                <a:gd name="T28" fmla="*/ 103602 w 92"/>
                <a:gd name="T29" fmla="*/ 0 h 96"/>
                <a:gd name="T30" fmla="*/ 117233 w 92"/>
                <a:gd name="T31" fmla="*/ 0 h 96"/>
                <a:gd name="T32" fmla="*/ 128139 w 92"/>
                <a:gd name="T33" fmla="*/ 11642 h 96"/>
                <a:gd name="T34" fmla="*/ 147223 w 92"/>
                <a:gd name="T35" fmla="*/ 14552 h 96"/>
                <a:gd name="T36" fmla="*/ 144497 w 92"/>
                <a:gd name="T37" fmla="*/ 34925 h 96"/>
                <a:gd name="T38" fmla="*/ 117233 w 92"/>
                <a:gd name="T39" fmla="*/ 43656 h 96"/>
                <a:gd name="T40" fmla="*/ 125413 w 92"/>
                <a:gd name="T41" fmla="*/ 61119 h 96"/>
                <a:gd name="T42" fmla="*/ 119960 w 92"/>
                <a:gd name="T43" fmla="*/ 78581 h 96"/>
                <a:gd name="T44" fmla="*/ 149950 w 92"/>
                <a:gd name="T45" fmla="*/ 96044 h 96"/>
                <a:gd name="T46" fmla="*/ 169034 w 92"/>
                <a:gd name="T47" fmla="*/ 130969 h 96"/>
                <a:gd name="T48" fmla="*/ 188119 w 92"/>
                <a:gd name="T49" fmla="*/ 139700 h 96"/>
                <a:gd name="T50" fmla="*/ 204477 w 92"/>
                <a:gd name="T51" fmla="*/ 142610 h 96"/>
                <a:gd name="T52" fmla="*/ 199024 w 92"/>
                <a:gd name="T53" fmla="*/ 154252 h 96"/>
                <a:gd name="T54" fmla="*/ 237193 w 92"/>
                <a:gd name="T55" fmla="*/ 171715 h 96"/>
                <a:gd name="T56" fmla="*/ 250825 w 92"/>
                <a:gd name="T57" fmla="*/ 189177 h 96"/>
                <a:gd name="T58" fmla="*/ 245372 w 92"/>
                <a:gd name="T59" fmla="*/ 197908 h 96"/>
                <a:gd name="T60" fmla="*/ 220835 w 92"/>
                <a:gd name="T61" fmla="*/ 183356 h 96"/>
                <a:gd name="T62" fmla="*/ 212656 w 92"/>
                <a:gd name="T63" fmla="*/ 200819 h 96"/>
                <a:gd name="T64" fmla="*/ 223561 w 92"/>
                <a:gd name="T65" fmla="*/ 206640 h 96"/>
                <a:gd name="T66" fmla="*/ 223561 w 92"/>
                <a:gd name="T67" fmla="*/ 221192 h 96"/>
                <a:gd name="T68" fmla="*/ 212656 w 92"/>
                <a:gd name="T69" fmla="*/ 227013 h 96"/>
                <a:gd name="T70" fmla="*/ 201751 w 92"/>
                <a:gd name="T71" fmla="*/ 244475 h 96"/>
                <a:gd name="T72" fmla="*/ 190845 w 92"/>
                <a:gd name="T73" fmla="*/ 244475 h 96"/>
                <a:gd name="T74" fmla="*/ 182666 w 92"/>
                <a:gd name="T75" fmla="*/ 250296 h 96"/>
                <a:gd name="T76" fmla="*/ 179940 w 92"/>
                <a:gd name="T77" fmla="*/ 273579 h 96"/>
                <a:gd name="T78" fmla="*/ 166308 w 92"/>
                <a:gd name="T79" fmla="*/ 273579 h 96"/>
                <a:gd name="T80" fmla="*/ 152676 w 92"/>
                <a:gd name="T81" fmla="*/ 261938 h 96"/>
                <a:gd name="T82" fmla="*/ 122686 w 92"/>
                <a:gd name="T83" fmla="*/ 241565 h 96"/>
                <a:gd name="T84" fmla="*/ 141771 w 92"/>
                <a:gd name="T85" fmla="*/ 235744 h 96"/>
                <a:gd name="T86" fmla="*/ 177213 w 92"/>
                <a:gd name="T87" fmla="*/ 235744 h 96"/>
                <a:gd name="T88" fmla="*/ 190845 w 92"/>
                <a:gd name="T89" fmla="*/ 229923 h 96"/>
                <a:gd name="T90" fmla="*/ 199024 w 92"/>
                <a:gd name="T91" fmla="*/ 221192 h 96"/>
                <a:gd name="T92" fmla="*/ 190845 w 92"/>
                <a:gd name="T93" fmla="*/ 192088 h 96"/>
                <a:gd name="T94" fmla="*/ 177213 w 92"/>
                <a:gd name="T95" fmla="*/ 183356 h 96"/>
                <a:gd name="T96" fmla="*/ 149950 w 92"/>
                <a:gd name="T97" fmla="*/ 160073 h 96"/>
                <a:gd name="T98" fmla="*/ 128139 w 92"/>
                <a:gd name="T99" fmla="*/ 154252 h 96"/>
                <a:gd name="T100" fmla="*/ 100875 w 92"/>
                <a:gd name="T101" fmla="*/ 128058 h 96"/>
                <a:gd name="T102" fmla="*/ 84517 w 92"/>
                <a:gd name="T103" fmla="*/ 110596 h 96"/>
                <a:gd name="T104" fmla="*/ 73612 w 92"/>
                <a:gd name="T105" fmla="*/ 81492 h 96"/>
                <a:gd name="T106" fmla="*/ 49074 w 92"/>
                <a:gd name="T107" fmla="*/ 72760 h 96"/>
                <a:gd name="T108" fmla="*/ 32716 w 92"/>
                <a:gd name="T109" fmla="*/ 87313 h 96"/>
                <a:gd name="T110" fmla="*/ 27264 w 92"/>
                <a:gd name="T111" fmla="*/ 87313 h 96"/>
                <a:gd name="T112" fmla="*/ 24537 w 92"/>
                <a:gd name="T113" fmla="*/ 75671 h 96"/>
                <a:gd name="T114" fmla="*/ 8179 w 92"/>
                <a:gd name="T115" fmla="*/ 72760 h 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2" h="96">
                  <a:moveTo>
                    <a:pt x="3" y="25"/>
                  </a:moveTo>
                  <a:cubicBezTo>
                    <a:pt x="3" y="23"/>
                    <a:pt x="0" y="20"/>
                    <a:pt x="2" y="19"/>
                  </a:cubicBezTo>
                  <a:cubicBezTo>
                    <a:pt x="4" y="17"/>
                    <a:pt x="5" y="15"/>
                    <a:pt x="4" y="13"/>
                  </a:cubicBezTo>
                  <a:cubicBezTo>
                    <a:pt x="4" y="12"/>
                    <a:pt x="4" y="12"/>
                    <a:pt x="4" y="12"/>
                  </a:cubicBezTo>
                  <a:cubicBezTo>
                    <a:pt x="8" y="11"/>
                    <a:pt x="8" y="11"/>
                    <a:pt x="8" y="11"/>
                  </a:cubicBezTo>
                  <a:cubicBezTo>
                    <a:pt x="8" y="11"/>
                    <a:pt x="10" y="11"/>
                    <a:pt x="11" y="10"/>
                  </a:cubicBezTo>
                  <a:cubicBezTo>
                    <a:pt x="12" y="9"/>
                    <a:pt x="14" y="5"/>
                    <a:pt x="14" y="5"/>
                  </a:cubicBezTo>
                  <a:cubicBezTo>
                    <a:pt x="16" y="5"/>
                    <a:pt x="18" y="12"/>
                    <a:pt x="19" y="12"/>
                  </a:cubicBezTo>
                  <a:cubicBezTo>
                    <a:pt x="20" y="11"/>
                    <a:pt x="22" y="5"/>
                    <a:pt x="23" y="5"/>
                  </a:cubicBezTo>
                  <a:cubicBezTo>
                    <a:pt x="24" y="5"/>
                    <a:pt x="27" y="8"/>
                    <a:pt x="28" y="7"/>
                  </a:cubicBezTo>
                  <a:cubicBezTo>
                    <a:pt x="28" y="7"/>
                    <a:pt x="30" y="5"/>
                    <a:pt x="30" y="4"/>
                  </a:cubicBezTo>
                  <a:cubicBezTo>
                    <a:pt x="30" y="4"/>
                    <a:pt x="30" y="3"/>
                    <a:pt x="30" y="3"/>
                  </a:cubicBezTo>
                  <a:cubicBezTo>
                    <a:pt x="30" y="3"/>
                    <a:pt x="30" y="3"/>
                    <a:pt x="30" y="3"/>
                  </a:cubicBezTo>
                  <a:cubicBezTo>
                    <a:pt x="35" y="3"/>
                    <a:pt x="35" y="3"/>
                    <a:pt x="35" y="3"/>
                  </a:cubicBezTo>
                  <a:cubicBezTo>
                    <a:pt x="35" y="3"/>
                    <a:pt x="36" y="0"/>
                    <a:pt x="38" y="0"/>
                  </a:cubicBezTo>
                  <a:cubicBezTo>
                    <a:pt x="38" y="0"/>
                    <a:pt x="42" y="0"/>
                    <a:pt x="43" y="0"/>
                  </a:cubicBezTo>
                  <a:cubicBezTo>
                    <a:pt x="44" y="1"/>
                    <a:pt x="46" y="3"/>
                    <a:pt x="47" y="4"/>
                  </a:cubicBezTo>
                  <a:cubicBezTo>
                    <a:pt x="48" y="4"/>
                    <a:pt x="51" y="4"/>
                    <a:pt x="54" y="5"/>
                  </a:cubicBezTo>
                  <a:cubicBezTo>
                    <a:pt x="53" y="12"/>
                    <a:pt x="53" y="12"/>
                    <a:pt x="53" y="12"/>
                  </a:cubicBezTo>
                  <a:cubicBezTo>
                    <a:pt x="52" y="12"/>
                    <a:pt x="43" y="15"/>
                    <a:pt x="43" y="15"/>
                  </a:cubicBezTo>
                  <a:cubicBezTo>
                    <a:pt x="43" y="16"/>
                    <a:pt x="46" y="19"/>
                    <a:pt x="46" y="21"/>
                  </a:cubicBezTo>
                  <a:cubicBezTo>
                    <a:pt x="46" y="22"/>
                    <a:pt x="41" y="24"/>
                    <a:pt x="44" y="27"/>
                  </a:cubicBezTo>
                  <a:cubicBezTo>
                    <a:pt x="47" y="30"/>
                    <a:pt x="53" y="31"/>
                    <a:pt x="55" y="33"/>
                  </a:cubicBezTo>
                  <a:cubicBezTo>
                    <a:pt x="56" y="35"/>
                    <a:pt x="61" y="45"/>
                    <a:pt x="62" y="45"/>
                  </a:cubicBezTo>
                  <a:cubicBezTo>
                    <a:pt x="63" y="46"/>
                    <a:pt x="68" y="48"/>
                    <a:pt x="69" y="48"/>
                  </a:cubicBezTo>
                  <a:cubicBezTo>
                    <a:pt x="70" y="48"/>
                    <a:pt x="74" y="47"/>
                    <a:pt x="75" y="49"/>
                  </a:cubicBezTo>
                  <a:cubicBezTo>
                    <a:pt x="75" y="50"/>
                    <a:pt x="72" y="52"/>
                    <a:pt x="73" y="53"/>
                  </a:cubicBezTo>
                  <a:cubicBezTo>
                    <a:pt x="74" y="53"/>
                    <a:pt x="85" y="58"/>
                    <a:pt x="87" y="59"/>
                  </a:cubicBezTo>
                  <a:cubicBezTo>
                    <a:pt x="90" y="60"/>
                    <a:pt x="92" y="63"/>
                    <a:pt x="92" y="65"/>
                  </a:cubicBezTo>
                  <a:cubicBezTo>
                    <a:pt x="92" y="66"/>
                    <a:pt x="91" y="67"/>
                    <a:pt x="90" y="68"/>
                  </a:cubicBezTo>
                  <a:cubicBezTo>
                    <a:pt x="90" y="69"/>
                    <a:pt x="82" y="62"/>
                    <a:pt x="81" y="63"/>
                  </a:cubicBezTo>
                  <a:cubicBezTo>
                    <a:pt x="80" y="63"/>
                    <a:pt x="77" y="68"/>
                    <a:pt x="78" y="69"/>
                  </a:cubicBezTo>
                  <a:cubicBezTo>
                    <a:pt x="79" y="70"/>
                    <a:pt x="82" y="70"/>
                    <a:pt x="82" y="71"/>
                  </a:cubicBezTo>
                  <a:cubicBezTo>
                    <a:pt x="82" y="73"/>
                    <a:pt x="82" y="75"/>
                    <a:pt x="82" y="76"/>
                  </a:cubicBezTo>
                  <a:cubicBezTo>
                    <a:pt x="81" y="78"/>
                    <a:pt x="78" y="77"/>
                    <a:pt x="78" y="78"/>
                  </a:cubicBezTo>
                  <a:cubicBezTo>
                    <a:pt x="78" y="79"/>
                    <a:pt x="76" y="83"/>
                    <a:pt x="74" y="84"/>
                  </a:cubicBezTo>
                  <a:cubicBezTo>
                    <a:pt x="73" y="84"/>
                    <a:pt x="70" y="85"/>
                    <a:pt x="70" y="84"/>
                  </a:cubicBezTo>
                  <a:cubicBezTo>
                    <a:pt x="69" y="81"/>
                    <a:pt x="68" y="84"/>
                    <a:pt x="67" y="86"/>
                  </a:cubicBezTo>
                  <a:cubicBezTo>
                    <a:pt x="67" y="88"/>
                    <a:pt x="68" y="93"/>
                    <a:pt x="66" y="94"/>
                  </a:cubicBezTo>
                  <a:cubicBezTo>
                    <a:pt x="65" y="95"/>
                    <a:pt x="62" y="96"/>
                    <a:pt x="61" y="94"/>
                  </a:cubicBezTo>
                  <a:cubicBezTo>
                    <a:pt x="60" y="93"/>
                    <a:pt x="58" y="92"/>
                    <a:pt x="56" y="90"/>
                  </a:cubicBezTo>
                  <a:cubicBezTo>
                    <a:pt x="53" y="89"/>
                    <a:pt x="45" y="85"/>
                    <a:pt x="45" y="83"/>
                  </a:cubicBezTo>
                  <a:cubicBezTo>
                    <a:pt x="46" y="82"/>
                    <a:pt x="49" y="81"/>
                    <a:pt x="52" y="81"/>
                  </a:cubicBezTo>
                  <a:cubicBezTo>
                    <a:pt x="55" y="82"/>
                    <a:pt x="63" y="81"/>
                    <a:pt x="65" y="81"/>
                  </a:cubicBezTo>
                  <a:cubicBezTo>
                    <a:pt x="67" y="81"/>
                    <a:pt x="69" y="81"/>
                    <a:pt x="70" y="79"/>
                  </a:cubicBezTo>
                  <a:cubicBezTo>
                    <a:pt x="72" y="78"/>
                    <a:pt x="73" y="79"/>
                    <a:pt x="73" y="76"/>
                  </a:cubicBezTo>
                  <a:cubicBezTo>
                    <a:pt x="73" y="74"/>
                    <a:pt x="71" y="67"/>
                    <a:pt x="70" y="66"/>
                  </a:cubicBezTo>
                  <a:cubicBezTo>
                    <a:pt x="68" y="64"/>
                    <a:pt x="65" y="65"/>
                    <a:pt x="65" y="63"/>
                  </a:cubicBezTo>
                  <a:cubicBezTo>
                    <a:pt x="64" y="62"/>
                    <a:pt x="58" y="55"/>
                    <a:pt x="55" y="55"/>
                  </a:cubicBezTo>
                  <a:cubicBezTo>
                    <a:pt x="52" y="54"/>
                    <a:pt x="50" y="54"/>
                    <a:pt x="47" y="53"/>
                  </a:cubicBezTo>
                  <a:cubicBezTo>
                    <a:pt x="45" y="51"/>
                    <a:pt x="38" y="46"/>
                    <a:pt x="37" y="44"/>
                  </a:cubicBezTo>
                  <a:cubicBezTo>
                    <a:pt x="35" y="42"/>
                    <a:pt x="32" y="41"/>
                    <a:pt x="31" y="38"/>
                  </a:cubicBezTo>
                  <a:cubicBezTo>
                    <a:pt x="30" y="34"/>
                    <a:pt x="29" y="31"/>
                    <a:pt x="27" y="28"/>
                  </a:cubicBezTo>
                  <a:cubicBezTo>
                    <a:pt x="24" y="25"/>
                    <a:pt x="21" y="25"/>
                    <a:pt x="18" y="25"/>
                  </a:cubicBezTo>
                  <a:cubicBezTo>
                    <a:pt x="15" y="25"/>
                    <a:pt x="15" y="30"/>
                    <a:pt x="12" y="30"/>
                  </a:cubicBezTo>
                  <a:cubicBezTo>
                    <a:pt x="11" y="30"/>
                    <a:pt x="11" y="30"/>
                    <a:pt x="10" y="30"/>
                  </a:cubicBezTo>
                  <a:cubicBezTo>
                    <a:pt x="10" y="29"/>
                    <a:pt x="10" y="27"/>
                    <a:pt x="9" y="26"/>
                  </a:cubicBezTo>
                  <a:cubicBezTo>
                    <a:pt x="7" y="25"/>
                    <a:pt x="3" y="27"/>
                    <a:pt x="3" y="2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1" name="Freeform 253"/>
            <p:cNvSpPr>
              <a:spLocks/>
            </p:cNvSpPr>
            <p:nvPr>
              <p:custDataLst>
                <p:tags r:id="rId180"/>
              </p:custDataLst>
            </p:nvPr>
          </p:nvSpPr>
          <p:spPr bwMode="auto">
            <a:xfrm>
              <a:off x="2767" y="1952"/>
              <a:ext cx="50" cy="38"/>
            </a:xfrm>
            <a:custGeom>
              <a:avLst/>
              <a:gdLst>
                <a:gd name="T0" fmla="*/ 24634 w 29"/>
                <a:gd name="T1" fmla="*/ 43089 h 21"/>
                <a:gd name="T2" fmla="*/ 0 w 29"/>
                <a:gd name="T3" fmla="*/ 14363 h 21"/>
                <a:gd name="T4" fmla="*/ 13685 w 29"/>
                <a:gd name="T5" fmla="*/ 8618 h 21"/>
                <a:gd name="T6" fmla="*/ 24634 w 29"/>
                <a:gd name="T7" fmla="*/ 0 h 21"/>
                <a:gd name="T8" fmla="*/ 54741 w 29"/>
                <a:gd name="T9" fmla="*/ 8618 h 21"/>
                <a:gd name="T10" fmla="*/ 57478 w 29"/>
                <a:gd name="T11" fmla="*/ 22981 h 21"/>
                <a:gd name="T12" fmla="*/ 71164 w 29"/>
                <a:gd name="T13" fmla="*/ 25854 h 21"/>
                <a:gd name="T14" fmla="*/ 73901 w 29"/>
                <a:gd name="T15" fmla="*/ 34471 h 21"/>
                <a:gd name="T16" fmla="*/ 76638 w 29"/>
                <a:gd name="T17" fmla="*/ 54580 h 21"/>
                <a:gd name="T18" fmla="*/ 76638 w 29"/>
                <a:gd name="T19" fmla="*/ 60325 h 21"/>
                <a:gd name="T20" fmla="*/ 62953 w 29"/>
                <a:gd name="T21" fmla="*/ 60325 h 21"/>
                <a:gd name="T22" fmla="*/ 46530 w 29"/>
                <a:gd name="T23" fmla="*/ 51707 h 21"/>
                <a:gd name="T24" fmla="*/ 43793 w 29"/>
                <a:gd name="T25" fmla="*/ 43089 h 21"/>
                <a:gd name="T26" fmla="*/ 24634 w 29"/>
                <a:gd name="T27" fmla="*/ 43089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 h="21">
                  <a:moveTo>
                    <a:pt x="9" y="15"/>
                  </a:moveTo>
                  <a:cubicBezTo>
                    <a:pt x="7" y="14"/>
                    <a:pt x="0" y="6"/>
                    <a:pt x="0" y="5"/>
                  </a:cubicBezTo>
                  <a:cubicBezTo>
                    <a:pt x="2" y="4"/>
                    <a:pt x="5" y="4"/>
                    <a:pt x="5" y="3"/>
                  </a:cubicBezTo>
                  <a:cubicBezTo>
                    <a:pt x="6" y="3"/>
                    <a:pt x="8" y="1"/>
                    <a:pt x="9" y="0"/>
                  </a:cubicBezTo>
                  <a:cubicBezTo>
                    <a:pt x="10" y="2"/>
                    <a:pt x="20" y="2"/>
                    <a:pt x="20" y="3"/>
                  </a:cubicBezTo>
                  <a:cubicBezTo>
                    <a:pt x="20" y="4"/>
                    <a:pt x="20" y="8"/>
                    <a:pt x="21" y="8"/>
                  </a:cubicBezTo>
                  <a:cubicBezTo>
                    <a:pt x="26" y="9"/>
                    <a:pt x="26" y="9"/>
                    <a:pt x="26" y="9"/>
                  </a:cubicBezTo>
                  <a:cubicBezTo>
                    <a:pt x="26" y="10"/>
                    <a:pt x="26" y="11"/>
                    <a:pt x="27" y="12"/>
                  </a:cubicBezTo>
                  <a:cubicBezTo>
                    <a:pt x="29" y="13"/>
                    <a:pt x="28" y="16"/>
                    <a:pt x="28" y="19"/>
                  </a:cubicBezTo>
                  <a:cubicBezTo>
                    <a:pt x="28" y="19"/>
                    <a:pt x="28" y="20"/>
                    <a:pt x="28" y="21"/>
                  </a:cubicBezTo>
                  <a:cubicBezTo>
                    <a:pt x="23" y="21"/>
                    <a:pt x="23" y="21"/>
                    <a:pt x="23" y="21"/>
                  </a:cubicBezTo>
                  <a:cubicBezTo>
                    <a:pt x="20" y="21"/>
                    <a:pt x="18" y="19"/>
                    <a:pt x="17" y="18"/>
                  </a:cubicBezTo>
                  <a:cubicBezTo>
                    <a:pt x="17" y="17"/>
                    <a:pt x="17" y="15"/>
                    <a:pt x="16" y="15"/>
                  </a:cubicBezTo>
                  <a:cubicBezTo>
                    <a:pt x="15" y="14"/>
                    <a:pt x="11" y="16"/>
                    <a:pt x="9" y="1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 name="Freeform 255"/>
            <p:cNvSpPr>
              <a:spLocks/>
            </p:cNvSpPr>
            <p:nvPr>
              <p:custDataLst>
                <p:tags r:id="rId181"/>
              </p:custDataLst>
            </p:nvPr>
          </p:nvSpPr>
          <p:spPr bwMode="auto">
            <a:xfrm>
              <a:off x="2844" y="2108"/>
              <a:ext cx="14" cy="22"/>
            </a:xfrm>
            <a:custGeom>
              <a:avLst/>
              <a:gdLst>
                <a:gd name="T0" fmla="*/ 11113 w 8"/>
                <a:gd name="T1" fmla="*/ 32015 h 12"/>
                <a:gd name="T2" fmla="*/ 0 w 8"/>
                <a:gd name="T3" fmla="*/ 11642 h 12"/>
                <a:gd name="T4" fmla="*/ 13891 w 8"/>
                <a:gd name="T5" fmla="*/ 0 h 12"/>
                <a:gd name="T6" fmla="*/ 19447 w 8"/>
                <a:gd name="T7" fmla="*/ 11642 h 12"/>
                <a:gd name="T8" fmla="*/ 11113 w 8"/>
                <a:gd name="T9" fmla="*/ 32015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4" y="11"/>
                  </a:moveTo>
                  <a:cubicBezTo>
                    <a:pt x="2" y="11"/>
                    <a:pt x="0" y="6"/>
                    <a:pt x="0" y="4"/>
                  </a:cubicBezTo>
                  <a:cubicBezTo>
                    <a:pt x="0" y="2"/>
                    <a:pt x="2" y="0"/>
                    <a:pt x="5" y="0"/>
                  </a:cubicBezTo>
                  <a:cubicBezTo>
                    <a:pt x="7" y="0"/>
                    <a:pt x="8" y="1"/>
                    <a:pt x="7" y="4"/>
                  </a:cubicBezTo>
                  <a:cubicBezTo>
                    <a:pt x="6" y="6"/>
                    <a:pt x="6" y="12"/>
                    <a:pt x="4" y="1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3" name="Freeform 256"/>
            <p:cNvSpPr>
              <a:spLocks/>
            </p:cNvSpPr>
            <p:nvPr>
              <p:custDataLst>
                <p:tags r:id="rId182"/>
              </p:custDataLst>
            </p:nvPr>
          </p:nvSpPr>
          <p:spPr bwMode="auto">
            <a:xfrm>
              <a:off x="2666" y="1961"/>
              <a:ext cx="173" cy="153"/>
            </a:xfrm>
            <a:custGeom>
              <a:avLst/>
              <a:gdLst>
                <a:gd name="T0" fmla="*/ 5438 w 101"/>
                <a:gd name="T1" fmla="*/ 73159 h 83"/>
                <a:gd name="T2" fmla="*/ 38069 w 101"/>
                <a:gd name="T3" fmla="*/ 67306 h 83"/>
                <a:gd name="T4" fmla="*/ 48945 w 101"/>
                <a:gd name="T5" fmla="*/ 76085 h 83"/>
                <a:gd name="T6" fmla="*/ 73418 w 101"/>
                <a:gd name="T7" fmla="*/ 73159 h 83"/>
                <a:gd name="T8" fmla="*/ 59822 w 101"/>
                <a:gd name="T9" fmla="*/ 40969 h 83"/>
                <a:gd name="T10" fmla="*/ 78856 w 101"/>
                <a:gd name="T11" fmla="*/ 38043 h 83"/>
                <a:gd name="T12" fmla="*/ 87014 w 101"/>
                <a:gd name="T13" fmla="*/ 49748 h 83"/>
                <a:gd name="T14" fmla="*/ 108768 w 101"/>
                <a:gd name="T15" fmla="*/ 49748 h 83"/>
                <a:gd name="T16" fmla="*/ 114206 w 101"/>
                <a:gd name="T17" fmla="*/ 38043 h 83"/>
                <a:gd name="T18" fmla="*/ 138679 w 101"/>
                <a:gd name="T19" fmla="*/ 29264 h 83"/>
                <a:gd name="T20" fmla="*/ 141398 w 101"/>
                <a:gd name="T21" fmla="*/ 8779 h 83"/>
                <a:gd name="T22" fmla="*/ 160432 w 101"/>
                <a:gd name="T23" fmla="*/ 0 h 83"/>
                <a:gd name="T24" fmla="*/ 184905 w 101"/>
                <a:gd name="T25" fmla="*/ 29264 h 83"/>
                <a:gd name="T26" fmla="*/ 203939 w 101"/>
                <a:gd name="T27" fmla="*/ 29264 h 83"/>
                <a:gd name="T28" fmla="*/ 206658 w 101"/>
                <a:gd name="T29" fmla="*/ 38043 h 83"/>
                <a:gd name="T30" fmla="*/ 222973 w 101"/>
                <a:gd name="T31" fmla="*/ 46822 h 83"/>
                <a:gd name="T32" fmla="*/ 236569 w 101"/>
                <a:gd name="T33" fmla="*/ 46822 h 83"/>
                <a:gd name="T34" fmla="*/ 242008 w 101"/>
                <a:gd name="T35" fmla="*/ 55601 h 83"/>
                <a:gd name="T36" fmla="*/ 271919 w 101"/>
                <a:gd name="T37" fmla="*/ 67306 h 83"/>
                <a:gd name="T38" fmla="*/ 261042 w 101"/>
                <a:gd name="T39" fmla="*/ 99496 h 83"/>
                <a:gd name="T40" fmla="*/ 261042 w 101"/>
                <a:gd name="T41" fmla="*/ 102423 h 83"/>
                <a:gd name="T42" fmla="*/ 242008 w 101"/>
                <a:gd name="T43" fmla="*/ 114128 h 83"/>
                <a:gd name="T44" fmla="*/ 228412 w 101"/>
                <a:gd name="T45" fmla="*/ 134613 h 83"/>
                <a:gd name="T46" fmla="*/ 244727 w 101"/>
                <a:gd name="T47" fmla="*/ 137539 h 83"/>
                <a:gd name="T48" fmla="*/ 250165 w 101"/>
                <a:gd name="T49" fmla="*/ 152171 h 83"/>
                <a:gd name="T50" fmla="*/ 250165 w 101"/>
                <a:gd name="T51" fmla="*/ 155097 h 83"/>
                <a:gd name="T52" fmla="*/ 244727 w 101"/>
                <a:gd name="T53" fmla="*/ 172655 h 83"/>
                <a:gd name="T54" fmla="*/ 247446 w 101"/>
                <a:gd name="T55" fmla="*/ 190213 h 83"/>
                <a:gd name="T56" fmla="*/ 263761 w 101"/>
                <a:gd name="T57" fmla="*/ 193140 h 83"/>
                <a:gd name="T58" fmla="*/ 266480 w 101"/>
                <a:gd name="T59" fmla="*/ 204845 h 83"/>
                <a:gd name="T60" fmla="*/ 244727 w 101"/>
                <a:gd name="T61" fmla="*/ 222403 h 83"/>
                <a:gd name="T62" fmla="*/ 228412 w 101"/>
                <a:gd name="T63" fmla="*/ 228256 h 83"/>
                <a:gd name="T64" fmla="*/ 184905 w 101"/>
                <a:gd name="T65" fmla="*/ 216551 h 83"/>
                <a:gd name="T66" fmla="*/ 168590 w 101"/>
                <a:gd name="T67" fmla="*/ 239962 h 83"/>
                <a:gd name="T68" fmla="*/ 157713 w 101"/>
                <a:gd name="T69" fmla="*/ 242888 h 83"/>
                <a:gd name="T70" fmla="*/ 125083 w 101"/>
                <a:gd name="T71" fmla="*/ 234109 h 83"/>
                <a:gd name="T72" fmla="*/ 103329 w 101"/>
                <a:gd name="T73" fmla="*/ 234109 h 83"/>
                <a:gd name="T74" fmla="*/ 70699 w 101"/>
                <a:gd name="T75" fmla="*/ 216551 h 83"/>
                <a:gd name="T76" fmla="*/ 73418 w 101"/>
                <a:gd name="T77" fmla="*/ 210698 h 83"/>
                <a:gd name="T78" fmla="*/ 78856 w 101"/>
                <a:gd name="T79" fmla="*/ 152171 h 83"/>
                <a:gd name="T80" fmla="*/ 62541 w 101"/>
                <a:gd name="T81" fmla="*/ 122907 h 83"/>
                <a:gd name="T82" fmla="*/ 40788 w 101"/>
                <a:gd name="T83" fmla="*/ 102423 h 83"/>
                <a:gd name="T84" fmla="*/ 10877 w 101"/>
                <a:gd name="T85" fmla="*/ 93644 h 83"/>
                <a:gd name="T86" fmla="*/ 5438 w 101"/>
                <a:gd name="T87" fmla="*/ 73159 h 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1" h="83">
                  <a:moveTo>
                    <a:pt x="2" y="25"/>
                  </a:moveTo>
                  <a:cubicBezTo>
                    <a:pt x="3" y="24"/>
                    <a:pt x="12" y="23"/>
                    <a:pt x="14" y="23"/>
                  </a:cubicBezTo>
                  <a:cubicBezTo>
                    <a:pt x="16" y="23"/>
                    <a:pt x="17" y="26"/>
                    <a:pt x="18" y="26"/>
                  </a:cubicBezTo>
                  <a:cubicBezTo>
                    <a:pt x="19" y="26"/>
                    <a:pt x="25" y="25"/>
                    <a:pt x="27" y="25"/>
                  </a:cubicBezTo>
                  <a:cubicBezTo>
                    <a:pt x="28" y="24"/>
                    <a:pt x="22" y="16"/>
                    <a:pt x="22" y="14"/>
                  </a:cubicBezTo>
                  <a:cubicBezTo>
                    <a:pt x="23" y="13"/>
                    <a:pt x="29" y="13"/>
                    <a:pt x="29" y="13"/>
                  </a:cubicBezTo>
                  <a:cubicBezTo>
                    <a:pt x="29" y="13"/>
                    <a:pt x="29" y="17"/>
                    <a:pt x="32" y="17"/>
                  </a:cubicBezTo>
                  <a:cubicBezTo>
                    <a:pt x="34" y="17"/>
                    <a:pt x="39" y="19"/>
                    <a:pt x="40" y="17"/>
                  </a:cubicBezTo>
                  <a:cubicBezTo>
                    <a:pt x="41" y="16"/>
                    <a:pt x="40" y="13"/>
                    <a:pt x="42" y="13"/>
                  </a:cubicBezTo>
                  <a:cubicBezTo>
                    <a:pt x="44" y="13"/>
                    <a:pt x="50" y="12"/>
                    <a:pt x="51" y="10"/>
                  </a:cubicBezTo>
                  <a:cubicBezTo>
                    <a:pt x="52" y="9"/>
                    <a:pt x="51" y="3"/>
                    <a:pt x="52" y="3"/>
                  </a:cubicBezTo>
                  <a:cubicBezTo>
                    <a:pt x="53" y="2"/>
                    <a:pt x="56" y="1"/>
                    <a:pt x="59" y="0"/>
                  </a:cubicBezTo>
                  <a:cubicBezTo>
                    <a:pt x="59" y="1"/>
                    <a:pt x="66" y="9"/>
                    <a:pt x="68" y="10"/>
                  </a:cubicBezTo>
                  <a:cubicBezTo>
                    <a:pt x="70" y="11"/>
                    <a:pt x="74" y="9"/>
                    <a:pt x="75" y="10"/>
                  </a:cubicBezTo>
                  <a:cubicBezTo>
                    <a:pt x="76" y="10"/>
                    <a:pt x="76" y="12"/>
                    <a:pt x="76" y="13"/>
                  </a:cubicBezTo>
                  <a:cubicBezTo>
                    <a:pt x="77" y="14"/>
                    <a:pt x="79" y="16"/>
                    <a:pt x="82" y="16"/>
                  </a:cubicBezTo>
                  <a:cubicBezTo>
                    <a:pt x="87" y="16"/>
                    <a:pt x="87" y="16"/>
                    <a:pt x="87" y="16"/>
                  </a:cubicBezTo>
                  <a:cubicBezTo>
                    <a:pt x="87" y="17"/>
                    <a:pt x="88" y="18"/>
                    <a:pt x="89" y="19"/>
                  </a:cubicBezTo>
                  <a:cubicBezTo>
                    <a:pt x="91" y="20"/>
                    <a:pt x="101" y="21"/>
                    <a:pt x="100" y="23"/>
                  </a:cubicBezTo>
                  <a:cubicBezTo>
                    <a:pt x="99" y="24"/>
                    <a:pt x="97" y="31"/>
                    <a:pt x="96" y="34"/>
                  </a:cubicBezTo>
                  <a:cubicBezTo>
                    <a:pt x="96" y="34"/>
                    <a:pt x="96" y="35"/>
                    <a:pt x="96" y="35"/>
                  </a:cubicBezTo>
                  <a:cubicBezTo>
                    <a:pt x="95" y="36"/>
                    <a:pt x="91" y="38"/>
                    <a:pt x="89" y="39"/>
                  </a:cubicBezTo>
                  <a:cubicBezTo>
                    <a:pt x="87" y="40"/>
                    <a:pt x="84" y="45"/>
                    <a:pt x="84" y="46"/>
                  </a:cubicBezTo>
                  <a:cubicBezTo>
                    <a:pt x="84" y="48"/>
                    <a:pt x="89" y="47"/>
                    <a:pt x="90" y="47"/>
                  </a:cubicBezTo>
                  <a:cubicBezTo>
                    <a:pt x="92" y="48"/>
                    <a:pt x="92" y="49"/>
                    <a:pt x="92" y="52"/>
                  </a:cubicBezTo>
                  <a:cubicBezTo>
                    <a:pt x="92" y="52"/>
                    <a:pt x="92" y="52"/>
                    <a:pt x="92" y="53"/>
                  </a:cubicBezTo>
                  <a:cubicBezTo>
                    <a:pt x="93" y="55"/>
                    <a:pt x="92" y="57"/>
                    <a:pt x="90" y="59"/>
                  </a:cubicBezTo>
                  <a:cubicBezTo>
                    <a:pt x="88" y="60"/>
                    <a:pt x="91" y="63"/>
                    <a:pt x="91" y="65"/>
                  </a:cubicBezTo>
                  <a:cubicBezTo>
                    <a:pt x="91" y="67"/>
                    <a:pt x="95" y="65"/>
                    <a:pt x="97" y="66"/>
                  </a:cubicBezTo>
                  <a:cubicBezTo>
                    <a:pt x="98" y="67"/>
                    <a:pt x="98" y="69"/>
                    <a:pt x="98" y="70"/>
                  </a:cubicBezTo>
                  <a:cubicBezTo>
                    <a:pt x="95" y="71"/>
                    <a:pt x="92" y="74"/>
                    <a:pt x="90" y="76"/>
                  </a:cubicBezTo>
                  <a:cubicBezTo>
                    <a:pt x="87" y="78"/>
                    <a:pt x="88" y="78"/>
                    <a:pt x="84" y="78"/>
                  </a:cubicBezTo>
                  <a:cubicBezTo>
                    <a:pt x="79" y="77"/>
                    <a:pt x="71" y="73"/>
                    <a:pt x="68" y="74"/>
                  </a:cubicBezTo>
                  <a:cubicBezTo>
                    <a:pt x="64" y="75"/>
                    <a:pt x="61" y="79"/>
                    <a:pt x="62" y="82"/>
                  </a:cubicBezTo>
                  <a:cubicBezTo>
                    <a:pt x="62" y="82"/>
                    <a:pt x="60" y="83"/>
                    <a:pt x="58" y="83"/>
                  </a:cubicBezTo>
                  <a:cubicBezTo>
                    <a:pt x="56" y="83"/>
                    <a:pt x="50" y="81"/>
                    <a:pt x="46" y="80"/>
                  </a:cubicBezTo>
                  <a:cubicBezTo>
                    <a:pt x="42" y="80"/>
                    <a:pt x="41" y="81"/>
                    <a:pt x="38" y="80"/>
                  </a:cubicBezTo>
                  <a:cubicBezTo>
                    <a:pt x="35" y="79"/>
                    <a:pt x="26" y="74"/>
                    <a:pt x="26" y="74"/>
                  </a:cubicBezTo>
                  <a:cubicBezTo>
                    <a:pt x="27" y="73"/>
                    <a:pt x="27" y="72"/>
                    <a:pt x="27" y="72"/>
                  </a:cubicBezTo>
                  <a:cubicBezTo>
                    <a:pt x="27" y="70"/>
                    <a:pt x="29" y="54"/>
                    <a:pt x="29" y="52"/>
                  </a:cubicBezTo>
                  <a:cubicBezTo>
                    <a:pt x="28" y="49"/>
                    <a:pt x="24" y="44"/>
                    <a:pt x="23" y="42"/>
                  </a:cubicBezTo>
                  <a:cubicBezTo>
                    <a:pt x="21" y="41"/>
                    <a:pt x="17" y="36"/>
                    <a:pt x="15" y="35"/>
                  </a:cubicBezTo>
                  <a:cubicBezTo>
                    <a:pt x="12" y="34"/>
                    <a:pt x="6" y="33"/>
                    <a:pt x="4" y="32"/>
                  </a:cubicBezTo>
                  <a:cubicBezTo>
                    <a:pt x="2" y="30"/>
                    <a:pt x="0" y="26"/>
                    <a:pt x="2" y="2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4" name="Freeform 257"/>
            <p:cNvSpPr>
              <a:spLocks/>
            </p:cNvSpPr>
            <p:nvPr>
              <p:custDataLst>
                <p:tags r:id="rId183"/>
              </p:custDataLst>
            </p:nvPr>
          </p:nvSpPr>
          <p:spPr bwMode="auto">
            <a:xfrm>
              <a:off x="2606" y="2123"/>
              <a:ext cx="45" cy="83"/>
            </a:xfrm>
            <a:custGeom>
              <a:avLst/>
              <a:gdLst>
                <a:gd name="T0" fmla="*/ 2748 w 26"/>
                <a:gd name="T1" fmla="*/ 79058 h 45"/>
                <a:gd name="T2" fmla="*/ 21981 w 26"/>
                <a:gd name="T3" fmla="*/ 17568 h 45"/>
                <a:gd name="T4" fmla="*/ 16486 w 26"/>
                <a:gd name="T5" fmla="*/ 0 h 45"/>
                <a:gd name="T6" fmla="*/ 54952 w 26"/>
                <a:gd name="T7" fmla="*/ 0 h 45"/>
                <a:gd name="T8" fmla="*/ 71438 w 26"/>
                <a:gd name="T9" fmla="*/ 11712 h 45"/>
                <a:gd name="T10" fmla="*/ 54952 w 26"/>
                <a:gd name="T11" fmla="*/ 52705 h 45"/>
                <a:gd name="T12" fmla="*/ 49457 w 26"/>
                <a:gd name="T13" fmla="*/ 70274 h 45"/>
                <a:gd name="T14" fmla="*/ 52205 w 26"/>
                <a:gd name="T15" fmla="*/ 93698 h 45"/>
                <a:gd name="T16" fmla="*/ 46709 w 26"/>
                <a:gd name="T17" fmla="*/ 108338 h 45"/>
                <a:gd name="T18" fmla="*/ 43962 w 26"/>
                <a:gd name="T19" fmla="*/ 125907 h 45"/>
                <a:gd name="T20" fmla="*/ 43962 w 26"/>
                <a:gd name="T21" fmla="*/ 125907 h 45"/>
                <a:gd name="T22" fmla="*/ 38467 w 26"/>
                <a:gd name="T23" fmla="*/ 128835 h 45"/>
                <a:gd name="T24" fmla="*/ 16486 w 26"/>
                <a:gd name="T25" fmla="*/ 128835 h 45"/>
                <a:gd name="T26" fmla="*/ 16486 w 26"/>
                <a:gd name="T27" fmla="*/ 114195 h 45"/>
                <a:gd name="T28" fmla="*/ 16486 w 26"/>
                <a:gd name="T29" fmla="*/ 93698 h 45"/>
                <a:gd name="T30" fmla="*/ 8243 w 26"/>
                <a:gd name="T31" fmla="*/ 87842 h 45"/>
                <a:gd name="T32" fmla="*/ 2748 w 26"/>
                <a:gd name="T33" fmla="*/ 79058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45">
                  <a:moveTo>
                    <a:pt x="1" y="27"/>
                  </a:moveTo>
                  <a:cubicBezTo>
                    <a:pt x="2" y="25"/>
                    <a:pt x="8" y="11"/>
                    <a:pt x="8" y="6"/>
                  </a:cubicBezTo>
                  <a:cubicBezTo>
                    <a:pt x="7" y="4"/>
                    <a:pt x="7" y="2"/>
                    <a:pt x="6" y="0"/>
                  </a:cubicBezTo>
                  <a:cubicBezTo>
                    <a:pt x="6" y="0"/>
                    <a:pt x="17" y="0"/>
                    <a:pt x="20" y="0"/>
                  </a:cubicBezTo>
                  <a:cubicBezTo>
                    <a:pt x="23" y="0"/>
                    <a:pt x="26" y="2"/>
                    <a:pt x="26" y="4"/>
                  </a:cubicBezTo>
                  <a:cubicBezTo>
                    <a:pt x="25" y="6"/>
                    <a:pt x="21" y="17"/>
                    <a:pt x="20" y="18"/>
                  </a:cubicBezTo>
                  <a:cubicBezTo>
                    <a:pt x="19" y="19"/>
                    <a:pt x="16" y="21"/>
                    <a:pt x="18" y="24"/>
                  </a:cubicBezTo>
                  <a:cubicBezTo>
                    <a:pt x="20" y="26"/>
                    <a:pt x="19" y="30"/>
                    <a:pt x="19" y="32"/>
                  </a:cubicBezTo>
                  <a:cubicBezTo>
                    <a:pt x="19" y="34"/>
                    <a:pt x="19" y="35"/>
                    <a:pt x="17" y="37"/>
                  </a:cubicBezTo>
                  <a:cubicBezTo>
                    <a:pt x="14" y="40"/>
                    <a:pt x="15" y="41"/>
                    <a:pt x="16" y="43"/>
                  </a:cubicBezTo>
                  <a:cubicBezTo>
                    <a:pt x="16" y="43"/>
                    <a:pt x="16" y="43"/>
                    <a:pt x="16" y="43"/>
                  </a:cubicBezTo>
                  <a:cubicBezTo>
                    <a:pt x="15" y="43"/>
                    <a:pt x="15" y="44"/>
                    <a:pt x="14" y="44"/>
                  </a:cubicBezTo>
                  <a:cubicBezTo>
                    <a:pt x="12" y="45"/>
                    <a:pt x="8" y="44"/>
                    <a:pt x="6" y="44"/>
                  </a:cubicBezTo>
                  <a:cubicBezTo>
                    <a:pt x="3" y="44"/>
                    <a:pt x="6" y="42"/>
                    <a:pt x="6" y="39"/>
                  </a:cubicBezTo>
                  <a:cubicBezTo>
                    <a:pt x="7" y="36"/>
                    <a:pt x="8" y="34"/>
                    <a:pt x="6" y="32"/>
                  </a:cubicBezTo>
                  <a:cubicBezTo>
                    <a:pt x="5" y="30"/>
                    <a:pt x="5" y="31"/>
                    <a:pt x="3" y="30"/>
                  </a:cubicBezTo>
                  <a:cubicBezTo>
                    <a:pt x="1" y="29"/>
                    <a:pt x="0" y="29"/>
                    <a:pt x="1" y="2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5" name="Freeform 259"/>
            <p:cNvSpPr>
              <a:spLocks/>
            </p:cNvSpPr>
            <p:nvPr>
              <p:custDataLst>
                <p:tags r:id="rId184"/>
              </p:custDataLst>
            </p:nvPr>
          </p:nvSpPr>
          <p:spPr bwMode="auto">
            <a:xfrm>
              <a:off x="2760" y="2157"/>
              <a:ext cx="19" cy="11"/>
            </a:xfrm>
            <a:custGeom>
              <a:avLst/>
              <a:gdLst>
                <a:gd name="T0" fmla="*/ 16453 w 11"/>
                <a:gd name="T1" fmla="*/ 17463 h 6"/>
                <a:gd name="T2" fmla="*/ 2742 w 11"/>
                <a:gd name="T3" fmla="*/ 11642 h 6"/>
                <a:gd name="T4" fmla="*/ 8226 w 11"/>
                <a:gd name="T5" fmla="*/ 2911 h 6"/>
                <a:gd name="T6" fmla="*/ 19195 w 11"/>
                <a:gd name="T7" fmla="*/ 0 h 6"/>
                <a:gd name="T8" fmla="*/ 27421 w 11"/>
                <a:gd name="T9" fmla="*/ 5821 h 6"/>
                <a:gd name="T10" fmla="*/ 16453 w 11"/>
                <a:gd name="T11" fmla="*/ 17463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6">
                  <a:moveTo>
                    <a:pt x="6" y="6"/>
                  </a:moveTo>
                  <a:cubicBezTo>
                    <a:pt x="4" y="6"/>
                    <a:pt x="2" y="4"/>
                    <a:pt x="1" y="4"/>
                  </a:cubicBezTo>
                  <a:cubicBezTo>
                    <a:pt x="0" y="4"/>
                    <a:pt x="1" y="2"/>
                    <a:pt x="3" y="1"/>
                  </a:cubicBezTo>
                  <a:cubicBezTo>
                    <a:pt x="3" y="1"/>
                    <a:pt x="5" y="0"/>
                    <a:pt x="7" y="0"/>
                  </a:cubicBezTo>
                  <a:cubicBezTo>
                    <a:pt x="8" y="0"/>
                    <a:pt x="10" y="0"/>
                    <a:pt x="10" y="2"/>
                  </a:cubicBezTo>
                  <a:cubicBezTo>
                    <a:pt x="11" y="4"/>
                    <a:pt x="8" y="6"/>
                    <a:pt x="6"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6" name="Freeform 260"/>
            <p:cNvSpPr>
              <a:spLocks/>
            </p:cNvSpPr>
            <p:nvPr>
              <p:custDataLst>
                <p:tags r:id="rId185"/>
              </p:custDataLst>
            </p:nvPr>
          </p:nvSpPr>
          <p:spPr bwMode="auto">
            <a:xfrm>
              <a:off x="2608" y="2093"/>
              <a:ext cx="169" cy="124"/>
            </a:xfrm>
            <a:custGeom>
              <a:avLst/>
              <a:gdLst>
                <a:gd name="T0" fmla="*/ 13550 w 99"/>
                <a:gd name="T1" fmla="*/ 49213 h 68"/>
                <a:gd name="T2" fmla="*/ 13550 w 99"/>
                <a:gd name="T3" fmla="*/ 37633 h 68"/>
                <a:gd name="T4" fmla="*/ 2710 w 99"/>
                <a:gd name="T5" fmla="*/ 20264 h 68"/>
                <a:gd name="T6" fmla="*/ 21680 w 99"/>
                <a:gd name="T7" fmla="*/ 11579 h 68"/>
                <a:gd name="T8" fmla="*/ 32520 w 99"/>
                <a:gd name="T9" fmla="*/ 0 h 68"/>
                <a:gd name="T10" fmla="*/ 51490 w 99"/>
                <a:gd name="T11" fmla="*/ 5790 h 68"/>
                <a:gd name="T12" fmla="*/ 81299 w 99"/>
                <a:gd name="T13" fmla="*/ 5790 h 68"/>
                <a:gd name="T14" fmla="*/ 121949 w 99"/>
                <a:gd name="T15" fmla="*/ 8685 h 68"/>
                <a:gd name="T16" fmla="*/ 157179 w 99"/>
                <a:gd name="T17" fmla="*/ 11579 h 68"/>
                <a:gd name="T18" fmla="*/ 162599 w 99"/>
                <a:gd name="T19" fmla="*/ 8685 h 68"/>
                <a:gd name="T20" fmla="*/ 195119 w 99"/>
                <a:gd name="T21" fmla="*/ 26054 h 68"/>
                <a:gd name="T22" fmla="*/ 216798 w 99"/>
                <a:gd name="T23" fmla="*/ 26054 h 68"/>
                <a:gd name="T24" fmla="*/ 249318 w 99"/>
                <a:gd name="T25" fmla="*/ 34738 h 68"/>
                <a:gd name="T26" fmla="*/ 260158 w 99"/>
                <a:gd name="T27" fmla="*/ 31843 h 68"/>
                <a:gd name="T28" fmla="*/ 262868 w 99"/>
                <a:gd name="T29" fmla="*/ 49213 h 68"/>
                <a:gd name="T30" fmla="*/ 238478 w 99"/>
                <a:gd name="T31" fmla="*/ 66582 h 68"/>
                <a:gd name="T32" fmla="*/ 211378 w 99"/>
                <a:gd name="T33" fmla="*/ 78161 h 68"/>
                <a:gd name="T34" fmla="*/ 189699 w 99"/>
                <a:gd name="T35" fmla="*/ 115794 h 68"/>
                <a:gd name="T36" fmla="*/ 200539 w 99"/>
                <a:gd name="T37" fmla="*/ 133163 h 68"/>
                <a:gd name="T38" fmla="*/ 181569 w 99"/>
                <a:gd name="T39" fmla="*/ 159217 h 68"/>
                <a:gd name="T40" fmla="*/ 162599 w 99"/>
                <a:gd name="T41" fmla="*/ 170796 h 68"/>
                <a:gd name="T42" fmla="*/ 149049 w 99"/>
                <a:gd name="T43" fmla="*/ 185271 h 68"/>
                <a:gd name="T44" fmla="*/ 108399 w 99"/>
                <a:gd name="T45" fmla="*/ 185271 h 68"/>
                <a:gd name="T46" fmla="*/ 86719 w 99"/>
                <a:gd name="T47" fmla="*/ 188165 h 68"/>
                <a:gd name="T48" fmla="*/ 78589 w 99"/>
                <a:gd name="T49" fmla="*/ 196850 h 68"/>
                <a:gd name="T50" fmla="*/ 75879 w 99"/>
                <a:gd name="T51" fmla="*/ 196850 h 68"/>
                <a:gd name="T52" fmla="*/ 65040 w 99"/>
                <a:gd name="T53" fmla="*/ 182376 h 68"/>
                <a:gd name="T54" fmla="*/ 56910 w 99"/>
                <a:gd name="T55" fmla="*/ 170796 h 68"/>
                <a:gd name="T56" fmla="*/ 40650 w 99"/>
                <a:gd name="T57" fmla="*/ 173691 h 68"/>
                <a:gd name="T58" fmla="*/ 43360 w 99"/>
                <a:gd name="T59" fmla="*/ 156322 h 68"/>
                <a:gd name="T60" fmla="*/ 48780 w 99"/>
                <a:gd name="T61" fmla="*/ 141848 h 68"/>
                <a:gd name="T62" fmla="*/ 46070 w 99"/>
                <a:gd name="T63" fmla="*/ 118689 h 68"/>
                <a:gd name="T64" fmla="*/ 51490 w 99"/>
                <a:gd name="T65" fmla="*/ 101320 h 68"/>
                <a:gd name="T66" fmla="*/ 67749 w 99"/>
                <a:gd name="T67" fmla="*/ 60792 h 68"/>
                <a:gd name="T68" fmla="*/ 51490 w 99"/>
                <a:gd name="T69" fmla="*/ 49213 h 68"/>
                <a:gd name="T70" fmla="*/ 13550 w 99"/>
                <a:gd name="T71" fmla="*/ 49213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9" h="68">
                  <a:moveTo>
                    <a:pt x="5" y="17"/>
                  </a:moveTo>
                  <a:cubicBezTo>
                    <a:pt x="5" y="15"/>
                    <a:pt x="5" y="14"/>
                    <a:pt x="5" y="13"/>
                  </a:cubicBezTo>
                  <a:cubicBezTo>
                    <a:pt x="4" y="11"/>
                    <a:pt x="0" y="9"/>
                    <a:pt x="1" y="7"/>
                  </a:cubicBezTo>
                  <a:cubicBezTo>
                    <a:pt x="3" y="5"/>
                    <a:pt x="6" y="4"/>
                    <a:pt x="8" y="4"/>
                  </a:cubicBezTo>
                  <a:cubicBezTo>
                    <a:pt x="9" y="4"/>
                    <a:pt x="9" y="0"/>
                    <a:pt x="12" y="0"/>
                  </a:cubicBezTo>
                  <a:cubicBezTo>
                    <a:pt x="15" y="0"/>
                    <a:pt x="18" y="2"/>
                    <a:pt x="19" y="2"/>
                  </a:cubicBezTo>
                  <a:cubicBezTo>
                    <a:pt x="21" y="2"/>
                    <a:pt x="27" y="2"/>
                    <a:pt x="30" y="2"/>
                  </a:cubicBezTo>
                  <a:cubicBezTo>
                    <a:pt x="33" y="2"/>
                    <a:pt x="41" y="3"/>
                    <a:pt x="45" y="3"/>
                  </a:cubicBezTo>
                  <a:cubicBezTo>
                    <a:pt x="49" y="3"/>
                    <a:pt x="56" y="5"/>
                    <a:pt x="58" y="4"/>
                  </a:cubicBezTo>
                  <a:cubicBezTo>
                    <a:pt x="59" y="4"/>
                    <a:pt x="60" y="3"/>
                    <a:pt x="60" y="3"/>
                  </a:cubicBezTo>
                  <a:cubicBezTo>
                    <a:pt x="60" y="3"/>
                    <a:pt x="69" y="8"/>
                    <a:pt x="72" y="9"/>
                  </a:cubicBezTo>
                  <a:cubicBezTo>
                    <a:pt x="75" y="10"/>
                    <a:pt x="76" y="9"/>
                    <a:pt x="80" y="9"/>
                  </a:cubicBezTo>
                  <a:cubicBezTo>
                    <a:pt x="84" y="10"/>
                    <a:pt x="90" y="12"/>
                    <a:pt x="92" y="12"/>
                  </a:cubicBezTo>
                  <a:cubicBezTo>
                    <a:pt x="94" y="12"/>
                    <a:pt x="96" y="11"/>
                    <a:pt x="96" y="11"/>
                  </a:cubicBezTo>
                  <a:cubicBezTo>
                    <a:pt x="96" y="14"/>
                    <a:pt x="99" y="16"/>
                    <a:pt x="97" y="17"/>
                  </a:cubicBezTo>
                  <a:cubicBezTo>
                    <a:pt x="96" y="19"/>
                    <a:pt x="90" y="22"/>
                    <a:pt x="88" y="23"/>
                  </a:cubicBezTo>
                  <a:cubicBezTo>
                    <a:pt x="86" y="23"/>
                    <a:pt x="80" y="25"/>
                    <a:pt x="78" y="27"/>
                  </a:cubicBezTo>
                  <a:cubicBezTo>
                    <a:pt x="77" y="29"/>
                    <a:pt x="69" y="38"/>
                    <a:pt x="70" y="40"/>
                  </a:cubicBezTo>
                  <a:cubicBezTo>
                    <a:pt x="70" y="42"/>
                    <a:pt x="74" y="44"/>
                    <a:pt x="74" y="46"/>
                  </a:cubicBezTo>
                  <a:cubicBezTo>
                    <a:pt x="74" y="48"/>
                    <a:pt x="67" y="52"/>
                    <a:pt x="67" y="55"/>
                  </a:cubicBezTo>
                  <a:cubicBezTo>
                    <a:pt x="67" y="57"/>
                    <a:pt x="63" y="58"/>
                    <a:pt x="60" y="59"/>
                  </a:cubicBezTo>
                  <a:cubicBezTo>
                    <a:pt x="58" y="60"/>
                    <a:pt x="58" y="64"/>
                    <a:pt x="55" y="64"/>
                  </a:cubicBezTo>
                  <a:cubicBezTo>
                    <a:pt x="52" y="64"/>
                    <a:pt x="42" y="63"/>
                    <a:pt x="40" y="64"/>
                  </a:cubicBezTo>
                  <a:cubicBezTo>
                    <a:pt x="37" y="65"/>
                    <a:pt x="33" y="64"/>
                    <a:pt x="32" y="65"/>
                  </a:cubicBezTo>
                  <a:cubicBezTo>
                    <a:pt x="31" y="66"/>
                    <a:pt x="31" y="68"/>
                    <a:pt x="29" y="68"/>
                  </a:cubicBezTo>
                  <a:cubicBezTo>
                    <a:pt x="29" y="68"/>
                    <a:pt x="29" y="68"/>
                    <a:pt x="28" y="68"/>
                  </a:cubicBezTo>
                  <a:cubicBezTo>
                    <a:pt x="26" y="68"/>
                    <a:pt x="25" y="66"/>
                    <a:pt x="24" y="63"/>
                  </a:cubicBezTo>
                  <a:cubicBezTo>
                    <a:pt x="23" y="60"/>
                    <a:pt x="24" y="59"/>
                    <a:pt x="21" y="59"/>
                  </a:cubicBezTo>
                  <a:cubicBezTo>
                    <a:pt x="18" y="58"/>
                    <a:pt x="17" y="59"/>
                    <a:pt x="15" y="60"/>
                  </a:cubicBezTo>
                  <a:cubicBezTo>
                    <a:pt x="14" y="58"/>
                    <a:pt x="13" y="57"/>
                    <a:pt x="16" y="54"/>
                  </a:cubicBezTo>
                  <a:cubicBezTo>
                    <a:pt x="18" y="52"/>
                    <a:pt x="18" y="51"/>
                    <a:pt x="18" y="49"/>
                  </a:cubicBezTo>
                  <a:cubicBezTo>
                    <a:pt x="18" y="47"/>
                    <a:pt x="19" y="43"/>
                    <a:pt x="17" y="41"/>
                  </a:cubicBezTo>
                  <a:cubicBezTo>
                    <a:pt x="15" y="38"/>
                    <a:pt x="18" y="36"/>
                    <a:pt x="19" y="35"/>
                  </a:cubicBezTo>
                  <a:cubicBezTo>
                    <a:pt x="20" y="34"/>
                    <a:pt x="24" y="23"/>
                    <a:pt x="25" y="21"/>
                  </a:cubicBezTo>
                  <a:cubicBezTo>
                    <a:pt x="25" y="19"/>
                    <a:pt x="22" y="17"/>
                    <a:pt x="19" y="17"/>
                  </a:cubicBezTo>
                  <a:cubicBezTo>
                    <a:pt x="16" y="17"/>
                    <a:pt x="5" y="17"/>
                    <a:pt x="5" y="1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7" name="Freeform 262"/>
            <p:cNvSpPr>
              <a:spLocks/>
            </p:cNvSpPr>
            <p:nvPr>
              <p:custDataLst>
                <p:tags r:id="rId186"/>
              </p:custDataLst>
            </p:nvPr>
          </p:nvSpPr>
          <p:spPr bwMode="auto">
            <a:xfrm>
              <a:off x="2999" y="1324"/>
              <a:ext cx="50" cy="39"/>
            </a:xfrm>
            <a:custGeom>
              <a:avLst/>
              <a:gdLst>
                <a:gd name="T0" fmla="*/ 0 w 29"/>
                <a:gd name="T1" fmla="*/ 14741 h 21"/>
                <a:gd name="T2" fmla="*/ 5474 w 29"/>
                <a:gd name="T3" fmla="*/ 8845 h 21"/>
                <a:gd name="T4" fmla="*/ 30108 w 29"/>
                <a:gd name="T5" fmla="*/ 0 h 21"/>
                <a:gd name="T6" fmla="*/ 38319 w 29"/>
                <a:gd name="T7" fmla="*/ 8845 h 21"/>
                <a:gd name="T8" fmla="*/ 54741 w 29"/>
                <a:gd name="T9" fmla="*/ 11793 h 21"/>
                <a:gd name="T10" fmla="*/ 60216 w 29"/>
                <a:gd name="T11" fmla="*/ 26534 h 21"/>
                <a:gd name="T12" fmla="*/ 79375 w 29"/>
                <a:gd name="T13" fmla="*/ 29482 h 21"/>
                <a:gd name="T14" fmla="*/ 46530 w 29"/>
                <a:gd name="T15" fmla="*/ 61913 h 21"/>
                <a:gd name="T16" fmla="*/ 41056 w 29"/>
                <a:gd name="T17" fmla="*/ 41275 h 21"/>
                <a:gd name="T18" fmla="*/ 8211 w 29"/>
                <a:gd name="T19" fmla="*/ 47172 h 21"/>
                <a:gd name="T20" fmla="*/ 21897 w 29"/>
                <a:gd name="T21" fmla="*/ 26534 h 21"/>
                <a:gd name="T22" fmla="*/ 0 w 29"/>
                <a:gd name="T23" fmla="*/ 1474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1">
                  <a:moveTo>
                    <a:pt x="0" y="5"/>
                  </a:moveTo>
                  <a:cubicBezTo>
                    <a:pt x="0" y="3"/>
                    <a:pt x="2" y="3"/>
                    <a:pt x="2" y="3"/>
                  </a:cubicBezTo>
                  <a:cubicBezTo>
                    <a:pt x="2" y="3"/>
                    <a:pt x="10" y="1"/>
                    <a:pt x="11" y="0"/>
                  </a:cubicBezTo>
                  <a:cubicBezTo>
                    <a:pt x="13" y="0"/>
                    <a:pt x="13" y="3"/>
                    <a:pt x="14" y="3"/>
                  </a:cubicBezTo>
                  <a:cubicBezTo>
                    <a:pt x="15" y="3"/>
                    <a:pt x="19" y="4"/>
                    <a:pt x="20" y="4"/>
                  </a:cubicBezTo>
                  <a:cubicBezTo>
                    <a:pt x="21" y="4"/>
                    <a:pt x="21" y="9"/>
                    <a:pt x="22" y="9"/>
                  </a:cubicBezTo>
                  <a:cubicBezTo>
                    <a:pt x="23" y="9"/>
                    <a:pt x="29" y="9"/>
                    <a:pt x="29" y="10"/>
                  </a:cubicBezTo>
                  <a:cubicBezTo>
                    <a:pt x="29" y="10"/>
                    <a:pt x="17" y="21"/>
                    <a:pt x="17" y="21"/>
                  </a:cubicBezTo>
                  <a:cubicBezTo>
                    <a:pt x="16" y="20"/>
                    <a:pt x="16" y="14"/>
                    <a:pt x="15" y="14"/>
                  </a:cubicBezTo>
                  <a:cubicBezTo>
                    <a:pt x="15" y="13"/>
                    <a:pt x="3" y="17"/>
                    <a:pt x="3" y="16"/>
                  </a:cubicBezTo>
                  <a:cubicBezTo>
                    <a:pt x="2" y="16"/>
                    <a:pt x="9" y="10"/>
                    <a:pt x="8" y="9"/>
                  </a:cubicBezTo>
                  <a:cubicBezTo>
                    <a:pt x="7" y="8"/>
                    <a:pt x="1" y="6"/>
                    <a:pt x="0" y="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8" name="Freeform 263"/>
            <p:cNvSpPr>
              <a:spLocks/>
            </p:cNvSpPr>
            <p:nvPr>
              <p:custDataLst>
                <p:tags r:id="rId187"/>
              </p:custDataLst>
            </p:nvPr>
          </p:nvSpPr>
          <p:spPr bwMode="auto">
            <a:xfrm>
              <a:off x="2966" y="1259"/>
              <a:ext cx="122" cy="42"/>
            </a:xfrm>
            <a:custGeom>
              <a:avLst/>
              <a:gdLst>
                <a:gd name="T0" fmla="*/ 2728 w 71"/>
                <a:gd name="T1" fmla="*/ 20292 h 23"/>
                <a:gd name="T2" fmla="*/ 8183 w 71"/>
                <a:gd name="T3" fmla="*/ 14495 h 23"/>
                <a:gd name="T4" fmla="*/ 32734 w 71"/>
                <a:gd name="T5" fmla="*/ 14495 h 23"/>
                <a:gd name="T6" fmla="*/ 40917 w 71"/>
                <a:gd name="T7" fmla="*/ 0 h 23"/>
                <a:gd name="T8" fmla="*/ 68195 w 71"/>
                <a:gd name="T9" fmla="*/ 11596 h 23"/>
                <a:gd name="T10" fmla="*/ 92746 w 71"/>
                <a:gd name="T11" fmla="*/ 23191 h 23"/>
                <a:gd name="T12" fmla="*/ 100929 w 71"/>
                <a:gd name="T13" fmla="*/ 0 h 23"/>
                <a:gd name="T14" fmla="*/ 114568 w 71"/>
                <a:gd name="T15" fmla="*/ 8697 h 23"/>
                <a:gd name="T16" fmla="*/ 117296 w 71"/>
                <a:gd name="T17" fmla="*/ 17393 h 23"/>
                <a:gd name="T18" fmla="*/ 133663 w 71"/>
                <a:gd name="T19" fmla="*/ 5798 h 23"/>
                <a:gd name="T20" fmla="*/ 174580 w 71"/>
                <a:gd name="T21" fmla="*/ 14495 h 23"/>
                <a:gd name="T22" fmla="*/ 193675 w 71"/>
                <a:gd name="T23" fmla="*/ 23191 h 23"/>
                <a:gd name="T24" fmla="*/ 188219 w 71"/>
                <a:gd name="T25" fmla="*/ 37686 h 23"/>
                <a:gd name="T26" fmla="*/ 163669 w 71"/>
                <a:gd name="T27" fmla="*/ 43484 h 23"/>
                <a:gd name="T28" fmla="*/ 155486 w 71"/>
                <a:gd name="T29" fmla="*/ 60877 h 23"/>
                <a:gd name="T30" fmla="*/ 117296 w 71"/>
                <a:gd name="T31" fmla="*/ 66675 h 23"/>
                <a:gd name="T32" fmla="*/ 95474 w 71"/>
                <a:gd name="T33" fmla="*/ 57978 h 23"/>
                <a:gd name="T34" fmla="*/ 49101 w 71"/>
                <a:gd name="T35" fmla="*/ 52180 h 23"/>
                <a:gd name="T36" fmla="*/ 81835 w 71"/>
                <a:gd name="T37" fmla="*/ 40585 h 23"/>
                <a:gd name="T38" fmla="*/ 68195 w 71"/>
                <a:gd name="T39" fmla="*/ 31888 h 23"/>
                <a:gd name="T40" fmla="*/ 21823 w 71"/>
                <a:gd name="T41" fmla="*/ 37686 h 23"/>
                <a:gd name="T42" fmla="*/ 8183 w 71"/>
                <a:gd name="T43" fmla="*/ 28989 h 23"/>
                <a:gd name="T44" fmla="*/ 2728 w 71"/>
                <a:gd name="T45" fmla="*/ 20292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71" h="23">
                  <a:moveTo>
                    <a:pt x="1" y="7"/>
                  </a:moveTo>
                  <a:cubicBezTo>
                    <a:pt x="0" y="6"/>
                    <a:pt x="3" y="5"/>
                    <a:pt x="3" y="5"/>
                  </a:cubicBezTo>
                  <a:cubicBezTo>
                    <a:pt x="4" y="5"/>
                    <a:pt x="10" y="6"/>
                    <a:pt x="12" y="5"/>
                  </a:cubicBezTo>
                  <a:cubicBezTo>
                    <a:pt x="13" y="5"/>
                    <a:pt x="13" y="0"/>
                    <a:pt x="15" y="0"/>
                  </a:cubicBezTo>
                  <a:cubicBezTo>
                    <a:pt x="18" y="1"/>
                    <a:pt x="22" y="4"/>
                    <a:pt x="25" y="4"/>
                  </a:cubicBezTo>
                  <a:cubicBezTo>
                    <a:pt x="28" y="4"/>
                    <a:pt x="34" y="9"/>
                    <a:pt x="34" y="8"/>
                  </a:cubicBezTo>
                  <a:cubicBezTo>
                    <a:pt x="34" y="7"/>
                    <a:pt x="35" y="0"/>
                    <a:pt x="37" y="0"/>
                  </a:cubicBezTo>
                  <a:cubicBezTo>
                    <a:pt x="39" y="0"/>
                    <a:pt x="42" y="2"/>
                    <a:pt x="42" y="3"/>
                  </a:cubicBezTo>
                  <a:cubicBezTo>
                    <a:pt x="42" y="3"/>
                    <a:pt x="42" y="6"/>
                    <a:pt x="43" y="6"/>
                  </a:cubicBezTo>
                  <a:cubicBezTo>
                    <a:pt x="44" y="6"/>
                    <a:pt x="47" y="2"/>
                    <a:pt x="49" y="2"/>
                  </a:cubicBezTo>
                  <a:cubicBezTo>
                    <a:pt x="51" y="3"/>
                    <a:pt x="63" y="5"/>
                    <a:pt x="64" y="5"/>
                  </a:cubicBezTo>
                  <a:cubicBezTo>
                    <a:pt x="65" y="5"/>
                    <a:pt x="70" y="6"/>
                    <a:pt x="71" y="8"/>
                  </a:cubicBezTo>
                  <a:cubicBezTo>
                    <a:pt x="71" y="10"/>
                    <a:pt x="70" y="13"/>
                    <a:pt x="69" y="13"/>
                  </a:cubicBezTo>
                  <a:cubicBezTo>
                    <a:pt x="69" y="13"/>
                    <a:pt x="60" y="14"/>
                    <a:pt x="60" y="15"/>
                  </a:cubicBezTo>
                  <a:cubicBezTo>
                    <a:pt x="59" y="17"/>
                    <a:pt x="61" y="22"/>
                    <a:pt x="57" y="21"/>
                  </a:cubicBezTo>
                  <a:cubicBezTo>
                    <a:pt x="54" y="21"/>
                    <a:pt x="47" y="23"/>
                    <a:pt x="43" y="23"/>
                  </a:cubicBezTo>
                  <a:cubicBezTo>
                    <a:pt x="39" y="22"/>
                    <a:pt x="37" y="20"/>
                    <a:pt x="35" y="20"/>
                  </a:cubicBezTo>
                  <a:cubicBezTo>
                    <a:pt x="34" y="20"/>
                    <a:pt x="19" y="19"/>
                    <a:pt x="18" y="18"/>
                  </a:cubicBezTo>
                  <a:cubicBezTo>
                    <a:pt x="17" y="17"/>
                    <a:pt x="30" y="15"/>
                    <a:pt x="30" y="14"/>
                  </a:cubicBezTo>
                  <a:cubicBezTo>
                    <a:pt x="30" y="13"/>
                    <a:pt x="25" y="11"/>
                    <a:pt x="25" y="11"/>
                  </a:cubicBezTo>
                  <a:cubicBezTo>
                    <a:pt x="25" y="11"/>
                    <a:pt x="10" y="14"/>
                    <a:pt x="8" y="13"/>
                  </a:cubicBezTo>
                  <a:cubicBezTo>
                    <a:pt x="6" y="12"/>
                    <a:pt x="4" y="11"/>
                    <a:pt x="3" y="10"/>
                  </a:cubicBezTo>
                  <a:cubicBezTo>
                    <a:pt x="2" y="9"/>
                    <a:pt x="1" y="7"/>
                    <a:pt x="1"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9" name="Freeform 264"/>
            <p:cNvSpPr>
              <a:spLocks/>
            </p:cNvSpPr>
            <p:nvPr>
              <p:custDataLst>
                <p:tags r:id="rId188"/>
              </p:custDataLst>
            </p:nvPr>
          </p:nvSpPr>
          <p:spPr bwMode="auto">
            <a:xfrm>
              <a:off x="2872" y="1272"/>
              <a:ext cx="143" cy="109"/>
            </a:xfrm>
            <a:custGeom>
              <a:avLst/>
              <a:gdLst>
                <a:gd name="T0" fmla="*/ 0 w 83"/>
                <a:gd name="T1" fmla="*/ 20188 h 60"/>
                <a:gd name="T2" fmla="*/ 16411 w 83"/>
                <a:gd name="T3" fmla="*/ 14420 h 60"/>
                <a:gd name="T4" fmla="*/ 38291 w 83"/>
                <a:gd name="T5" fmla="*/ 17304 h 60"/>
                <a:gd name="T6" fmla="*/ 65642 w 83"/>
                <a:gd name="T7" fmla="*/ 11536 h 60"/>
                <a:gd name="T8" fmla="*/ 54702 w 83"/>
                <a:gd name="T9" fmla="*/ 25956 h 60"/>
                <a:gd name="T10" fmla="*/ 65642 w 83"/>
                <a:gd name="T11" fmla="*/ 37492 h 60"/>
                <a:gd name="T12" fmla="*/ 79318 w 83"/>
                <a:gd name="T13" fmla="*/ 17304 h 60"/>
                <a:gd name="T14" fmla="*/ 95728 w 83"/>
                <a:gd name="T15" fmla="*/ 31724 h 60"/>
                <a:gd name="T16" fmla="*/ 117609 w 83"/>
                <a:gd name="T17" fmla="*/ 57679 h 60"/>
                <a:gd name="T18" fmla="*/ 106669 w 83"/>
                <a:gd name="T19" fmla="*/ 11536 h 60"/>
                <a:gd name="T20" fmla="*/ 120344 w 83"/>
                <a:gd name="T21" fmla="*/ 2884 h 60"/>
                <a:gd name="T22" fmla="*/ 144960 w 83"/>
                <a:gd name="T23" fmla="*/ 20188 h 60"/>
                <a:gd name="T24" fmla="*/ 144960 w 83"/>
                <a:gd name="T25" fmla="*/ 40376 h 60"/>
                <a:gd name="T26" fmla="*/ 164106 w 83"/>
                <a:gd name="T27" fmla="*/ 31724 h 60"/>
                <a:gd name="T28" fmla="*/ 172311 w 83"/>
                <a:gd name="T29" fmla="*/ 49027 h 60"/>
                <a:gd name="T30" fmla="*/ 185987 w 83"/>
                <a:gd name="T31" fmla="*/ 46143 h 60"/>
                <a:gd name="T32" fmla="*/ 213338 w 83"/>
                <a:gd name="T33" fmla="*/ 57679 h 60"/>
                <a:gd name="T34" fmla="*/ 227013 w 83"/>
                <a:gd name="T35" fmla="*/ 66331 h 60"/>
                <a:gd name="T36" fmla="*/ 218808 w 83"/>
                <a:gd name="T37" fmla="*/ 72099 h 60"/>
                <a:gd name="T38" fmla="*/ 175046 w 83"/>
                <a:gd name="T39" fmla="*/ 80751 h 60"/>
                <a:gd name="T40" fmla="*/ 172311 w 83"/>
                <a:gd name="T41" fmla="*/ 100939 h 60"/>
                <a:gd name="T42" fmla="*/ 158636 w 83"/>
                <a:gd name="T43" fmla="*/ 103823 h 60"/>
                <a:gd name="T44" fmla="*/ 158636 w 83"/>
                <a:gd name="T45" fmla="*/ 124011 h 60"/>
                <a:gd name="T46" fmla="*/ 147695 w 83"/>
                <a:gd name="T47" fmla="*/ 126895 h 60"/>
                <a:gd name="T48" fmla="*/ 136755 w 83"/>
                <a:gd name="T49" fmla="*/ 158618 h 60"/>
                <a:gd name="T50" fmla="*/ 128550 w 83"/>
                <a:gd name="T51" fmla="*/ 173038 h 60"/>
                <a:gd name="T52" fmla="*/ 92993 w 83"/>
                <a:gd name="T53" fmla="*/ 152850 h 60"/>
                <a:gd name="T54" fmla="*/ 65642 w 83"/>
                <a:gd name="T55" fmla="*/ 132662 h 60"/>
                <a:gd name="T56" fmla="*/ 112139 w 83"/>
                <a:gd name="T57" fmla="*/ 124011 h 60"/>
                <a:gd name="T58" fmla="*/ 112139 w 83"/>
                <a:gd name="T59" fmla="*/ 109591 h 60"/>
                <a:gd name="T60" fmla="*/ 62907 w 83"/>
                <a:gd name="T61" fmla="*/ 112475 h 60"/>
                <a:gd name="T62" fmla="*/ 62907 w 83"/>
                <a:gd name="T63" fmla="*/ 103823 h 60"/>
                <a:gd name="T64" fmla="*/ 92993 w 83"/>
                <a:gd name="T65" fmla="*/ 95171 h 60"/>
                <a:gd name="T66" fmla="*/ 114874 w 83"/>
                <a:gd name="T67" fmla="*/ 89403 h 60"/>
                <a:gd name="T68" fmla="*/ 128550 w 83"/>
                <a:gd name="T69" fmla="*/ 89403 h 60"/>
                <a:gd name="T70" fmla="*/ 123079 w 83"/>
                <a:gd name="T71" fmla="*/ 77867 h 60"/>
                <a:gd name="T72" fmla="*/ 101199 w 83"/>
                <a:gd name="T73" fmla="*/ 74983 h 60"/>
                <a:gd name="T74" fmla="*/ 95728 w 83"/>
                <a:gd name="T75" fmla="*/ 66331 h 60"/>
                <a:gd name="T76" fmla="*/ 79318 w 83"/>
                <a:gd name="T77" fmla="*/ 69215 h 60"/>
                <a:gd name="T78" fmla="*/ 76583 w 83"/>
                <a:gd name="T79" fmla="*/ 80751 h 60"/>
                <a:gd name="T80" fmla="*/ 54702 w 83"/>
                <a:gd name="T81" fmla="*/ 86519 h 60"/>
                <a:gd name="T82" fmla="*/ 41026 w 83"/>
                <a:gd name="T83" fmla="*/ 83635 h 60"/>
                <a:gd name="T84" fmla="*/ 19146 w 83"/>
                <a:gd name="T85" fmla="*/ 63447 h 60"/>
                <a:gd name="T86" fmla="*/ 30086 w 83"/>
                <a:gd name="T87" fmla="*/ 57679 h 60"/>
                <a:gd name="T88" fmla="*/ 21881 w 83"/>
                <a:gd name="T89" fmla="*/ 43260 h 60"/>
                <a:gd name="T90" fmla="*/ 8205 w 83"/>
                <a:gd name="T91" fmla="*/ 46143 h 60"/>
                <a:gd name="T92" fmla="*/ 0 w 83"/>
                <a:gd name="T93" fmla="*/ 20188 h 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3" h="60">
                  <a:moveTo>
                    <a:pt x="0" y="7"/>
                  </a:moveTo>
                  <a:cubicBezTo>
                    <a:pt x="0" y="6"/>
                    <a:pt x="4" y="5"/>
                    <a:pt x="6" y="5"/>
                  </a:cubicBezTo>
                  <a:cubicBezTo>
                    <a:pt x="8" y="5"/>
                    <a:pt x="13" y="6"/>
                    <a:pt x="14" y="6"/>
                  </a:cubicBezTo>
                  <a:cubicBezTo>
                    <a:pt x="16" y="6"/>
                    <a:pt x="23" y="3"/>
                    <a:pt x="24" y="4"/>
                  </a:cubicBezTo>
                  <a:cubicBezTo>
                    <a:pt x="24" y="5"/>
                    <a:pt x="20" y="8"/>
                    <a:pt x="20" y="9"/>
                  </a:cubicBezTo>
                  <a:cubicBezTo>
                    <a:pt x="19" y="11"/>
                    <a:pt x="22" y="13"/>
                    <a:pt x="24" y="13"/>
                  </a:cubicBezTo>
                  <a:cubicBezTo>
                    <a:pt x="26" y="13"/>
                    <a:pt x="28" y="6"/>
                    <a:pt x="29" y="6"/>
                  </a:cubicBezTo>
                  <a:cubicBezTo>
                    <a:pt x="30" y="5"/>
                    <a:pt x="34" y="10"/>
                    <a:pt x="35" y="11"/>
                  </a:cubicBezTo>
                  <a:cubicBezTo>
                    <a:pt x="36" y="13"/>
                    <a:pt x="42" y="20"/>
                    <a:pt x="43" y="20"/>
                  </a:cubicBezTo>
                  <a:cubicBezTo>
                    <a:pt x="45" y="20"/>
                    <a:pt x="38" y="5"/>
                    <a:pt x="39" y="4"/>
                  </a:cubicBezTo>
                  <a:cubicBezTo>
                    <a:pt x="40" y="3"/>
                    <a:pt x="42" y="0"/>
                    <a:pt x="44" y="1"/>
                  </a:cubicBezTo>
                  <a:cubicBezTo>
                    <a:pt x="45" y="2"/>
                    <a:pt x="53" y="6"/>
                    <a:pt x="53" y="7"/>
                  </a:cubicBezTo>
                  <a:cubicBezTo>
                    <a:pt x="53" y="8"/>
                    <a:pt x="53" y="14"/>
                    <a:pt x="53" y="14"/>
                  </a:cubicBezTo>
                  <a:cubicBezTo>
                    <a:pt x="54" y="14"/>
                    <a:pt x="59" y="10"/>
                    <a:pt x="60" y="11"/>
                  </a:cubicBezTo>
                  <a:cubicBezTo>
                    <a:pt x="60" y="11"/>
                    <a:pt x="62" y="16"/>
                    <a:pt x="63" y="17"/>
                  </a:cubicBezTo>
                  <a:cubicBezTo>
                    <a:pt x="64" y="17"/>
                    <a:pt x="67" y="15"/>
                    <a:pt x="68" y="16"/>
                  </a:cubicBezTo>
                  <a:cubicBezTo>
                    <a:pt x="70" y="16"/>
                    <a:pt x="76" y="20"/>
                    <a:pt x="78" y="20"/>
                  </a:cubicBezTo>
                  <a:cubicBezTo>
                    <a:pt x="79" y="20"/>
                    <a:pt x="83" y="22"/>
                    <a:pt x="83" y="23"/>
                  </a:cubicBezTo>
                  <a:cubicBezTo>
                    <a:pt x="83" y="24"/>
                    <a:pt x="80" y="25"/>
                    <a:pt x="80" y="25"/>
                  </a:cubicBezTo>
                  <a:cubicBezTo>
                    <a:pt x="79" y="26"/>
                    <a:pt x="66" y="27"/>
                    <a:pt x="64" y="28"/>
                  </a:cubicBezTo>
                  <a:cubicBezTo>
                    <a:pt x="63" y="29"/>
                    <a:pt x="64" y="34"/>
                    <a:pt x="63" y="35"/>
                  </a:cubicBezTo>
                  <a:cubicBezTo>
                    <a:pt x="63" y="36"/>
                    <a:pt x="58" y="34"/>
                    <a:pt x="58" y="36"/>
                  </a:cubicBezTo>
                  <a:cubicBezTo>
                    <a:pt x="58" y="37"/>
                    <a:pt x="58" y="42"/>
                    <a:pt x="58" y="43"/>
                  </a:cubicBezTo>
                  <a:cubicBezTo>
                    <a:pt x="57" y="44"/>
                    <a:pt x="54" y="44"/>
                    <a:pt x="54" y="44"/>
                  </a:cubicBezTo>
                  <a:cubicBezTo>
                    <a:pt x="53" y="45"/>
                    <a:pt x="50" y="54"/>
                    <a:pt x="50" y="55"/>
                  </a:cubicBezTo>
                  <a:cubicBezTo>
                    <a:pt x="50" y="56"/>
                    <a:pt x="50" y="60"/>
                    <a:pt x="47" y="60"/>
                  </a:cubicBezTo>
                  <a:cubicBezTo>
                    <a:pt x="43" y="59"/>
                    <a:pt x="37" y="54"/>
                    <a:pt x="34" y="53"/>
                  </a:cubicBezTo>
                  <a:cubicBezTo>
                    <a:pt x="32" y="51"/>
                    <a:pt x="24" y="48"/>
                    <a:pt x="24" y="46"/>
                  </a:cubicBezTo>
                  <a:cubicBezTo>
                    <a:pt x="25" y="45"/>
                    <a:pt x="40" y="43"/>
                    <a:pt x="41" y="43"/>
                  </a:cubicBezTo>
                  <a:cubicBezTo>
                    <a:pt x="42" y="43"/>
                    <a:pt x="41" y="39"/>
                    <a:pt x="41" y="38"/>
                  </a:cubicBezTo>
                  <a:cubicBezTo>
                    <a:pt x="41" y="37"/>
                    <a:pt x="24" y="39"/>
                    <a:pt x="23" y="39"/>
                  </a:cubicBezTo>
                  <a:cubicBezTo>
                    <a:pt x="23" y="40"/>
                    <a:pt x="22" y="36"/>
                    <a:pt x="23" y="36"/>
                  </a:cubicBezTo>
                  <a:cubicBezTo>
                    <a:pt x="24" y="35"/>
                    <a:pt x="33" y="35"/>
                    <a:pt x="34" y="33"/>
                  </a:cubicBezTo>
                  <a:cubicBezTo>
                    <a:pt x="36" y="32"/>
                    <a:pt x="40" y="31"/>
                    <a:pt x="42" y="31"/>
                  </a:cubicBezTo>
                  <a:cubicBezTo>
                    <a:pt x="44" y="31"/>
                    <a:pt x="47" y="31"/>
                    <a:pt x="47" y="31"/>
                  </a:cubicBezTo>
                  <a:cubicBezTo>
                    <a:pt x="48" y="30"/>
                    <a:pt x="45" y="28"/>
                    <a:pt x="45" y="27"/>
                  </a:cubicBezTo>
                  <a:cubicBezTo>
                    <a:pt x="45" y="25"/>
                    <a:pt x="38" y="27"/>
                    <a:pt x="37" y="26"/>
                  </a:cubicBezTo>
                  <a:cubicBezTo>
                    <a:pt x="36" y="24"/>
                    <a:pt x="35" y="24"/>
                    <a:pt x="35" y="23"/>
                  </a:cubicBezTo>
                  <a:cubicBezTo>
                    <a:pt x="35" y="22"/>
                    <a:pt x="30" y="24"/>
                    <a:pt x="29" y="24"/>
                  </a:cubicBezTo>
                  <a:cubicBezTo>
                    <a:pt x="28" y="24"/>
                    <a:pt x="28" y="28"/>
                    <a:pt x="28" y="28"/>
                  </a:cubicBezTo>
                  <a:cubicBezTo>
                    <a:pt x="27" y="29"/>
                    <a:pt x="22" y="30"/>
                    <a:pt x="20" y="30"/>
                  </a:cubicBezTo>
                  <a:cubicBezTo>
                    <a:pt x="18" y="30"/>
                    <a:pt x="17" y="31"/>
                    <a:pt x="15" y="29"/>
                  </a:cubicBezTo>
                  <a:cubicBezTo>
                    <a:pt x="13" y="28"/>
                    <a:pt x="7" y="23"/>
                    <a:pt x="7" y="22"/>
                  </a:cubicBezTo>
                  <a:cubicBezTo>
                    <a:pt x="6" y="20"/>
                    <a:pt x="11" y="21"/>
                    <a:pt x="11" y="20"/>
                  </a:cubicBezTo>
                  <a:cubicBezTo>
                    <a:pt x="11" y="19"/>
                    <a:pt x="9" y="16"/>
                    <a:pt x="8" y="15"/>
                  </a:cubicBezTo>
                  <a:cubicBezTo>
                    <a:pt x="8" y="14"/>
                    <a:pt x="4" y="18"/>
                    <a:pt x="3" y="16"/>
                  </a:cubicBezTo>
                  <a:cubicBezTo>
                    <a:pt x="2" y="15"/>
                    <a:pt x="0" y="9"/>
                    <a:pt x="0"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0" name="Freeform 271"/>
            <p:cNvSpPr>
              <a:spLocks/>
            </p:cNvSpPr>
            <p:nvPr>
              <p:custDataLst>
                <p:tags r:id="rId189"/>
              </p:custDataLst>
            </p:nvPr>
          </p:nvSpPr>
          <p:spPr bwMode="auto">
            <a:xfrm>
              <a:off x="3017" y="1794"/>
              <a:ext cx="81" cy="42"/>
            </a:xfrm>
            <a:custGeom>
              <a:avLst/>
              <a:gdLst>
                <a:gd name="T0" fmla="*/ 5472 w 47"/>
                <a:gd name="T1" fmla="*/ 46383 h 23"/>
                <a:gd name="T2" fmla="*/ 5472 w 47"/>
                <a:gd name="T3" fmla="*/ 34787 h 23"/>
                <a:gd name="T4" fmla="*/ 16415 w 47"/>
                <a:gd name="T5" fmla="*/ 26090 h 23"/>
                <a:gd name="T6" fmla="*/ 35567 w 47"/>
                <a:gd name="T7" fmla="*/ 20292 h 23"/>
                <a:gd name="T8" fmla="*/ 41039 w 47"/>
                <a:gd name="T9" fmla="*/ 8697 h 23"/>
                <a:gd name="T10" fmla="*/ 73870 w 47"/>
                <a:gd name="T11" fmla="*/ 2899 h 23"/>
                <a:gd name="T12" fmla="*/ 106701 w 47"/>
                <a:gd name="T13" fmla="*/ 5798 h 23"/>
                <a:gd name="T14" fmla="*/ 128588 w 47"/>
                <a:gd name="T15" fmla="*/ 5798 h 23"/>
                <a:gd name="T16" fmla="*/ 117644 w 47"/>
                <a:gd name="T17" fmla="*/ 37686 h 23"/>
                <a:gd name="T18" fmla="*/ 120380 w 47"/>
                <a:gd name="T19" fmla="*/ 66675 h 23"/>
                <a:gd name="T20" fmla="*/ 95757 w 47"/>
                <a:gd name="T21" fmla="*/ 66675 h 23"/>
                <a:gd name="T22" fmla="*/ 79342 w 47"/>
                <a:gd name="T23" fmla="*/ 52180 h 23"/>
                <a:gd name="T24" fmla="*/ 57454 w 47"/>
                <a:gd name="T25" fmla="*/ 52180 h 23"/>
                <a:gd name="T26" fmla="*/ 57454 w 47"/>
                <a:gd name="T27" fmla="*/ 52180 h 23"/>
                <a:gd name="T28" fmla="*/ 57454 w 47"/>
                <a:gd name="T29" fmla="*/ 40585 h 23"/>
                <a:gd name="T30" fmla="*/ 46511 w 47"/>
                <a:gd name="T31" fmla="*/ 37686 h 23"/>
                <a:gd name="T32" fmla="*/ 32831 w 47"/>
                <a:gd name="T33" fmla="*/ 37686 h 23"/>
                <a:gd name="T34" fmla="*/ 5472 w 47"/>
                <a:gd name="T35" fmla="*/ 46383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23">
                  <a:moveTo>
                    <a:pt x="2" y="16"/>
                  </a:moveTo>
                  <a:cubicBezTo>
                    <a:pt x="0" y="15"/>
                    <a:pt x="0" y="13"/>
                    <a:pt x="2" y="12"/>
                  </a:cubicBezTo>
                  <a:cubicBezTo>
                    <a:pt x="3" y="11"/>
                    <a:pt x="5" y="9"/>
                    <a:pt x="6" y="9"/>
                  </a:cubicBezTo>
                  <a:cubicBezTo>
                    <a:pt x="7" y="9"/>
                    <a:pt x="12" y="8"/>
                    <a:pt x="13" y="7"/>
                  </a:cubicBezTo>
                  <a:cubicBezTo>
                    <a:pt x="13" y="6"/>
                    <a:pt x="13" y="4"/>
                    <a:pt x="15" y="3"/>
                  </a:cubicBezTo>
                  <a:cubicBezTo>
                    <a:pt x="16" y="2"/>
                    <a:pt x="25" y="0"/>
                    <a:pt x="27" y="1"/>
                  </a:cubicBezTo>
                  <a:cubicBezTo>
                    <a:pt x="29" y="1"/>
                    <a:pt x="37" y="2"/>
                    <a:pt x="39" y="2"/>
                  </a:cubicBezTo>
                  <a:cubicBezTo>
                    <a:pt x="41" y="2"/>
                    <a:pt x="47" y="3"/>
                    <a:pt x="47" y="2"/>
                  </a:cubicBezTo>
                  <a:cubicBezTo>
                    <a:pt x="43" y="13"/>
                    <a:pt x="43" y="13"/>
                    <a:pt x="43" y="13"/>
                  </a:cubicBezTo>
                  <a:cubicBezTo>
                    <a:pt x="42" y="16"/>
                    <a:pt x="43" y="22"/>
                    <a:pt x="44" y="23"/>
                  </a:cubicBezTo>
                  <a:cubicBezTo>
                    <a:pt x="44" y="23"/>
                    <a:pt x="38" y="23"/>
                    <a:pt x="35" y="23"/>
                  </a:cubicBezTo>
                  <a:cubicBezTo>
                    <a:pt x="33" y="23"/>
                    <a:pt x="31" y="18"/>
                    <a:pt x="29" y="18"/>
                  </a:cubicBezTo>
                  <a:cubicBezTo>
                    <a:pt x="26" y="18"/>
                    <a:pt x="21" y="18"/>
                    <a:pt x="21" y="18"/>
                  </a:cubicBezTo>
                  <a:cubicBezTo>
                    <a:pt x="21" y="18"/>
                    <a:pt x="21" y="18"/>
                    <a:pt x="21" y="18"/>
                  </a:cubicBezTo>
                  <a:cubicBezTo>
                    <a:pt x="21" y="17"/>
                    <a:pt x="21" y="15"/>
                    <a:pt x="21" y="14"/>
                  </a:cubicBezTo>
                  <a:cubicBezTo>
                    <a:pt x="21" y="13"/>
                    <a:pt x="18" y="14"/>
                    <a:pt x="17" y="13"/>
                  </a:cubicBezTo>
                  <a:cubicBezTo>
                    <a:pt x="15" y="13"/>
                    <a:pt x="13" y="12"/>
                    <a:pt x="12" y="13"/>
                  </a:cubicBezTo>
                  <a:cubicBezTo>
                    <a:pt x="10" y="13"/>
                    <a:pt x="4" y="17"/>
                    <a:pt x="2" y="1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 name="Freeform 272"/>
            <p:cNvSpPr>
              <a:spLocks/>
            </p:cNvSpPr>
            <p:nvPr>
              <p:custDataLst>
                <p:tags r:id="rId190"/>
              </p:custDataLst>
            </p:nvPr>
          </p:nvSpPr>
          <p:spPr bwMode="auto">
            <a:xfrm>
              <a:off x="3006" y="1861"/>
              <a:ext cx="75" cy="47"/>
            </a:xfrm>
            <a:custGeom>
              <a:avLst/>
              <a:gdLst>
                <a:gd name="T0" fmla="*/ 0 w 43"/>
                <a:gd name="T1" fmla="*/ 5739 h 26"/>
                <a:gd name="T2" fmla="*/ 22151 w 43"/>
                <a:gd name="T3" fmla="*/ 0 h 26"/>
                <a:gd name="T4" fmla="*/ 69223 w 43"/>
                <a:gd name="T5" fmla="*/ 5739 h 26"/>
                <a:gd name="T6" fmla="*/ 102450 w 43"/>
                <a:gd name="T7" fmla="*/ 11479 h 26"/>
                <a:gd name="T8" fmla="*/ 119063 w 43"/>
                <a:gd name="T9" fmla="*/ 22958 h 26"/>
                <a:gd name="T10" fmla="*/ 116294 w 43"/>
                <a:gd name="T11" fmla="*/ 40176 h 26"/>
                <a:gd name="T12" fmla="*/ 102450 w 43"/>
                <a:gd name="T13" fmla="*/ 45916 h 26"/>
                <a:gd name="T14" fmla="*/ 96912 w 43"/>
                <a:gd name="T15" fmla="*/ 60264 h 26"/>
                <a:gd name="T16" fmla="*/ 80298 w 43"/>
                <a:gd name="T17" fmla="*/ 71743 h 26"/>
                <a:gd name="T18" fmla="*/ 52609 w 43"/>
                <a:gd name="T19" fmla="*/ 74613 h 26"/>
                <a:gd name="T20" fmla="*/ 52609 w 43"/>
                <a:gd name="T21" fmla="*/ 68874 h 26"/>
                <a:gd name="T22" fmla="*/ 38765 w 43"/>
                <a:gd name="T23" fmla="*/ 60264 h 26"/>
                <a:gd name="T24" fmla="*/ 38765 w 43"/>
                <a:gd name="T25" fmla="*/ 43046 h 26"/>
                <a:gd name="T26" fmla="*/ 2769 w 43"/>
                <a:gd name="T27" fmla="*/ 25828 h 26"/>
                <a:gd name="T28" fmla="*/ 0 w 43"/>
                <a:gd name="T29" fmla="*/ 5739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3" h="26">
                  <a:moveTo>
                    <a:pt x="0" y="2"/>
                  </a:moveTo>
                  <a:cubicBezTo>
                    <a:pt x="0" y="2"/>
                    <a:pt x="5" y="0"/>
                    <a:pt x="8" y="0"/>
                  </a:cubicBezTo>
                  <a:cubicBezTo>
                    <a:pt x="10" y="0"/>
                    <a:pt x="23" y="2"/>
                    <a:pt x="25" y="2"/>
                  </a:cubicBezTo>
                  <a:cubicBezTo>
                    <a:pt x="26" y="2"/>
                    <a:pt x="35" y="4"/>
                    <a:pt x="37" y="4"/>
                  </a:cubicBezTo>
                  <a:cubicBezTo>
                    <a:pt x="39" y="4"/>
                    <a:pt x="41" y="8"/>
                    <a:pt x="43" y="8"/>
                  </a:cubicBezTo>
                  <a:cubicBezTo>
                    <a:pt x="42" y="14"/>
                    <a:pt x="42" y="14"/>
                    <a:pt x="42" y="14"/>
                  </a:cubicBezTo>
                  <a:cubicBezTo>
                    <a:pt x="37" y="16"/>
                    <a:pt x="37" y="16"/>
                    <a:pt x="37" y="16"/>
                  </a:cubicBezTo>
                  <a:cubicBezTo>
                    <a:pt x="37" y="16"/>
                    <a:pt x="36" y="20"/>
                    <a:pt x="35" y="21"/>
                  </a:cubicBezTo>
                  <a:cubicBezTo>
                    <a:pt x="34" y="22"/>
                    <a:pt x="30" y="23"/>
                    <a:pt x="29" y="25"/>
                  </a:cubicBezTo>
                  <a:cubicBezTo>
                    <a:pt x="27" y="26"/>
                    <a:pt x="19" y="26"/>
                    <a:pt x="19" y="26"/>
                  </a:cubicBezTo>
                  <a:cubicBezTo>
                    <a:pt x="19" y="25"/>
                    <a:pt x="19" y="25"/>
                    <a:pt x="19" y="24"/>
                  </a:cubicBezTo>
                  <a:cubicBezTo>
                    <a:pt x="19" y="23"/>
                    <a:pt x="15" y="21"/>
                    <a:pt x="14" y="21"/>
                  </a:cubicBezTo>
                  <a:cubicBezTo>
                    <a:pt x="14" y="21"/>
                    <a:pt x="15" y="16"/>
                    <a:pt x="14" y="15"/>
                  </a:cubicBezTo>
                  <a:cubicBezTo>
                    <a:pt x="13" y="14"/>
                    <a:pt x="1" y="9"/>
                    <a:pt x="1" y="9"/>
                  </a:cubicBezTo>
                  <a:cubicBezTo>
                    <a:pt x="1" y="8"/>
                    <a:pt x="0" y="5"/>
                    <a:pt x="0"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2" name="Freeform 273"/>
            <p:cNvSpPr>
              <a:spLocks/>
            </p:cNvSpPr>
            <p:nvPr>
              <p:custDataLst>
                <p:tags r:id="rId191"/>
              </p:custDataLst>
            </p:nvPr>
          </p:nvSpPr>
          <p:spPr bwMode="auto">
            <a:xfrm>
              <a:off x="3006" y="1828"/>
              <a:ext cx="93" cy="47"/>
            </a:xfrm>
            <a:custGeom>
              <a:avLst/>
              <a:gdLst>
                <a:gd name="T0" fmla="*/ 0 w 54"/>
                <a:gd name="T1" fmla="*/ 40176 h 26"/>
                <a:gd name="T2" fmla="*/ 8202 w 54"/>
                <a:gd name="T3" fmla="*/ 28697 h 26"/>
                <a:gd name="T4" fmla="*/ 13670 w 54"/>
                <a:gd name="T5" fmla="*/ 14349 h 26"/>
                <a:gd name="T6" fmla="*/ 30074 w 54"/>
                <a:gd name="T7" fmla="*/ 11479 h 26"/>
                <a:gd name="T8" fmla="*/ 43745 w 54"/>
                <a:gd name="T9" fmla="*/ 22958 h 26"/>
                <a:gd name="T10" fmla="*/ 57415 w 54"/>
                <a:gd name="T11" fmla="*/ 34437 h 26"/>
                <a:gd name="T12" fmla="*/ 73819 w 54"/>
                <a:gd name="T13" fmla="*/ 14349 h 26"/>
                <a:gd name="T14" fmla="*/ 73819 w 54"/>
                <a:gd name="T15" fmla="*/ 0 h 26"/>
                <a:gd name="T16" fmla="*/ 73819 w 54"/>
                <a:gd name="T17" fmla="*/ 0 h 26"/>
                <a:gd name="T18" fmla="*/ 95691 w 54"/>
                <a:gd name="T19" fmla="*/ 0 h 26"/>
                <a:gd name="T20" fmla="*/ 112096 w 54"/>
                <a:gd name="T21" fmla="*/ 14349 h 26"/>
                <a:gd name="T22" fmla="*/ 136702 w 54"/>
                <a:gd name="T23" fmla="*/ 14349 h 26"/>
                <a:gd name="T24" fmla="*/ 142170 w 54"/>
                <a:gd name="T25" fmla="*/ 37307 h 26"/>
                <a:gd name="T26" fmla="*/ 147638 w 54"/>
                <a:gd name="T27" fmla="*/ 60264 h 26"/>
                <a:gd name="T28" fmla="*/ 117564 w 54"/>
                <a:gd name="T29" fmla="*/ 74613 h 26"/>
                <a:gd name="T30" fmla="*/ 101159 w 54"/>
                <a:gd name="T31" fmla="*/ 63134 h 26"/>
                <a:gd name="T32" fmla="*/ 68351 w 54"/>
                <a:gd name="T33" fmla="*/ 57395 h 26"/>
                <a:gd name="T34" fmla="*/ 21872 w 54"/>
                <a:gd name="T35" fmla="*/ 51655 h 26"/>
                <a:gd name="T36" fmla="*/ 0 w 54"/>
                <a:gd name="T37" fmla="*/ 57395 h 26"/>
                <a:gd name="T38" fmla="*/ 0 w 54"/>
                <a:gd name="T39" fmla="*/ 40176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4" h="26">
                  <a:moveTo>
                    <a:pt x="0" y="14"/>
                  </a:moveTo>
                  <a:cubicBezTo>
                    <a:pt x="1" y="12"/>
                    <a:pt x="3" y="12"/>
                    <a:pt x="3" y="10"/>
                  </a:cubicBezTo>
                  <a:cubicBezTo>
                    <a:pt x="3" y="9"/>
                    <a:pt x="4" y="5"/>
                    <a:pt x="5" y="5"/>
                  </a:cubicBezTo>
                  <a:cubicBezTo>
                    <a:pt x="6" y="5"/>
                    <a:pt x="10" y="3"/>
                    <a:pt x="11" y="4"/>
                  </a:cubicBezTo>
                  <a:cubicBezTo>
                    <a:pt x="12" y="4"/>
                    <a:pt x="16" y="7"/>
                    <a:pt x="16" y="8"/>
                  </a:cubicBezTo>
                  <a:cubicBezTo>
                    <a:pt x="16" y="9"/>
                    <a:pt x="19" y="12"/>
                    <a:pt x="21" y="12"/>
                  </a:cubicBezTo>
                  <a:cubicBezTo>
                    <a:pt x="23" y="12"/>
                    <a:pt x="27" y="7"/>
                    <a:pt x="27" y="5"/>
                  </a:cubicBezTo>
                  <a:cubicBezTo>
                    <a:pt x="27" y="5"/>
                    <a:pt x="27" y="2"/>
                    <a:pt x="27" y="0"/>
                  </a:cubicBezTo>
                  <a:cubicBezTo>
                    <a:pt x="27" y="0"/>
                    <a:pt x="27" y="0"/>
                    <a:pt x="27" y="0"/>
                  </a:cubicBezTo>
                  <a:cubicBezTo>
                    <a:pt x="27" y="0"/>
                    <a:pt x="32" y="0"/>
                    <a:pt x="35" y="0"/>
                  </a:cubicBezTo>
                  <a:cubicBezTo>
                    <a:pt x="37" y="0"/>
                    <a:pt x="39" y="5"/>
                    <a:pt x="41" y="5"/>
                  </a:cubicBezTo>
                  <a:cubicBezTo>
                    <a:pt x="44" y="5"/>
                    <a:pt x="50" y="5"/>
                    <a:pt x="50" y="5"/>
                  </a:cubicBezTo>
                  <a:cubicBezTo>
                    <a:pt x="51" y="5"/>
                    <a:pt x="52" y="11"/>
                    <a:pt x="52" y="13"/>
                  </a:cubicBezTo>
                  <a:cubicBezTo>
                    <a:pt x="53" y="15"/>
                    <a:pt x="53" y="21"/>
                    <a:pt x="54" y="21"/>
                  </a:cubicBezTo>
                  <a:cubicBezTo>
                    <a:pt x="54" y="21"/>
                    <a:pt x="45" y="26"/>
                    <a:pt x="43" y="26"/>
                  </a:cubicBezTo>
                  <a:cubicBezTo>
                    <a:pt x="41" y="26"/>
                    <a:pt x="39" y="22"/>
                    <a:pt x="37" y="22"/>
                  </a:cubicBezTo>
                  <a:cubicBezTo>
                    <a:pt x="35" y="22"/>
                    <a:pt x="26" y="20"/>
                    <a:pt x="25" y="20"/>
                  </a:cubicBezTo>
                  <a:cubicBezTo>
                    <a:pt x="23" y="20"/>
                    <a:pt x="10" y="18"/>
                    <a:pt x="8" y="18"/>
                  </a:cubicBezTo>
                  <a:cubicBezTo>
                    <a:pt x="5" y="18"/>
                    <a:pt x="0" y="20"/>
                    <a:pt x="0" y="20"/>
                  </a:cubicBezTo>
                  <a:cubicBezTo>
                    <a:pt x="0" y="17"/>
                    <a:pt x="0" y="15"/>
                    <a:pt x="0" y="1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3" name="Freeform 274"/>
            <p:cNvSpPr>
              <a:spLocks/>
            </p:cNvSpPr>
            <p:nvPr>
              <p:custDataLst>
                <p:tags r:id="rId192"/>
              </p:custDataLst>
            </p:nvPr>
          </p:nvSpPr>
          <p:spPr bwMode="auto">
            <a:xfrm>
              <a:off x="3001" y="1562"/>
              <a:ext cx="143" cy="227"/>
            </a:xfrm>
            <a:custGeom>
              <a:avLst/>
              <a:gdLst>
                <a:gd name="T0" fmla="*/ 19146 w 83"/>
                <a:gd name="T1" fmla="*/ 58123 h 124"/>
                <a:gd name="T2" fmla="*/ 0 w 83"/>
                <a:gd name="T3" fmla="*/ 29062 h 124"/>
                <a:gd name="T4" fmla="*/ 10940 w 83"/>
                <a:gd name="T5" fmla="*/ 23249 h 124"/>
                <a:gd name="T6" fmla="*/ 41026 w 83"/>
                <a:gd name="T7" fmla="*/ 40686 h 124"/>
                <a:gd name="T8" fmla="*/ 68377 w 83"/>
                <a:gd name="T9" fmla="*/ 40686 h 124"/>
                <a:gd name="T10" fmla="*/ 92993 w 83"/>
                <a:gd name="T11" fmla="*/ 46498 h 124"/>
                <a:gd name="T12" fmla="*/ 106669 w 83"/>
                <a:gd name="T13" fmla="*/ 29062 h 124"/>
                <a:gd name="T14" fmla="*/ 120344 w 83"/>
                <a:gd name="T15" fmla="*/ 5812 h 124"/>
                <a:gd name="T16" fmla="*/ 142225 w 83"/>
                <a:gd name="T17" fmla="*/ 0 h 124"/>
                <a:gd name="T18" fmla="*/ 158636 w 83"/>
                <a:gd name="T19" fmla="*/ 5812 h 124"/>
                <a:gd name="T20" fmla="*/ 169576 w 83"/>
                <a:gd name="T21" fmla="*/ 17437 h 124"/>
                <a:gd name="T22" fmla="*/ 166841 w 83"/>
                <a:gd name="T23" fmla="*/ 34874 h 124"/>
                <a:gd name="T24" fmla="*/ 172311 w 83"/>
                <a:gd name="T25" fmla="*/ 37780 h 124"/>
                <a:gd name="T26" fmla="*/ 166841 w 83"/>
                <a:gd name="T27" fmla="*/ 52311 h 124"/>
                <a:gd name="T28" fmla="*/ 169576 w 83"/>
                <a:gd name="T29" fmla="*/ 66842 h 124"/>
                <a:gd name="T30" fmla="*/ 194192 w 83"/>
                <a:gd name="T31" fmla="*/ 84278 h 124"/>
                <a:gd name="T32" fmla="*/ 177781 w 83"/>
                <a:gd name="T33" fmla="*/ 113340 h 124"/>
                <a:gd name="T34" fmla="*/ 191457 w 83"/>
                <a:gd name="T35" fmla="*/ 139495 h 124"/>
                <a:gd name="T36" fmla="*/ 194192 w 83"/>
                <a:gd name="T37" fmla="*/ 162745 h 124"/>
                <a:gd name="T38" fmla="*/ 188722 w 83"/>
                <a:gd name="T39" fmla="*/ 191806 h 124"/>
                <a:gd name="T40" fmla="*/ 205132 w 83"/>
                <a:gd name="T41" fmla="*/ 209243 h 124"/>
                <a:gd name="T42" fmla="*/ 196927 w 83"/>
                <a:gd name="T43" fmla="*/ 229586 h 124"/>
                <a:gd name="T44" fmla="*/ 216073 w 83"/>
                <a:gd name="T45" fmla="*/ 244117 h 124"/>
                <a:gd name="T46" fmla="*/ 224278 w 83"/>
                <a:gd name="T47" fmla="*/ 264460 h 124"/>
                <a:gd name="T48" fmla="*/ 172311 w 83"/>
                <a:gd name="T49" fmla="*/ 316771 h 124"/>
                <a:gd name="T50" fmla="*/ 161371 w 83"/>
                <a:gd name="T51" fmla="*/ 331301 h 124"/>
                <a:gd name="T52" fmla="*/ 161371 w 83"/>
                <a:gd name="T53" fmla="*/ 331301 h 124"/>
                <a:gd name="T54" fmla="*/ 150430 w 83"/>
                <a:gd name="T55" fmla="*/ 337114 h 124"/>
                <a:gd name="T56" fmla="*/ 103934 w 83"/>
                <a:gd name="T57" fmla="*/ 345832 h 124"/>
                <a:gd name="T58" fmla="*/ 51967 w 83"/>
                <a:gd name="T59" fmla="*/ 357457 h 124"/>
                <a:gd name="T60" fmla="*/ 38291 w 83"/>
                <a:gd name="T61" fmla="*/ 345832 h 124"/>
                <a:gd name="T62" fmla="*/ 16411 w 83"/>
                <a:gd name="T63" fmla="*/ 342926 h 124"/>
                <a:gd name="T64" fmla="*/ 10940 w 83"/>
                <a:gd name="T65" fmla="*/ 334208 h 124"/>
                <a:gd name="T66" fmla="*/ 19146 w 83"/>
                <a:gd name="T67" fmla="*/ 302240 h 124"/>
                <a:gd name="T68" fmla="*/ 10940 w 83"/>
                <a:gd name="T69" fmla="*/ 273178 h 124"/>
                <a:gd name="T70" fmla="*/ 13675 w 83"/>
                <a:gd name="T71" fmla="*/ 252835 h 124"/>
                <a:gd name="T72" fmla="*/ 41026 w 83"/>
                <a:gd name="T73" fmla="*/ 232492 h 124"/>
                <a:gd name="T74" fmla="*/ 71113 w 83"/>
                <a:gd name="T75" fmla="*/ 206337 h 124"/>
                <a:gd name="T76" fmla="*/ 84788 w 83"/>
                <a:gd name="T77" fmla="*/ 191806 h 124"/>
                <a:gd name="T78" fmla="*/ 101199 w 83"/>
                <a:gd name="T79" fmla="*/ 188900 h 124"/>
                <a:gd name="T80" fmla="*/ 98463 w 83"/>
                <a:gd name="T81" fmla="*/ 162745 h 124"/>
                <a:gd name="T82" fmla="*/ 65642 w 83"/>
                <a:gd name="T83" fmla="*/ 154026 h 124"/>
                <a:gd name="T84" fmla="*/ 65642 w 83"/>
                <a:gd name="T85" fmla="*/ 154026 h 124"/>
                <a:gd name="T86" fmla="*/ 68377 w 83"/>
                <a:gd name="T87" fmla="*/ 130777 h 124"/>
                <a:gd name="T88" fmla="*/ 62907 w 83"/>
                <a:gd name="T89" fmla="*/ 98809 h 124"/>
                <a:gd name="T90" fmla="*/ 54702 w 83"/>
                <a:gd name="T91" fmla="*/ 72654 h 124"/>
                <a:gd name="T92" fmla="*/ 19146 w 83"/>
                <a:gd name="T93" fmla="*/ 58123 h 1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3" h="124">
                  <a:moveTo>
                    <a:pt x="7" y="20"/>
                  </a:moveTo>
                  <a:cubicBezTo>
                    <a:pt x="0" y="10"/>
                    <a:pt x="0" y="10"/>
                    <a:pt x="0" y="10"/>
                  </a:cubicBezTo>
                  <a:cubicBezTo>
                    <a:pt x="2" y="9"/>
                    <a:pt x="4" y="8"/>
                    <a:pt x="4" y="8"/>
                  </a:cubicBezTo>
                  <a:cubicBezTo>
                    <a:pt x="6" y="8"/>
                    <a:pt x="13" y="14"/>
                    <a:pt x="15" y="14"/>
                  </a:cubicBezTo>
                  <a:cubicBezTo>
                    <a:pt x="17" y="15"/>
                    <a:pt x="23" y="14"/>
                    <a:pt x="25" y="14"/>
                  </a:cubicBezTo>
                  <a:cubicBezTo>
                    <a:pt x="26" y="14"/>
                    <a:pt x="33" y="18"/>
                    <a:pt x="34" y="16"/>
                  </a:cubicBezTo>
                  <a:cubicBezTo>
                    <a:pt x="36" y="14"/>
                    <a:pt x="39" y="12"/>
                    <a:pt x="39" y="10"/>
                  </a:cubicBezTo>
                  <a:cubicBezTo>
                    <a:pt x="39" y="8"/>
                    <a:pt x="43" y="3"/>
                    <a:pt x="44" y="2"/>
                  </a:cubicBezTo>
                  <a:cubicBezTo>
                    <a:pt x="44" y="1"/>
                    <a:pt x="51" y="0"/>
                    <a:pt x="52" y="0"/>
                  </a:cubicBezTo>
                  <a:cubicBezTo>
                    <a:pt x="53" y="0"/>
                    <a:pt x="56" y="1"/>
                    <a:pt x="58" y="2"/>
                  </a:cubicBezTo>
                  <a:cubicBezTo>
                    <a:pt x="60" y="3"/>
                    <a:pt x="62" y="4"/>
                    <a:pt x="62" y="6"/>
                  </a:cubicBezTo>
                  <a:cubicBezTo>
                    <a:pt x="62" y="8"/>
                    <a:pt x="59" y="11"/>
                    <a:pt x="61" y="12"/>
                  </a:cubicBezTo>
                  <a:cubicBezTo>
                    <a:pt x="62" y="12"/>
                    <a:pt x="62" y="12"/>
                    <a:pt x="63" y="13"/>
                  </a:cubicBezTo>
                  <a:cubicBezTo>
                    <a:pt x="61" y="18"/>
                    <a:pt x="61" y="18"/>
                    <a:pt x="61" y="18"/>
                  </a:cubicBezTo>
                  <a:cubicBezTo>
                    <a:pt x="61" y="18"/>
                    <a:pt x="61" y="21"/>
                    <a:pt x="62" y="23"/>
                  </a:cubicBezTo>
                  <a:cubicBezTo>
                    <a:pt x="64" y="25"/>
                    <a:pt x="71" y="27"/>
                    <a:pt x="71" y="29"/>
                  </a:cubicBezTo>
                  <a:cubicBezTo>
                    <a:pt x="71" y="32"/>
                    <a:pt x="65" y="36"/>
                    <a:pt x="65" y="39"/>
                  </a:cubicBezTo>
                  <a:cubicBezTo>
                    <a:pt x="64" y="42"/>
                    <a:pt x="69" y="45"/>
                    <a:pt x="70" y="48"/>
                  </a:cubicBezTo>
                  <a:cubicBezTo>
                    <a:pt x="71" y="50"/>
                    <a:pt x="71" y="54"/>
                    <a:pt x="71" y="56"/>
                  </a:cubicBezTo>
                  <a:cubicBezTo>
                    <a:pt x="71" y="59"/>
                    <a:pt x="70" y="62"/>
                    <a:pt x="69" y="66"/>
                  </a:cubicBezTo>
                  <a:cubicBezTo>
                    <a:pt x="69" y="69"/>
                    <a:pt x="74" y="70"/>
                    <a:pt x="75" y="72"/>
                  </a:cubicBezTo>
                  <a:cubicBezTo>
                    <a:pt x="76" y="74"/>
                    <a:pt x="71" y="78"/>
                    <a:pt x="72" y="79"/>
                  </a:cubicBezTo>
                  <a:cubicBezTo>
                    <a:pt x="72" y="81"/>
                    <a:pt x="77" y="83"/>
                    <a:pt x="79" y="84"/>
                  </a:cubicBezTo>
                  <a:cubicBezTo>
                    <a:pt x="82" y="85"/>
                    <a:pt x="83" y="88"/>
                    <a:pt x="82" y="91"/>
                  </a:cubicBezTo>
                  <a:cubicBezTo>
                    <a:pt x="81" y="94"/>
                    <a:pt x="65" y="107"/>
                    <a:pt x="63" y="109"/>
                  </a:cubicBezTo>
                  <a:cubicBezTo>
                    <a:pt x="59" y="114"/>
                    <a:pt x="59" y="114"/>
                    <a:pt x="59" y="114"/>
                  </a:cubicBezTo>
                  <a:cubicBezTo>
                    <a:pt x="59" y="114"/>
                    <a:pt x="59" y="114"/>
                    <a:pt x="59" y="114"/>
                  </a:cubicBezTo>
                  <a:cubicBezTo>
                    <a:pt x="58" y="115"/>
                    <a:pt x="56" y="116"/>
                    <a:pt x="55" y="116"/>
                  </a:cubicBezTo>
                  <a:cubicBezTo>
                    <a:pt x="53" y="116"/>
                    <a:pt x="40" y="119"/>
                    <a:pt x="38" y="119"/>
                  </a:cubicBezTo>
                  <a:cubicBezTo>
                    <a:pt x="36" y="119"/>
                    <a:pt x="20" y="124"/>
                    <a:pt x="19" y="123"/>
                  </a:cubicBezTo>
                  <a:cubicBezTo>
                    <a:pt x="17" y="122"/>
                    <a:pt x="16" y="120"/>
                    <a:pt x="14" y="119"/>
                  </a:cubicBezTo>
                  <a:cubicBezTo>
                    <a:pt x="13" y="118"/>
                    <a:pt x="8" y="118"/>
                    <a:pt x="6" y="118"/>
                  </a:cubicBezTo>
                  <a:cubicBezTo>
                    <a:pt x="4" y="118"/>
                    <a:pt x="4" y="116"/>
                    <a:pt x="4" y="115"/>
                  </a:cubicBezTo>
                  <a:cubicBezTo>
                    <a:pt x="5" y="113"/>
                    <a:pt x="7" y="106"/>
                    <a:pt x="7" y="104"/>
                  </a:cubicBezTo>
                  <a:cubicBezTo>
                    <a:pt x="6" y="102"/>
                    <a:pt x="5" y="97"/>
                    <a:pt x="4" y="94"/>
                  </a:cubicBezTo>
                  <a:cubicBezTo>
                    <a:pt x="4" y="92"/>
                    <a:pt x="4" y="87"/>
                    <a:pt x="5" y="87"/>
                  </a:cubicBezTo>
                  <a:cubicBezTo>
                    <a:pt x="6" y="86"/>
                    <a:pt x="13" y="81"/>
                    <a:pt x="15" y="80"/>
                  </a:cubicBezTo>
                  <a:cubicBezTo>
                    <a:pt x="16" y="79"/>
                    <a:pt x="24" y="72"/>
                    <a:pt x="26" y="71"/>
                  </a:cubicBezTo>
                  <a:cubicBezTo>
                    <a:pt x="27" y="70"/>
                    <a:pt x="30" y="66"/>
                    <a:pt x="31" y="66"/>
                  </a:cubicBezTo>
                  <a:cubicBezTo>
                    <a:pt x="32" y="65"/>
                    <a:pt x="36" y="67"/>
                    <a:pt x="37" y="65"/>
                  </a:cubicBezTo>
                  <a:cubicBezTo>
                    <a:pt x="38" y="63"/>
                    <a:pt x="37" y="58"/>
                    <a:pt x="36" y="56"/>
                  </a:cubicBezTo>
                  <a:cubicBezTo>
                    <a:pt x="35" y="55"/>
                    <a:pt x="28" y="53"/>
                    <a:pt x="24" y="53"/>
                  </a:cubicBezTo>
                  <a:cubicBezTo>
                    <a:pt x="24" y="53"/>
                    <a:pt x="24" y="53"/>
                    <a:pt x="24" y="53"/>
                  </a:cubicBezTo>
                  <a:cubicBezTo>
                    <a:pt x="24" y="52"/>
                    <a:pt x="25" y="47"/>
                    <a:pt x="25" y="45"/>
                  </a:cubicBezTo>
                  <a:cubicBezTo>
                    <a:pt x="25" y="43"/>
                    <a:pt x="24" y="36"/>
                    <a:pt x="23" y="34"/>
                  </a:cubicBezTo>
                  <a:cubicBezTo>
                    <a:pt x="21" y="32"/>
                    <a:pt x="23" y="27"/>
                    <a:pt x="20" y="25"/>
                  </a:cubicBezTo>
                  <a:cubicBezTo>
                    <a:pt x="17" y="23"/>
                    <a:pt x="8" y="21"/>
                    <a:pt x="7" y="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 name="Freeform 275"/>
            <p:cNvSpPr>
              <a:spLocks/>
            </p:cNvSpPr>
            <p:nvPr>
              <p:custDataLst>
                <p:tags r:id="rId193"/>
              </p:custDataLst>
            </p:nvPr>
          </p:nvSpPr>
          <p:spPr bwMode="auto">
            <a:xfrm>
              <a:off x="2916" y="1890"/>
              <a:ext cx="132" cy="109"/>
            </a:xfrm>
            <a:custGeom>
              <a:avLst/>
              <a:gdLst>
                <a:gd name="T0" fmla="*/ 43543 w 77"/>
                <a:gd name="T1" fmla="*/ 17304 h 60"/>
                <a:gd name="T2" fmla="*/ 84364 w 77"/>
                <a:gd name="T3" fmla="*/ 0 h 60"/>
                <a:gd name="T4" fmla="*/ 95250 w 77"/>
                <a:gd name="T5" fmla="*/ 17304 h 60"/>
                <a:gd name="T6" fmla="*/ 117021 w 77"/>
                <a:gd name="T7" fmla="*/ 8652 h 60"/>
                <a:gd name="T8" fmla="*/ 119743 w 77"/>
                <a:gd name="T9" fmla="*/ 17304 h 60"/>
                <a:gd name="T10" fmla="*/ 182336 w 77"/>
                <a:gd name="T11" fmla="*/ 14420 h 60"/>
                <a:gd name="T12" fmla="*/ 195943 w 77"/>
                <a:gd name="T13" fmla="*/ 23072 h 60"/>
                <a:gd name="T14" fmla="*/ 195943 w 77"/>
                <a:gd name="T15" fmla="*/ 28840 h 60"/>
                <a:gd name="T16" fmla="*/ 204107 w 77"/>
                <a:gd name="T17" fmla="*/ 54795 h 60"/>
                <a:gd name="T18" fmla="*/ 187779 w 77"/>
                <a:gd name="T19" fmla="*/ 77867 h 60"/>
                <a:gd name="T20" fmla="*/ 201386 w 77"/>
                <a:gd name="T21" fmla="*/ 86519 h 60"/>
                <a:gd name="T22" fmla="*/ 198664 w 77"/>
                <a:gd name="T23" fmla="*/ 100939 h 60"/>
                <a:gd name="T24" fmla="*/ 198664 w 77"/>
                <a:gd name="T25" fmla="*/ 103823 h 60"/>
                <a:gd name="T26" fmla="*/ 209550 w 77"/>
                <a:gd name="T27" fmla="*/ 126895 h 60"/>
                <a:gd name="T28" fmla="*/ 198664 w 77"/>
                <a:gd name="T29" fmla="*/ 135546 h 60"/>
                <a:gd name="T30" fmla="*/ 182336 w 77"/>
                <a:gd name="T31" fmla="*/ 152850 h 60"/>
                <a:gd name="T32" fmla="*/ 185057 w 77"/>
                <a:gd name="T33" fmla="*/ 170154 h 60"/>
                <a:gd name="T34" fmla="*/ 176893 w 77"/>
                <a:gd name="T35" fmla="*/ 173038 h 60"/>
                <a:gd name="T36" fmla="*/ 163286 w 77"/>
                <a:gd name="T37" fmla="*/ 161502 h 60"/>
                <a:gd name="T38" fmla="*/ 146957 w 77"/>
                <a:gd name="T39" fmla="*/ 158618 h 60"/>
                <a:gd name="T40" fmla="*/ 122464 w 77"/>
                <a:gd name="T41" fmla="*/ 164386 h 60"/>
                <a:gd name="T42" fmla="*/ 111579 w 77"/>
                <a:gd name="T43" fmla="*/ 158618 h 60"/>
                <a:gd name="T44" fmla="*/ 97971 w 77"/>
                <a:gd name="T45" fmla="*/ 155734 h 60"/>
                <a:gd name="T46" fmla="*/ 92529 w 77"/>
                <a:gd name="T47" fmla="*/ 144198 h 60"/>
                <a:gd name="T48" fmla="*/ 76200 w 77"/>
                <a:gd name="T49" fmla="*/ 141314 h 60"/>
                <a:gd name="T50" fmla="*/ 59871 w 77"/>
                <a:gd name="T51" fmla="*/ 135546 h 60"/>
                <a:gd name="T52" fmla="*/ 51707 w 77"/>
                <a:gd name="T53" fmla="*/ 141314 h 60"/>
                <a:gd name="T54" fmla="*/ 43543 w 77"/>
                <a:gd name="T55" fmla="*/ 126895 h 60"/>
                <a:gd name="T56" fmla="*/ 27214 w 77"/>
                <a:gd name="T57" fmla="*/ 118243 h 60"/>
                <a:gd name="T58" fmla="*/ 19050 w 77"/>
                <a:gd name="T59" fmla="*/ 112475 h 60"/>
                <a:gd name="T60" fmla="*/ 19050 w 77"/>
                <a:gd name="T61" fmla="*/ 106707 h 60"/>
                <a:gd name="T62" fmla="*/ 10886 w 77"/>
                <a:gd name="T63" fmla="*/ 86519 h 60"/>
                <a:gd name="T64" fmla="*/ 10886 w 77"/>
                <a:gd name="T65" fmla="*/ 69215 h 60"/>
                <a:gd name="T66" fmla="*/ 0 w 77"/>
                <a:gd name="T67" fmla="*/ 57679 h 60"/>
                <a:gd name="T68" fmla="*/ 5443 w 77"/>
                <a:gd name="T69" fmla="*/ 43260 h 60"/>
                <a:gd name="T70" fmla="*/ 2721 w 77"/>
                <a:gd name="T71" fmla="*/ 28840 h 60"/>
                <a:gd name="T72" fmla="*/ 43543 w 77"/>
                <a:gd name="T73" fmla="*/ 17304 h 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7" h="60">
                  <a:moveTo>
                    <a:pt x="16" y="6"/>
                  </a:moveTo>
                  <a:cubicBezTo>
                    <a:pt x="17" y="5"/>
                    <a:pt x="29" y="0"/>
                    <a:pt x="31" y="0"/>
                  </a:cubicBezTo>
                  <a:cubicBezTo>
                    <a:pt x="33" y="0"/>
                    <a:pt x="34" y="6"/>
                    <a:pt x="35" y="6"/>
                  </a:cubicBezTo>
                  <a:cubicBezTo>
                    <a:pt x="36" y="6"/>
                    <a:pt x="39" y="4"/>
                    <a:pt x="43" y="3"/>
                  </a:cubicBezTo>
                  <a:cubicBezTo>
                    <a:pt x="43" y="3"/>
                    <a:pt x="44" y="5"/>
                    <a:pt x="44" y="6"/>
                  </a:cubicBezTo>
                  <a:cubicBezTo>
                    <a:pt x="46" y="6"/>
                    <a:pt x="66" y="5"/>
                    <a:pt x="67" y="5"/>
                  </a:cubicBezTo>
                  <a:cubicBezTo>
                    <a:pt x="68" y="5"/>
                    <a:pt x="72" y="7"/>
                    <a:pt x="72" y="8"/>
                  </a:cubicBezTo>
                  <a:cubicBezTo>
                    <a:pt x="72" y="9"/>
                    <a:pt x="72" y="9"/>
                    <a:pt x="72" y="10"/>
                  </a:cubicBezTo>
                  <a:cubicBezTo>
                    <a:pt x="73" y="13"/>
                    <a:pt x="75" y="18"/>
                    <a:pt x="75" y="19"/>
                  </a:cubicBezTo>
                  <a:cubicBezTo>
                    <a:pt x="75" y="21"/>
                    <a:pt x="69" y="26"/>
                    <a:pt x="69" y="27"/>
                  </a:cubicBezTo>
                  <a:cubicBezTo>
                    <a:pt x="69" y="28"/>
                    <a:pt x="72" y="29"/>
                    <a:pt x="74" y="30"/>
                  </a:cubicBezTo>
                  <a:cubicBezTo>
                    <a:pt x="75" y="32"/>
                    <a:pt x="74" y="33"/>
                    <a:pt x="73" y="35"/>
                  </a:cubicBezTo>
                  <a:cubicBezTo>
                    <a:pt x="73" y="35"/>
                    <a:pt x="73" y="35"/>
                    <a:pt x="73" y="36"/>
                  </a:cubicBezTo>
                  <a:cubicBezTo>
                    <a:pt x="73" y="39"/>
                    <a:pt x="77" y="42"/>
                    <a:pt x="77" y="44"/>
                  </a:cubicBezTo>
                  <a:cubicBezTo>
                    <a:pt x="77" y="47"/>
                    <a:pt x="74" y="46"/>
                    <a:pt x="73" y="47"/>
                  </a:cubicBezTo>
                  <a:cubicBezTo>
                    <a:pt x="73" y="47"/>
                    <a:pt x="67" y="53"/>
                    <a:pt x="67" y="53"/>
                  </a:cubicBezTo>
                  <a:cubicBezTo>
                    <a:pt x="66" y="54"/>
                    <a:pt x="68" y="58"/>
                    <a:pt x="68" y="59"/>
                  </a:cubicBezTo>
                  <a:cubicBezTo>
                    <a:pt x="67" y="60"/>
                    <a:pt x="66" y="59"/>
                    <a:pt x="65" y="60"/>
                  </a:cubicBezTo>
                  <a:cubicBezTo>
                    <a:pt x="60" y="56"/>
                    <a:pt x="60" y="56"/>
                    <a:pt x="60" y="56"/>
                  </a:cubicBezTo>
                  <a:cubicBezTo>
                    <a:pt x="60" y="56"/>
                    <a:pt x="56" y="55"/>
                    <a:pt x="54" y="55"/>
                  </a:cubicBezTo>
                  <a:cubicBezTo>
                    <a:pt x="52" y="55"/>
                    <a:pt x="47" y="57"/>
                    <a:pt x="45" y="57"/>
                  </a:cubicBezTo>
                  <a:cubicBezTo>
                    <a:pt x="43" y="57"/>
                    <a:pt x="42" y="56"/>
                    <a:pt x="41" y="55"/>
                  </a:cubicBezTo>
                  <a:cubicBezTo>
                    <a:pt x="40" y="54"/>
                    <a:pt x="36" y="54"/>
                    <a:pt x="36" y="54"/>
                  </a:cubicBezTo>
                  <a:cubicBezTo>
                    <a:pt x="36" y="53"/>
                    <a:pt x="35" y="50"/>
                    <a:pt x="34" y="50"/>
                  </a:cubicBezTo>
                  <a:cubicBezTo>
                    <a:pt x="33" y="50"/>
                    <a:pt x="29" y="50"/>
                    <a:pt x="28" y="49"/>
                  </a:cubicBezTo>
                  <a:cubicBezTo>
                    <a:pt x="26" y="48"/>
                    <a:pt x="23" y="47"/>
                    <a:pt x="22" y="47"/>
                  </a:cubicBezTo>
                  <a:cubicBezTo>
                    <a:pt x="21" y="47"/>
                    <a:pt x="20" y="49"/>
                    <a:pt x="19" y="49"/>
                  </a:cubicBezTo>
                  <a:cubicBezTo>
                    <a:pt x="18" y="48"/>
                    <a:pt x="18" y="45"/>
                    <a:pt x="16" y="44"/>
                  </a:cubicBezTo>
                  <a:cubicBezTo>
                    <a:pt x="15" y="43"/>
                    <a:pt x="10" y="41"/>
                    <a:pt x="10" y="41"/>
                  </a:cubicBezTo>
                  <a:cubicBezTo>
                    <a:pt x="7" y="39"/>
                    <a:pt x="7" y="39"/>
                    <a:pt x="7" y="39"/>
                  </a:cubicBezTo>
                  <a:cubicBezTo>
                    <a:pt x="7" y="38"/>
                    <a:pt x="7" y="37"/>
                    <a:pt x="7" y="37"/>
                  </a:cubicBezTo>
                  <a:cubicBezTo>
                    <a:pt x="7" y="35"/>
                    <a:pt x="4" y="32"/>
                    <a:pt x="4" y="30"/>
                  </a:cubicBezTo>
                  <a:cubicBezTo>
                    <a:pt x="4" y="28"/>
                    <a:pt x="4" y="26"/>
                    <a:pt x="4" y="24"/>
                  </a:cubicBezTo>
                  <a:cubicBezTo>
                    <a:pt x="2" y="23"/>
                    <a:pt x="0" y="21"/>
                    <a:pt x="0" y="20"/>
                  </a:cubicBezTo>
                  <a:cubicBezTo>
                    <a:pt x="0" y="19"/>
                    <a:pt x="2" y="16"/>
                    <a:pt x="2" y="15"/>
                  </a:cubicBezTo>
                  <a:cubicBezTo>
                    <a:pt x="2" y="13"/>
                    <a:pt x="1" y="10"/>
                    <a:pt x="1" y="10"/>
                  </a:cubicBezTo>
                  <a:cubicBezTo>
                    <a:pt x="4" y="9"/>
                    <a:pt x="16" y="7"/>
                    <a:pt x="16"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5" name="Freeform 277"/>
            <p:cNvSpPr>
              <a:spLocks/>
            </p:cNvSpPr>
            <p:nvPr>
              <p:custDataLst>
                <p:tags r:id="rId194"/>
              </p:custDataLst>
            </p:nvPr>
          </p:nvSpPr>
          <p:spPr bwMode="auto">
            <a:xfrm>
              <a:off x="2966" y="1826"/>
              <a:ext cx="21" cy="25"/>
            </a:xfrm>
            <a:custGeom>
              <a:avLst/>
              <a:gdLst>
                <a:gd name="T0" fmla="*/ 2778 w 12"/>
                <a:gd name="T1" fmla="*/ 17009 h 14"/>
                <a:gd name="T2" fmla="*/ 30560 w 12"/>
                <a:gd name="T3" fmla="*/ 2835 h 14"/>
                <a:gd name="T4" fmla="*/ 27782 w 12"/>
                <a:gd name="T5" fmla="*/ 14174 h 14"/>
                <a:gd name="T6" fmla="*/ 19447 w 12"/>
                <a:gd name="T7" fmla="*/ 34018 h 14"/>
                <a:gd name="T8" fmla="*/ 2778 w 12"/>
                <a:gd name="T9" fmla="*/ 36853 h 14"/>
                <a:gd name="T10" fmla="*/ 2778 w 12"/>
                <a:gd name="T11" fmla="*/ 17009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1" y="6"/>
                  </a:moveTo>
                  <a:cubicBezTo>
                    <a:pt x="2" y="4"/>
                    <a:pt x="10" y="0"/>
                    <a:pt x="11" y="1"/>
                  </a:cubicBezTo>
                  <a:cubicBezTo>
                    <a:pt x="12" y="1"/>
                    <a:pt x="10" y="4"/>
                    <a:pt x="10" y="5"/>
                  </a:cubicBezTo>
                  <a:cubicBezTo>
                    <a:pt x="9" y="7"/>
                    <a:pt x="8" y="11"/>
                    <a:pt x="7" y="12"/>
                  </a:cubicBezTo>
                  <a:cubicBezTo>
                    <a:pt x="5" y="12"/>
                    <a:pt x="2" y="14"/>
                    <a:pt x="1" y="13"/>
                  </a:cubicBezTo>
                  <a:cubicBezTo>
                    <a:pt x="0" y="12"/>
                    <a:pt x="1" y="8"/>
                    <a:pt x="1"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 name="Freeform 278"/>
            <p:cNvSpPr>
              <a:spLocks/>
            </p:cNvSpPr>
            <p:nvPr>
              <p:custDataLst>
                <p:tags r:id="rId195"/>
              </p:custDataLst>
            </p:nvPr>
          </p:nvSpPr>
          <p:spPr bwMode="auto">
            <a:xfrm>
              <a:off x="2881" y="1582"/>
              <a:ext cx="164" cy="299"/>
            </a:xfrm>
            <a:custGeom>
              <a:avLst/>
              <a:gdLst>
                <a:gd name="T0" fmla="*/ 0 w 96"/>
                <a:gd name="T1" fmla="*/ 366917 h 163"/>
                <a:gd name="T2" fmla="*/ 8136 w 96"/>
                <a:gd name="T3" fmla="*/ 358181 h 163"/>
                <a:gd name="T4" fmla="*/ 10848 w 96"/>
                <a:gd name="T5" fmla="*/ 331973 h 163"/>
                <a:gd name="T6" fmla="*/ 24408 w 96"/>
                <a:gd name="T7" fmla="*/ 320325 h 163"/>
                <a:gd name="T8" fmla="*/ 18984 w 96"/>
                <a:gd name="T9" fmla="*/ 297028 h 163"/>
                <a:gd name="T10" fmla="*/ 29832 w 96"/>
                <a:gd name="T11" fmla="*/ 282468 h 163"/>
                <a:gd name="T12" fmla="*/ 16272 w 96"/>
                <a:gd name="T13" fmla="*/ 259172 h 163"/>
                <a:gd name="T14" fmla="*/ 16272 w 96"/>
                <a:gd name="T15" fmla="*/ 209667 h 163"/>
                <a:gd name="T16" fmla="*/ 32544 w 96"/>
                <a:gd name="T17" fmla="*/ 192195 h 163"/>
                <a:gd name="T18" fmla="*/ 51528 w 96"/>
                <a:gd name="T19" fmla="*/ 195107 h 163"/>
                <a:gd name="T20" fmla="*/ 56952 w 96"/>
                <a:gd name="T21" fmla="*/ 174723 h 163"/>
                <a:gd name="T22" fmla="*/ 46104 w 96"/>
                <a:gd name="T23" fmla="*/ 163074 h 163"/>
                <a:gd name="T24" fmla="*/ 65088 w 96"/>
                <a:gd name="T25" fmla="*/ 142690 h 163"/>
                <a:gd name="T26" fmla="*/ 67799 w 96"/>
                <a:gd name="T27" fmla="*/ 116482 h 163"/>
                <a:gd name="T28" fmla="*/ 86783 w 96"/>
                <a:gd name="T29" fmla="*/ 107746 h 163"/>
                <a:gd name="T30" fmla="*/ 105767 w 96"/>
                <a:gd name="T31" fmla="*/ 78625 h 163"/>
                <a:gd name="T32" fmla="*/ 103055 w 96"/>
                <a:gd name="T33" fmla="*/ 64065 h 163"/>
                <a:gd name="T34" fmla="*/ 122039 w 96"/>
                <a:gd name="T35" fmla="*/ 40769 h 163"/>
                <a:gd name="T36" fmla="*/ 138311 w 96"/>
                <a:gd name="T37" fmla="*/ 46593 h 163"/>
                <a:gd name="T38" fmla="*/ 143735 w 96"/>
                <a:gd name="T39" fmla="*/ 23296 h 163"/>
                <a:gd name="T40" fmla="*/ 178991 w 96"/>
                <a:gd name="T41" fmla="*/ 26208 h 163"/>
                <a:gd name="T42" fmla="*/ 187127 w 96"/>
                <a:gd name="T43" fmla="*/ 2912 h 163"/>
                <a:gd name="T44" fmla="*/ 192551 w 96"/>
                <a:gd name="T45" fmla="*/ 0 h 163"/>
                <a:gd name="T46" fmla="*/ 211534 w 96"/>
                <a:gd name="T47" fmla="*/ 29120 h 163"/>
                <a:gd name="T48" fmla="*/ 246790 w 96"/>
                <a:gd name="T49" fmla="*/ 43681 h 163"/>
                <a:gd name="T50" fmla="*/ 254926 w 96"/>
                <a:gd name="T51" fmla="*/ 69889 h 163"/>
                <a:gd name="T52" fmla="*/ 260350 w 96"/>
                <a:gd name="T53" fmla="*/ 101922 h 163"/>
                <a:gd name="T54" fmla="*/ 257638 w 96"/>
                <a:gd name="T55" fmla="*/ 125218 h 163"/>
                <a:gd name="T56" fmla="*/ 225094 w 96"/>
                <a:gd name="T57" fmla="*/ 133954 h 163"/>
                <a:gd name="T58" fmla="*/ 211534 w 96"/>
                <a:gd name="T59" fmla="*/ 145602 h 163"/>
                <a:gd name="T60" fmla="*/ 200686 w 96"/>
                <a:gd name="T61" fmla="*/ 160162 h 163"/>
                <a:gd name="T62" fmla="*/ 208822 w 96"/>
                <a:gd name="T63" fmla="*/ 174723 h 163"/>
                <a:gd name="T64" fmla="*/ 189839 w 96"/>
                <a:gd name="T65" fmla="*/ 195107 h 163"/>
                <a:gd name="T66" fmla="*/ 149159 w 96"/>
                <a:gd name="T67" fmla="*/ 224227 h 163"/>
                <a:gd name="T68" fmla="*/ 124751 w 96"/>
                <a:gd name="T69" fmla="*/ 262084 h 163"/>
                <a:gd name="T70" fmla="*/ 122039 w 96"/>
                <a:gd name="T71" fmla="*/ 299940 h 163"/>
                <a:gd name="T72" fmla="*/ 141023 w 96"/>
                <a:gd name="T73" fmla="*/ 314501 h 163"/>
                <a:gd name="T74" fmla="*/ 162719 w 96"/>
                <a:gd name="T75" fmla="*/ 331973 h 163"/>
                <a:gd name="T76" fmla="*/ 154583 w 96"/>
                <a:gd name="T77" fmla="*/ 346533 h 163"/>
                <a:gd name="T78" fmla="*/ 138311 w 96"/>
                <a:gd name="T79" fmla="*/ 364005 h 163"/>
                <a:gd name="T80" fmla="*/ 113903 w 96"/>
                <a:gd name="T81" fmla="*/ 372741 h 163"/>
                <a:gd name="T82" fmla="*/ 111191 w 96"/>
                <a:gd name="T83" fmla="*/ 401862 h 163"/>
                <a:gd name="T84" fmla="*/ 94919 w 96"/>
                <a:gd name="T85" fmla="*/ 445543 h 163"/>
                <a:gd name="T86" fmla="*/ 89495 w 96"/>
                <a:gd name="T87" fmla="*/ 454279 h 163"/>
                <a:gd name="T88" fmla="*/ 65088 w 96"/>
                <a:gd name="T89" fmla="*/ 454279 h 163"/>
                <a:gd name="T90" fmla="*/ 62376 w 96"/>
                <a:gd name="T91" fmla="*/ 471751 h 163"/>
                <a:gd name="T92" fmla="*/ 37968 w 96"/>
                <a:gd name="T93" fmla="*/ 471751 h 163"/>
                <a:gd name="T94" fmla="*/ 29832 w 96"/>
                <a:gd name="T95" fmla="*/ 448455 h 163"/>
                <a:gd name="T96" fmla="*/ 32544 w 96"/>
                <a:gd name="T97" fmla="*/ 433894 h 163"/>
                <a:gd name="T98" fmla="*/ 16272 w 96"/>
                <a:gd name="T99" fmla="*/ 413510 h 163"/>
                <a:gd name="T100" fmla="*/ 0 w 96"/>
                <a:gd name="T101" fmla="*/ 369829 h 163"/>
                <a:gd name="T102" fmla="*/ 0 w 96"/>
                <a:gd name="T103" fmla="*/ 366917 h 1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6" h="163">
                  <a:moveTo>
                    <a:pt x="0" y="126"/>
                  </a:moveTo>
                  <a:cubicBezTo>
                    <a:pt x="0" y="126"/>
                    <a:pt x="1" y="126"/>
                    <a:pt x="3" y="123"/>
                  </a:cubicBezTo>
                  <a:cubicBezTo>
                    <a:pt x="6" y="120"/>
                    <a:pt x="3" y="115"/>
                    <a:pt x="4" y="114"/>
                  </a:cubicBezTo>
                  <a:cubicBezTo>
                    <a:pt x="6" y="113"/>
                    <a:pt x="9" y="112"/>
                    <a:pt x="9" y="110"/>
                  </a:cubicBezTo>
                  <a:cubicBezTo>
                    <a:pt x="9" y="108"/>
                    <a:pt x="7" y="103"/>
                    <a:pt x="7" y="102"/>
                  </a:cubicBezTo>
                  <a:cubicBezTo>
                    <a:pt x="7" y="101"/>
                    <a:pt x="12" y="100"/>
                    <a:pt x="11" y="97"/>
                  </a:cubicBezTo>
                  <a:cubicBezTo>
                    <a:pt x="11" y="95"/>
                    <a:pt x="5" y="92"/>
                    <a:pt x="6" y="89"/>
                  </a:cubicBezTo>
                  <a:cubicBezTo>
                    <a:pt x="7" y="85"/>
                    <a:pt x="4" y="74"/>
                    <a:pt x="6" y="72"/>
                  </a:cubicBezTo>
                  <a:cubicBezTo>
                    <a:pt x="8" y="70"/>
                    <a:pt x="10" y="66"/>
                    <a:pt x="12" y="66"/>
                  </a:cubicBezTo>
                  <a:cubicBezTo>
                    <a:pt x="13" y="66"/>
                    <a:pt x="18" y="67"/>
                    <a:pt x="19" y="67"/>
                  </a:cubicBezTo>
                  <a:cubicBezTo>
                    <a:pt x="20" y="67"/>
                    <a:pt x="21" y="62"/>
                    <a:pt x="21" y="60"/>
                  </a:cubicBezTo>
                  <a:cubicBezTo>
                    <a:pt x="21" y="58"/>
                    <a:pt x="16" y="57"/>
                    <a:pt x="17" y="56"/>
                  </a:cubicBezTo>
                  <a:cubicBezTo>
                    <a:pt x="18" y="56"/>
                    <a:pt x="23" y="51"/>
                    <a:pt x="24" y="49"/>
                  </a:cubicBezTo>
                  <a:cubicBezTo>
                    <a:pt x="24" y="47"/>
                    <a:pt x="25" y="40"/>
                    <a:pt x="25" y="40"/>
                  </a:cubicBezTo>
                  <a:cubicBezTo>
                    <a:pt x="32" y="37"/>
                    <a:pt x="32" y="37"/>
                    <a:pt x="32" y="37"/>
                  </a:cubicBezTo>
                  <a:cubicBezTo>
                    <a:pt x="32" y="37"/>
                    <a:pt x="39" y="27"/>
                    <a:pt x="39" y="27"/>
                  </a:cubicBezTo>
                  <a:cubicBezTo>
                    <a:pt x="39" y="26"/>
                    <a:pt x="38" y="22"/>
                    <a:pt x="38" y="22"/>
                  </a:cubicBezTo>
                  <a:cubicBezTo>
                    <a:pt x="38" y="22"/>
                    <a:pt x="44" y="14"/>
                    <a:pt x="45" y="14"/>
                  </a:cubicBezTo>
                  <a:cubicBezTo>
                    <a:pt x="45" y="14"/>
                    <a:pt x="50" y="17"/>
                    <a:pt x="51" y="16"/>
                  </a:cubicBezTo>
                  <a:cubicBezTo>
                    <a:pt x="51" y="15"/>
                    <a:pt x="52" y="8"/>
                    <a:pt x="53" y="8"/>
                  </a:cubicBezTo>
                  <a:cubicBezTo>
                    <a:pt x="54" y="8"/>
                    <a:pt x="65" y="10"/>
                    <a:pt x="66" y="9"/>
                  </a:cubicBezTo>
                  <a:cubicBezTo>
                    <a:pt x="67" y="9"/>
                    <a:pt x="69" y="1"/>
                    <a:pt x="69" y="1"/>
                  </a:cubicBezTo>
                  <a:cubicBezTo>
                    <a:pt x="69" y="1"/>
                    <a:pt x="70" y="1"/>
                    <a:pt x="71" y="0"/>
                  </a:cubicBezTo>
                  <a:cubicBezTo>
                    <a:pt x="78" y="10"/>
                    <a:pt x="78" y="10"/>
                    <a:pt x="78" y="10"/>
                  </a:cubicBezTo>
                  <a:cubicBezTo>
                    <a:pt x="79" y="11"/>
                    <a:pt x="88" y="13"/>
                    <a:pt x="91" y="15"/>
                  </a:cubicBezTo>
                  <a:cubicBezTo>
                    <a:pt x="94" y="17"/>
                    <a:pt x="92" y="22"/>
                    <a:pt x="94" y="24"/>
                  </a:cubicBezTo>
                  <a:cubicBezTo>
                    <a:pt x="95" y="26"/>
                    <a:pt x="96" y="33"/>
                    <a:pt x="96" y="35"/>
                  </a:cubicBezTo>
                  <a:cubicBezTo>
                    <a:pt x="96" y="37"/>
                    <a:pt x="95" y="42"/>
                    <a:pt x="95" y="43"/>
                  </a:cubicBezTo>
                  <a:cubicBezTo>
                    <a:pt x="92" y="43"/>
                    <a:pt x="84" y="45"/>
                    <a:pt x="83" y="46"/>
                  </a:cubicBezTo>
                  <a:cubicBezTo>
                    <a:pt x="83" y="46"/>
                    <a:pt x="79" y="49"/>
                    <a:pt x="78" y="50"/>
                  </a:cubicBezTo>
                  <a:cubicBezTo>
                    <a:pt x="77" y="51"/>
                    <a:pt x="75" y="55"/>
                    <a:pt x="74" y="55"/>
                  </a:cubicBezTo>
                  <a:cubicBezTo>
                    <a:pt x="74" y="56"/>
                    <a:pt x="79" y="60"/>
                    <a:pt x="77" y="60"/>
                  </a:cubicBezTo>
                  <a:cubicBezTo>
                    <a:pt x="76" y="61"/>
                    <a:pt x="72" y="66"/>
                    <a:pt x="70" y="67"/>
                  </a:cubicBezTo>
                  <a:cubicBezTo>
                    <a:pt x="68" y="68"/>
                    <a:pt x="56" y="75"/>
                    <a:pt x="55" y="77"/>
                  </a:cubicBezTo>
                  <a:cubicBezTo>
                    <a:pt x="53" y="79"/>
                    <a:pt x="47" y="86"/>
                    <a:pt x="46" y="90"/>
                  </a:cubicBezTo>
                  <a:cubicBezTo>
                    <a:pt x="44" y="93"/>
                    <a:pt x="44" y="101"/>
                    <a:pt x="45" y="103"/>
                  </a:cubicBezTo>
                  <a:cubicBezTo>
                    <a:pt x="46" y="105"/>
                    <a:pt x="49" y="107"/>
                    <a:pt x="52" y="108"/>
                  </a:cubicBezTo>
                  <a:cubicBezTo>
                    <a:pt x="54" y="108"/>
                    <a:pt x="59" y="113"/>
                    <a:pt x="60" y="114"/>
                  </a:cubicBezTo>
                  <a:cubicBezTo>
                    <a:pt x="60" y="115"/>
                    <a:pt x="59" y="119"/>
                    <a:pt x="57" y="119"/>
                  </a:cubicBezTo>
                  <a:cubicBezTo>
                    <a:pt x="55" y="120"/>
                    <a:pt x="53" y="125"/>
                    <a:pt x="51" y="125"/>
                  </a:cubicBezTo>
                  <a:cubicBezTo>
                    <a:pt x="49" y="125"/>
                    <a:pt x="43" y="127"/>
                    <a:pt x="42" y="128"/>
                  </a:cubicBezTo>
                  <a:cubicBezTo>
                    <a:pt x="41" y="129"/>
                    <a:pt x="42" y="136"/>
                    <a:pt x="41" y="138"/>
                  </a:cubicBezTo>
                  <a:cubicBezTo>
                    <a:pt x="40" y="141"/>
                    <a:pt x="36" y="151"/>
                    <a:pt x="35" y="153"/>
                  </a:cubicBezTo>
                  <a:cubicBezTo>
                    <a:pt x="34" y="155"/>
                    <a:pt x="34" y="155"/>
                    <a:pt x="33" y="156"/>
                  </a:cubicBezTo>
                  <a:cubicBezTo>
                    <a:pt x="33" y="157"/>
                    <a:pt x="26" y="155"/>
                    <a:pt x="24" y="156"/>
                  </a:cubicBezTo>
                  <a:cubicBezTo>
                    <a:pt x="21" y="158"/>
                    <a:pt x="23" y="162"/>
                    <a:pt x="23" y="162"/>
                  </a:cubicBezTo>
                  <a:cubicBezTo>
                    <a:pt x="22" y="162"/>
                    <a:pt x="15" y="163"/>
                    <a:pt x="14" y="162"/>
                  </a:cubicBezTo>
                  <a:cubicBezTo>
                    <a:pt x="12" y="160"/>
                    <a:pt x="10" y="155"/>
                    <a:pt x="11" y="154"/>
                  </a:cubicBezTo>
                  <a:cubicBezTo>
                    <a:pt x="12" y="152"/>
                    <a:pt x="14" y="150"/>
                    <a:pt x="12" y="149"/>
                  </a:cubicBezTo>
                  <a:cubicBezTo>
                    <a:pt x="10" y="147"/>
                    <a:pt x="7" y="144"/>
                    <a:pt x="6" y="142"/>
                  </a:cubicBezTo>
                  <a:cubicBezTo>
                    <a:pt x="5" y="140"/>
                    <a:pt x="0" y="130"/>
                    <a:pt x="0" y="127"/>
                  </a:cubicBezTo>
                  <a:cubicBezTo>
                    <a:pt x="0" y="127"/>
                    <a:pt x="0" y="127"/>
                    <a:pt x="0" y="1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 name="Freeform 280"/>
            <p:cNvSpPr>
              <a:spLocks/>
            </p:cNvSpPr>
            <p:nvPr>
              <p:custDataLst>
                <p:tags r:id="rId196"/>
              </p:custDataLst>
            </p:nvPr>
          </p:nvSpPr>
          <p:spPr bwMode="auto">
            <a:xfrm>
              <a:off x="2868" y="1868"/>
              <a:ext cx="25" cy="27"/>
            </a:xfrm>
            <a:custGeom>
              <a:avLst/>
              <a:gdLst>
                <a:gd name="T0" fmla="*/ 2835 w 14"/>
                <a:gd name="T1" fmla="*/ 25718 h 15"/>
                <a:gd name="T2" fmla="*/ 0 w 14"/>
                <a:gd name="T3" fmla="*/ 14288 h 15"/>
                <a:gd name="T4" fmla="*/ 19844 w 14"/>
                <a:gd name="T5" fmla="*/ 5715 h 15"/>
                <a:gd name="T6" fmla="*/ 31183 w 14"/>
                <a:gd name="T7" fmla="*/ 0 h 15"/>
                <a:gd name="T8" fmla="*/ 36853 w 14"/>
                <a:gd name="T9" fmla="*/ 14288 h 15"/>
                <a:gd name="T10" fmla="*/ 31183 w 14"/>
                <a:gd name="T11" fmla="*/ 17145 h 15"/>
                <a:gd name="T12" fmla="*/ 36853 w 14"/>
                <a:gd name="T13" fmla="*/ 25718 h 15"/>
                <a:gd name="T14" fmla="*/ 31183 w 14"/>
                <a:gd name="T15" fmla="*/ 37148 h 15"/>
                <a:gd name="T16" fmla="*/ 28349 w 14"/>
                <a:gd name="T17" fmla="*/ 40005 h 15"/>
                <a:gd name="T18" fmla="*/ 19844 w 14"/>
                <a:gd name="T19" fmla="*/ 28575 h 15"/>
                <a:gd name="T20" fmla="*/ 2835 w 14"/>
                <a:gd name="T21" fmla="*/ 257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5">
                  <a:moveTo>
                    <a:pt x="1" y="9"/>
                  </a:moveTo>
                  <a:cubicBezTo>
                    <a:pt x="0" y="9"/>
                    <a:pt x="0" y="5"/>
                    <a:pt x="0" y="5"/>
                  </a:cubicBezTo>
                  <a:cubicBezTo>
                    <a:pt x="0" y="4"/>
                    <a:pt x="6" y="2"/>
                    <a:pt x="7" y="2"/>
                  </a:cubicBezTo>
                  <a:cubicBezTo>
                    <a:pt x="8" y="1"/>
                    <a:pt x="10" y="0"/>
                    <a:pt x="11" y="0"/>
                  </a:cubicBezTo>
                  <a:cubicBezTo>
                    <a:pt x="13" y="0"/>
                    <a:pt x="12" y="4"/>
                    <a:pt x="13" y="5"/>
                  </a:cubicBezTo>
                  <a:cubicBezTo>
                    <a:pt x="14" y="6"/>
                    <a:pt x="11" y="5"/>
                    <a:pt x="11" y="6"/>
                  </a:cubicBezTo>
                  <a:cubicBezTo>
                    <a:pt x="11" y="7"/>
                    <a:pt x="13" y="9"/>
                    <a:pt x="13" y="9"/>
                  </a:cubicBezTo>
                  <a:cubicBezTo>
                    <a:pt x="14" y="10"/>
                    <a:pt x="12" y="12"/>
                    <a:pt x="11" y="13"/>
                  </a:cubicBezTo>
                  <a:cubicBezTo>
                    <a:pt x="10" y="13"/>
                    <a:pt x="11" y="15"/>
                    <a:pt x="10" y="14"/>
                  </a:cubicBezTo>
                  <a:cubicBezTo>
                    <a:pt x="9" y="14"/>
                    <a:pt x="8" y="10"/>
                    <a:pt x="7" y="10"/>
                  </a:cubicBezTo>
                  <a:cubicBezTo>
                    <a:pt x="6" y="10"/>
                    <a:pt x="2" y="10"/>
                    <a:pt x="1"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 name="Freeform 281"/>
            <p:cNvSpPr>
              <a:spLocks/>
            </p:cNvSpPr>
            <p:nvPr>
              <p:custDataLst>
                <p:tags r:id="rId197"/>
              </p:custDataLst>
            </p:nvPr>
          </p:nvSpPr>
          <p:spPr bwMode="auto">
            <a:xfrm>
              <a:off x="2837" y="1834"/>
              <a:ext cx="39" cy="56"/>
            </a:xfrm>
            <a:custGeom>
              <a:avLst/>
              <a:gdLst>
                <a:gd name="T0" fmla="*/ 0 w 22"/>
                <a:gd name="T1" fmla="*/ 62230 h 30"/>
                <a:gd name="T2" fmla="*/ 5628 w 22"/>
                <a:gd name="T3" fmla="*/ 20743 h 30"/>
                <a:gd name="T4" fmla="*/ 30957 w 22"/>
                <a:gd name="T5" fmla="*/ 14817 h 30"/>
                <a:gd name="T6" fmla="*/ 42213 w 22"/>
                <a:gd name="T7" fmla="*/ 0 h 30"/>
                <a:gd name="T8" fmla="*/ 53470 w 22"/>
                <a:gd name="T9" fmla="*/ 5927 h 30"/>
                <a:gd name="T10" fmla="*/ 45028 w 22"/>
                <a:gd name="T11" fmla="*/ 29633 h 30"/>
                <a:gd name="T12" fmla="*/ 61913 w 22"/>
                <a:gd name="T13" fmla="*/ 44450 h 30"/>
                <a:gd name="T14" fmla="*/ 36585 w 22"/>
                <a:gd name="T15" fmla="*/ 59267 h 30"/>
                <a:gd name="T16" fmla="*/ 30957 w 22"/>
                <a:gd name="T17" fmla="*/ 77047 h 30"/>
                <a:gd name="T18" fmla="*/ 36585 w 22"/>
                <a:gd name="T19" fmla="*/ 88900 h 30"/>
                <a:gd name="T20" fmla="*/ 5628 w 22"/>
                <a:gd name="T21" fmla="*/ 88900 h 30"/>
                <a:gd name="T22" fmla="*/ 11257 w 22"/>
                <a:gd name="T23" fmla="*/ 74083 h 30"/>
                <a:gd name="T24" fmla="*/ 0 w 22"/>
                <a:gd name="T25" fmla="*/ 6223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30">
                  <a:moveTo>
                    <a:pt x="0" y="21"/>
                  </a:moveTo>
                  <a:cubicBezTo>
                    <a:pt x="0" y="18"/>
                    <a:pt x="0" y="8"/>
                    <a:pt x="2" y="7"/>
                  </a:cubicBezTo>
                  <a:cubicBezTo>
                    <a:pt x="4" y="6"/>
                    <a:pt x="10" y="6"/>
                    <a:pt x="11" y="5"/>
                  </a:cubicBezTo>
                  <a:cubicBezTo>
                    <a:pt x="12" y="4"/>
                    <a:pt x="13" y="0"/>
                    <a:pt x="15" y="0"/>
                  </a:cubicBezTo>
                  <a:cubicBezTo>
                    <a:pt x="16" y="0"/>
                    <a:pt x="19" y="0"/>
                    <a:pt x="19" y="2"/>
                  </a:cubicBezTo>
                  <a:cubicBezTo>
                    <a:pt x="19" y="3"/>
                    <a:pt x="16" y="9"/>
                    <a:pt x="16" y="10"/>
                  </a:cubicBezTo>
                  <a:cubicBezTo>
                    <a:pt x="17" y="11"/>
                    <a:pt x="22" y="14"/>
                    <a:pt x="22" y="15"/>
                  </a:cubicBezTo>
                  <a:cubicBezTo>
                    <a:pt x="21" y="16"/>
                    <a:pt x="14" y="18"/>
                    <a:pt x="13" y="20"/>
                  </a:cubicBezTo>
                  <a:cubicBezTo>
                    <a:pt x="13" y="21"/>
                    <a:pt x="11" y="25"/>
                    <a:pt x="11" y="26"/>
                  </a:cubicBezTo>
                  <a:cubicBezTo>
                    <a:pt x="11" y="27"/>
                    <a:pt x="12" y="28"/>
                    <a:pt x="13" y="30"/>
                  </a:cubicBezTo>
                  <a:cubicBezTo>
                    <a:pt x="2" y="30"/>
                    <a:pt x="2" y="30"/>
                    <a:pt x="2" y="30"/>
                  </a:cubicBezTo>
                  <a:cubicBezTo>
                    <a:pt x="2" y="28"/>
                    <a:pt x="5" y="26"/>
                    <a:pt x="4" y="25"/>
                  </a:cubicBezTo>
                  <a:cubicBezTo>
                    <a:pt x="3" y="23"/>
                    <a:pt x="0" y="23"/>
                    <a:pt x="0"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 name="Freeform 282"/>
            <p:cNvSpPr>
              <a:spLocks/>
            </p:cNvSpPr>
            <p:nvPr>
              <p:custDataLst>
                <p:tags r:id="rId198"/>
              </p:custDataLst>
            </p:nvPr>
          </p:nvSpPr>
          <p:spPr bwMode="auto">
            <a:xfrm>
              <a:off x="2782" y="1915"/>
              <a:ext cx="43" cy="53"/>
            </a:xfrm>
            <a:custGeom>
              <a:avLst/>
              <a:gdLst>
                <a:gd name="T0" fmla="*/ 2731 w 25"/>
                <a:gd name="T1" fmla="*/ 52224 h 29"/>
                <a:gd name="T2" fmla="*/ 16383 w 25"/>
                <a:gd name="T3" fmla="*/ 31914 h 29"/>
                <a:gd name="T4" fmla="*/ 24575 w 25"/>
                <a:gd name="T5" fmla="*/ 8704 h 29"/>
                <a:gd name="T6" fmla="*/ 54610 w 25"/>
                <a:gd name="T7" fmla="*/ 2901 h 29"/>
                <a:gd name="T8" fmla="*/ 62802 w 25"/>
                <a:gd name="T9" fmla="*/ 0 h 29"/>
                <a:gd name="T10" fmla="*/ 65532 w 25"/>
                <a:gd name="T11" fmla="*/ 11605 h 29"/>
                <a:gd name="T12" fmla="*/ 65532 w 25"/>
                <a:gd name="T13" fmla="*/ 26112 h 29"/>
                <a:gd name="T14" fmla="*/ 62802 w 25"/>
                <a:gd name="T15" fmla="*/ 46421 h 29"/>
                <a:gd name="T16" fmla="*/ 43688 w 25"/>
                <a:gd name="T17" fmla="*/ 49322 h 29"/>
                <a:gd name="T18" fmla="*/ 46419 w 25"/>
                <a:gd name="T19" fmla="*/ 60928 h 29"/>
                <a:gd name="T20" fmla="*/ 43688 w 25"/>
                <a:gd name="T21" fmla="*/ 75434 h 29"/>
                <a:gd name="T22" fmla="*/ 46419 w 25"/>
                <a:gd name="T23" fmla="*/ 84138 h 29"/>
                <a:gd name="T24" fmla="*/ 32766 w 25"/>
                <a:gd name="T25" fmla="*/ 81237 h 29"/>
                <a:gd name="T26" fmla="*/ 30036 w 25"/>
                <a:gd name="T27" fmla="*/ 66730 h 29"/>
                <a:gd name="T28" fmla="*/ 0 w 25"/>
                <a:gd name="T29" fmla="*/ 58026 h 29"/>
                <a:gd name="T30" fmla="*/ 2731 w 25"/>
                <a:gd name="T31" fmla="*/ 52224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5" h="29">
                  <a:moveTo>
                    <a:pt x="1" y="18"/>
                  </a:moveTo>
                  <a:cubicBezTo>
                    <a:pt x="2" y="17"/>
                    <a:pt x="6" y="13"/>
                    <a:pt x="6" y="11"/>
                  </a:cubicBezTo>
                  <a:cubicBezTo>
                    <a:pt x="6" y="9"/>
                    <a:pt x="8" y="4"/>
                    <a:pt x="9" y="3"/>
                  </a:cubicBezTo>
                  <a:cubicBezTo>
                    <a:pt x="10" y="3"/>
                    <a:pt x="19" y="1"/>
                    <a:pt x="20" y="1"/>
                  </a:cubicBezTo>
                  <a:cubicBezTo>
                    <a:pt x="20" y="1"/>
                    <a:pt x="21" y="0"/>
                    <a:pt x="23" y="0"/>
                  </a:cubicBezTo>
                  <a:cubicBezTo>
                    <a:pt x="23" y="0"/>
                    <a:pt x="24" y="3"/>
                    <a:pt x="24" y="4"/>
                  </a:cubicBezTo>
                  <a:cubicBezTo>
                    <a:pt x="25" y="5"/>
                    <a:pt x="24" y="7"/>
                    <a:pt x="24" y="9"/>
                  </a:cubicBezTo>
                  <a:cubicBezTo>
                    <a:pt x="24" y="11"/>
                    <a:pt x="24" y="15"/>
                    <a:pt x="23" y="16"/>
                  </a:cubicBezTo>
                  <a:cubicBezTo>
                    <a:pt x="22" y="17"/>
                    <a:pt x="17" y="17"/>
                    <a:pt x="16" y="17"/>
                  </a:cubicBezTo>
                  <a:cubicBezTo>
                    <a:pt x="15" y="18"/>
                    <a:pt x="16" y="20"/>
                    <a:pt x="17" y="21"/>
                  </a:cubicBezTo>
                  <a:cubicBezTo>
                    <a:pt x="18" y="22"/>
                    <a:pt x="16" y="25"/>
                    <a:pt x="16" y="26"/>
                  </a:cubicBezTo>
                  <a:cubicBezTo>
                    <a:pt x="16" y="27"/>
                    <a:pt x="16" y="28"/>
                    <a:pt x="17" y="29"/>
                  </a:cubicBezTo>
                  <a:cubicBezTo>
                    <a:pt x="12" y="28"/>
                    <a:pt x="12" y="28"/>
                    <a:pt x="12" y="28"/>
                  </a:cubicBezTo>
                  <a:cubicBezTo>
                    <a:pt x="11" y="28"/>
                    <a:pt x="11" y="24"/>
                    <a:pt x="11" y="23"/>
                  </a:cubicBezTo>
                  <a:cubicBezTo>
                    <a:pt x="11" y="22"/>
                    <a:pt x="1" y="22"/>
                    <a:pt x="0" y="20"/>
                  </a:cubicBezTo>
                  <a:cubicBezTo>
                    <a:pt x="0" y="19"/>
                    <a:pt x="1" y="18"/>
                    <a:pt x="1"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 name="Freeform 283"/>
            <p:cNvSpPr>
              <a:spLocks/>
            </p:cNvSpPr>
            <p:nvPr>
              <p:custDataLst>
                <p:tags r:id="rId199"/>
              </p:custDataLst>
            </p:nvPr>
          </p:nvSpPr>
          <p:spPr bwMode="auto">
            <a:xfrm>
              <a:off x="2794" y="1528"/>
              <a:ext cx="345" cy="300"/>
            </a:xfrm>
            <a:custGeom>
              <a:avLst/>
              <a:gdLst>
                <a:gd name="T0" fmla="*/ 10899 w 201"/>
                <a:gd name="T1" fmla="*/ 432423 h 163"/>
                <a:gd name="T2" fmla="*/ 2725 w 201"/>
                <a:gd name="T3" fmla="*/ 388597 h 163"/>
                <a:gd name="T4" fmla="*/ 2725 w 201"/>
                <a:gd name="T5" fmla="*/ 371066 h 163"/>
                <a:gd name="T6" fmla="*/ 5450 w 201"/>
                <a:gd name="T7" fmla="*/ 341848 h 163"/>
                <a:gd name="T8" fmla="*/ 35423 w 201"/>
                <a:gd name="T9" fmla="*/ 312630 h 163"/>
                <a:gd name="T10" fmla="*/ 54496 w 201"/>
                <a:gd name="T11" fmla="*/ 303865 h 163"/>
                <a:gd name="T12" fmla="*/ 73570 w 201"/>
                <a:gd name="T13" fmla="*/ 283413 h 163"/>
                <a:gd name="T14" fmla="*/ 92644 w 201"/>
                <a:gd name="T15" fmla="*/ 295100 h 163"/>
                <a:gd name="T16" fmla="*/ 125342 w 201"/>
                <a:gd name="T17" fmla="*/ 254195 h 163"/>
                <a:gd name="T18" fmla="*/ 133516 w 201"/>
                <a:gd name="T19" fmla="*/ 242508 h 163"/>
                <a:gd name="T20" fmla="*/ 147140 w 201"/>
                <a:gd name="T21" fmla="*/ 236664 h 163"/>
                <a:gd name="T22" fmla="*/ 158039 w 201"/>
                <a:gd name="T23" fmla="*/ 207446 h 163"/>
                <a:gd name="T24" fmla="*/ 177113 w 201"/>
                <a:gd name="T25" fmla="*/ 198681 h 163"/>
                <a:gd name="T26" fmla="*/ 166214 w 201"/>
                <a:gd name="T27" fmla="*/ 181150 h 163"/>
                <a:gd name="T28" fmla="*/ 198912 w 201"/>
                <a:gd name="T29" fmla="*/ 151933 h 163"/>
                <a:gd name="T30" fmla="*/ 234334 w 201"/>
                <a:gd name="T31" fmla="*/ 113949 h 163"/>
                <a:gd name="T32" fmla="*/ 182563 w 201"/>
                <a:gd name="T33" fmla="*/ 122715 h 163"/>
                <a:gd name="T34" fmla="*/ 188012 w 201"/>
                <a:gd name="T35" fmla="*/ 105184 h 163"/>
                <a:gd name="T36" fmla="*/ 209811 w 201"/>
                <a:gd name="T37" fmla="*/ 84732 h 163"/>
                <a:gd name="T38" fmla="*/ 237059 w 201"/>
                <a:gd name="T39" fmla="*/ 90575 h 163"/>
                <a:gd name="T40" fmla="*/ 261582 w 201"/>
                <a:gd name="T41" fmla="*/ 81810 h 163"/>
                <a:gd name="T42" fmla="*/ 275206 w 201"/>
                <a:gd name="T43" fmla="*/ 55514 h 163"/>
                <a:gd name="T44" fmla="*/ 316079 w 201"/>
                <a:gd name="T45" fmla="*/ 37983 h 163"/>
                <a:gd name="T46" fmla="*/ 337877 w 201"/>
                <a:gd name="T47" fmla="*/ 52592 h 163"/>
                <a:gd name="T48" fmla="*/ 359676 w 201"/>
                <a:gd name="T49" fmla="*/ 55514 h 163"/>
                <a:gd name="T50" fmla="*/ 373300 w 201"/>
                <a:gd name="T51" fmla="*/ 35061 h 163"/>
                <a:gd name="T52" fmla="*/ 386924 w 201"/>
                <a:gd name="T53" fmla="*/ 20452 h 163"/>
                <a:gd name="T54" fmla="*/ 411447 w 201"/>
                <a:gd name="T55" fmla="*/ 11687 h 163"/>
                <a:gd name="T56" fmla="*/ 438695 w 201"/>
                <a:gd name="T57" fmla="*/ 0 h 163"/>
                <a:gd name="T58" fmla="*/ 419622 w 201"/>
                <a:gd name="T59" fmla="*/ 43827 h 163"/>
                <a:gd name="T60" fmla="*/ 455044 w 201"/>
                <a:gd name="T61" fmla="*/ 5844 h 163"/>
                <a:gd name="T62" fmla="*/ 474118 w 201"/>
                <a:gd name="T63" fmla="*/ 14609 h 163"/>
                <a:gd name="T64" fmla="*/ 490467 w 201"/>
                <a:gd name="T65" fmla="*/ 5844 h 163"/>
                <a:gd name="T66" fmla="*/ 506816 w 201"/>
                <a:gd name="T67" fmla="*/ 14609 h 163"/>
                <a:gd name="T68" fmla="*/ 544963 w 201"/>
                <a:gd name="T69" fmla="*/ 35061 h 163"/>
                <a:gd name="T70" fmla="*/ 498641 w 201"/>
                <a:gd name="T71" fmla="*/ 40905 h 163"/>
                <a:gd name="T72" fmla="*/ 528614 w 201"/>
                <a:gd name="T73" fmla="*/ 55514 h 163"/>
                <a:gd name="T74" fmla="*/ 525889 w 201"/>
                <a:gd name="T75" fmla="*/ 73044 h 163"/>
                <a:gd name="T76" fmla="*/ 501366 w 201"/>
                <a:gd name="T77" fmla="*/ 90575 h 163"/>
                <a:gd name="T78" fmla="*/ 498641 w 201"/>
                <a:gd name="T79" fmla="*/ 70123 h 163"/>
                <a:gd name="T80" fmla="*/ 471393 w 201"/>
                <a:gd name="T81" fmla="*/ 52592 h 163"/>
                <a:gd name="T82" fmla="*/ 435971 w 201"/>
                <a:gd name="T83" fmla="*/ 81810 h 163"/>
                <a:gd name="T84" fmla="*/ 397823 w 201"/>
                <a:gd name="T85" fmla="*/ 93497 h 163"/>
                <a:gd name="T86" fmla="*/ 340602 w 201"/>
                <a:gd name="T87" fmla="*/ 75966 h 163"/>
                <a:gd name="T88" fmla="*/ 324253 w 201"/>
                <a:gd name="T89" fmla="*/ 84732 h 163"/>
                <a:gd name="T90" fmla="*/ 280656 w 201"/>
                <a:gd name="T91" fmla="*/ 105184 h 163"/>
                <a:gd name="T92" fmla="*/ 258858 w 201"/>
                <a:gd name="T93" fmla="*/ 122715 h 163"/>
                <a:gd name="T94" fmla="*/ 242509 w 201"/>
                <a:gd name="T95" fmla="*/ 160698 h 163"/>
                <a:gd name="T96" fmla="*/ 204361 w 201"/>
                <a:gd name="T97" fmla="*/ 198681 h 163"/>
                <a:gd name="T98" fmla="*/ 182563 w 201"/>
                <a:gd name="T99" fmla="*/ 245429 h 163"/>
                <a:gd name="T100" fmla="*/ 188012 w 201"/>
                <a:gd name="T101" fmla="*/ 277569 h 163"/>
                <a:gd name="T102" fmla="*/ 152590 w 201"/>
                <a:gd name="T103" fmla="*/ 292178 h 163"/>
                <a:gd name="T104" fmla="*/ 166214 w 201"/>
                <a:gd name="T105" fmla="*/ 365222 h 163"/>
                <a:gd name="T106" fmla="*/ 160764 w 201"/>
                <a:gd name="T107" fmla="*/ 403206 h 163"/>
                <a:gd name="T108" fmla="*/ 144415 w 201"/>
                <a:gd name="T109" fmla="*/ 441189 h 163"/>
                <a:gd name="T110" fmla="*/ 128066 w 201"/>
                <a:gd name="T111" fmla="*/ 432423 h 163"/>
                <a:gd name="T112" fmla="*/ 117167 w 201"/>
                <a:gd name="T113" fmla="*/ 411971 h 163"/>
                <a:gd name="T114" fmla="*/ 92644 w 201"/>
                <a:gd name="T115" fmla="*/ 452876 h 163"/>
                <a:gd name="T116" fmla="*/ 16349 w 201"/>
                <a:gd name="T117" fmla="*/ 455798 h 1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1" h="163">
                  <a:moveTo>
                    <a:pt x="11" y="148"/>
                  </a:moveTo>
                  <a:cubicBezTo>
                    <a:pt x="10" y="147"/>
                    <a:pt x="6" y="150"/>
                    <a:pt x="4" y="148"/>
                  </a:cubicBezTo>
                  <a:cubicBezTo>
                    <a:pt x="3" y="147"/>
                    <a:pt x="4" y="142"/>
                    <a:pt x="4" y="141"/>
                  </a:cubicBezTo>
                  <a:cubicBezTo>
                    <a:pt x="3" y="139"/>
                    <a:pt x="1" y="134"/>
                    <a:pt x="1" y="133"/>
                  </a:cubicBezTo>
                  <a:cubicBezTo>
                    <a:pt x="4" y="131"/>
                    <a:pt x="22" y="131"/>
                    <a:pt x="21" y="127"/>
                  </a:cubicBezTo>
                  <a:cubicBezTo>
                    <a:pt x="20" y="124"/>
                    <a:pt x="2" y="128"/>
                    <a:pt x="1" y="127"/>
                  </a:cubicBezTo>
                  <a:cubicBezTo>
                    <a:pt x="0" y="126"/>
                    <a:pt x="1" y="123"/>
                    <a:pt x="2" y="123"/>
                  </a:cubicBezTo>
                  <a:cubicBezTo>
                    <a:pt x="3" y="122"/>
                    <a:pt x="1" y="119"/>
                    <a:pt x="2" y="117"/>
                  </a:cubicBezTo>
                  <a:cubicBezTo>
                    <a:pt x="4" y="116"/>
                    <a:pt x="6" y="113"/>
                    <a:pt x="8" y="113"/>
                  </a:cubicBezTo>
                  <a:cubicBezTo>
                    <a:pt x="10" y="113"/>
                    <a:pt x="12" y="107"/>
                    <a:pt x="13" y="107"/>
                  </a:cubicBezTo>
                  <a:cubicBezTo>
                    <a:pt x="14" y="106"/>
                    <a:pt x="19" y="110"/>
                    <a:pt x="20" y="109"/>
                  </a:cubicBezTo>
                  <a:cubicBezTo>
                    <a:pt x="22" y="109"/>
                    <a:pt x="18" y="104"/>
                    <a:pt x="20" y="104"/>
                  </a:cubicBezTo>
                  <a:cubicBezTo>
                    <a:pt x="21" y="103"/>
                    <a:pt x="24" y="102"/>
                    <a:pt x="26" y="101"/>
                  </a:cubicBezTo>
                  <a:cubicBezTo>
                    <a:pt x="28" y="101"/>
                    <a:pt x="25" y="98"/>
                    <a:pt x="27" y="97"/>
                  </a:cubicBezTo>
                  <a:cubicBezTo>
                    <a:pt x="29" y="96"/>
                    <a:pt x="30" y="96"/>
                    <a:pt x="32" y="96"/>
                  </a:cubicBezTo>
                  <a:cubicBezTo>
                    <a:pt x="33" y="96"/>
                    <a:pt x="33" y="102"/>
                    <a:pt x="34" y="101"/>
                  </a:cubicBezTo>
                  <a:cubicBezTo>
                    <a:pt x="36" y="100"/>
                    <a:pt x="37" y="97"/>
                    <a:pt x="37" y="95"/>
                  </a:cubicBezTo>
                  <a:cubicBezTo>
                    <a:pt x="38" y="94"/>
                    <a:pt x="45" y="87"/>
                    <a:pt x="46" y="87"/>
                  </a:cubicBezTo>
                  <a:cubicBezTo>
                    <a:pt x="46" y="87"/>
                    <a:pt x="48" y="90"/>
                    <a:pt x="50" y="89"/>
                  </a:cubicBezTo>
                  <a:cubicBezTo>
                    <a:pt x="51" y="88"/>
                    <a:pt x="50" y="84"/>
                    <a:pt x="49" y="83"/>
                  </a:cubicBezTo>
                  <a:cubicBezTo>
                    <a:pt x="48" y="82"/>
                    <a:pt x="45" y="81"/>
                    <a:pt x="46" y="81"/>
                  </a:cubicBezTo>
                  <a:cubicBezTo>
                    <a:pt x="46" y="80"/>
                    <a:pt x="52" y="82"/>
                    <a:pt x="54" y="81"/>
                  </a:cubicBezTo>
                  <a:cubicBezTo>
                    <a:pt x="55" y="80"/>
                    <a:pt x="56" y="77"/>
                    <a:pt x="56" y="76"/>
                  </a:cubicBezTo>
                  <a:cubicBezTo>
                    <a:pt x="57" y="75"/>
                    <a:pt x="59" y="72"/>
                    <a:pt x="58" y="71"/>
                  </a:cubicBezTo>
                  <a:cubicBezTo>
                    <a:pt x="57" y="70"/>
                    <a:pt x="56" y="68"/>
                    <a:pt x="57" y="67"/>
                  </a:cubicBezTo>
                  <a:cubicBezTo>
                    <a:pt x="58" y="67"/>
                    <a:pt x="64" y="68"/>
                    <a:pt x="65" y="68"/>
                  </a:cubicBezTo>
                  <a:cubicBezTo>
                    <a:pt x="67" y="67"/>
                    <a:pt x="68" y="66"/>
                    <a:pt x="68" y="65"/>
                  </a:cubicBezTo>
                  <a:cubicBezTo>
                    <a:pt x="69" y="63"/>
                    <a:pt x="61" y="64"/>
                    <a:pt x="61" y="62"/>
                  </a:cubicBezTo>
                  <a:cubicBezTo>
                    <a:pt x="61" y="60"/>
                    <a:pt x="64" y="58"/>
                    <a:pt x="64" y="58"/>
                  </a:cubicBezTo>
                  <a:cubicBezTo>
                    <a:pt x="66" y="56"/>
                    <a:pt x="72" y="54"/>
                    <a:pt x="73" y="52"/>
                  </a:cubicBezTo>
                  <a:cubicBezTo>
                    <a:pt x="75" y="50"/>
                    <a:pt x="75" y="46"/>
                    <a:pt x="77" y="45"/>
                  </a:cubicBezTo>
                  <a:cubicBezTo>
                    <a:pt x="78" y="44"/>
                    <a:pt x="87" y="41"/>
                    <a:pt x="86" y="39"/>
                  </a:cubicBezTo>
                  <a:cubicBezTo>
                    <a:pt x="86" y="38"/>
                    <a:pt x="81" y="37"/>
                    <a:pt x="79" y="38"/>
                  </a:cubicBezTo>
                  <a:cubicBezTo>
                    <a:pt x="77" y="38"/>
                    <a:pt x="69" y="41"/>
                    <a:pt x="67" y="42"/>
                  </a:cubicBezTo>
                  <a:cubicBezTo>
                    <a:pt x="64" y="42"/>
                    <a:pt x="60" y="46"/>
                    <a:pt x="60" y="45"/>
                  </a:cubicBezTo>
                  <a:cubicBezTo>
                    <a:pt x="60" y="44"/>
                    <a:pt x="66" y="36"/>
                    <a:pt x="69" y="36"/>
                  </a:cubicBezTo>
                  <a:cubicBezTo>
                    <a:pt x="72" y="36"/>
                    <a:pt x="73" y="35"/>
                    <a:pt x="74" y="34"/>
                  </a:cubicBezTo>
                  <a:cubicBezTo>
                    <a:pt x="76" y="33"/>
                    <a:pt x="77" y="29"/>
                    <a:pt x="77" y="29"/>
                  </a:cubicBezTo>
                  <a:cubicBezTo>
                    <a:pt x="78" y="28"/>
                    <a:pt x="85" y="25"/>
                    <a:pt x="86" y="25"/>
                  </a:cubicBezTo>
                  <a:cubicBezTo>
                    <a:pt x="87" y="25"/>
                    <a:pt x="85" y="30"/>
                    <a:pt x="87" y="31"/>
                  </a:cubicBezTo>
                  <a:cubicBezTo>
                    <a:pt x="88" y="31"/>
                    <a:pt x="91" y="33"/>
                    <a:pt x="93" y="32"/>
                  </a:cubicBezTo>
                  <a:cubicBezTo>
                    <a:pt x="95" y="30"/>
                    <a:pt x="97" y="29"/>
                    <a:pt x="96" y="28"/>
                  </a:cubicBezTo>
                  <a:cubicBezTo>
                    <a:pt x="96" y="27"/>
                    <a:pt x="93" y="24"/>
                    <a:pt x="93" y="23"/>
                  </a:cubicBezTo>
                  <a:cubicBezTo>
                    <a:pt x="94" y="23"/>
                    <a:pt x="99" y="22"/>
                    <a:pt x="101" y="19"/>
                  </a:cubicBezTo>
                  <a:cubicBezTo>
                    <a:pt x="103" y="18"/>
                    <a:pt x="105" y="14"/>
                    <a:pt x="107" y="13"/>
                  </a:cubicBezTo>
                  <a:cubicBezTo>
                    <a:pt x="110" y="12"/>
                    <a:pt x="114" y="13"/>
                    <a:pt x="116" y="13"/>
                  </a:cubicBezTo>
                  <a:cubicBezTo>
                    <a:pt x="118" y="13"/>
                    <a:pt x="121" y="12"/>
                    <a:pt x="122" y="13"/>
                  </a:cubicBezTo>
                  <a:cubicBezTo>
                    <a:pt x="123" y="13"/>
                    <a:pt x="122" y="18"/>
                    <a:pt x="124" y="18"/>
                  </a:cubicBezTo>
                  <a:cubicBezTo>
                    <a:pt x="127" y="18"/>
                    <a:pt x="128" y="15"/>
                    <a:pt x="128" y="15"/>
                  </a:cubicBezTo>
                  <a:cubicBezTo>
                    <a:pt x="128" y="16"/>
                    <a:pt x="130" y="19"/>
                    <a:pt x="132" y="19"/>
                  </a:cubicBezTo>
                  <a:cubicBezTo>
                    <a:pt x="133" y="19"/>
                    <a:pt x="130" y="12"/>
                    <a:pt x="132" y="11"/>
                  </a:cubicBezTo>
                  <a:cubicBezTo>
                    <a:pt x="133" y="10"/>
                    <a:pt x="136" y="10"/>
                    <a:pt x="137" y="12"/>
                  </a:cubicBezTo>
                  <a:cubicBezTo>
                    <a:pt x="139" y="14"/>
                    <a:pt x="139" y="16"/>
                    <a:pt x="140" y="16"/>
                  </a:cubicBezTo>
                  <a:cubicBezTo>
                    <a:pt x="142" y="16"/>
                    <a:pt x="141" y="8"/>
                    <a:pt x="142" y="7"/>
                  </a:cubicBezTo>
                  <a:cubicBezTo>
                    <a:pt x="143" y="7"/>
                    <a:pt x="145" y="6"/>
                    <a:pt x="147" y="6"/>
                  </a:cubicBezTo>
                  <a:cubicBezTo>
                    <a:pt x="149" y="6"/>
                    <a:pt x="151" y="5"/>
                    <a:pt x="151" y="4"/>
                  </a:cubicBezTo>
                  <a:cubicBezTo>
                    <a:pt x="152" y="2"/>
                    <a:pt x="154" y="2"/>
                    <a:pt x="155" y="1"/>
                  </a:cubicBezTo>
                  <a:cubicBezTo>
                    <a:pt x="156" y="1"/>
                    <a:pt x="160" y="0"/>
                    <a:pt x="161" y="0"/>
                  </a:cubicBezTo>
                  <a:cubicBezTo>
                    <a:pt x="162" y="1"/>
                    <a:pt x="159" y="5"/>
                    <a:pt x="157" y="6"/>
                  </a:cubicBezTo>
                  <a:cubicBezTo>
                    <a:pt x="156" y="7"/>
                    <a:pt x="153" y="14"/>
                    <a:pt x="154" y="15"/>
                  </a:cubicBezTo>
                  <a:cubicBezTo>
                    <a:pt x="154" y="15"/>
                    <a:pt x="159" y="13"/>
                    <a:pt x="160" y="11"/>
                  </a:cubicBezTo>
                  <a:cubicBezTo>
                    <a:pt x="161" y="9"/>
                    <a:pt x="166" y="2"/>
                    <a:pt x="167" y="2"/>
                  </a:cubicBezTo>
                  <a:cubicBezTo>
                    <a:pt x="168" y="2"/>
                    <a:pt x="167" y="11"/>
                    <a:pt x="168" y="11"/>
                  </a:cubicBezTo>
                  <a:cubicBezTo>
                    <a:pt x="169" y="11"/>
                    <a:pt x="173" y="6"/>
                    <a:pt x="174" y="5"/>
                  </a:cubicBezTo>
                  <a:cubicBezTo>
                    <a:pt x="175" y="4"/>
                    <a:pt x="174" y="1"/>
                    <a:pt x="175" y="1"/>
                  </a:cubicBezTo>
                  <a:cubicBezTo>
                    <a:pt x="176" y="1"/>
                    <a:pt x="179" y="1"/>
                    <a:pt x="180" y="2"/>
                  </a:cubicBezTo>
                  <a:cubicBezTo>
                    <a:pt x="181" y="3"/>
                    <a:pt x="178" y="9"/>
                    <a:pt x="180" y="9"/>
                  </a:cubicBezTo>
                  <a:cubicBezTo>
                    <a:pt x="182" y="9"/>
                    <a:pt x="184" y="4"/>
                    <a:pt x="186" y="5"/>
                  </a:cubicBezTo>
                  <a:cubicBezTo>
                    <a:pt x="189" y="6"/>
                    <a:pt x="197" y="8"/>
                    <a:pt x="199" y="9"/>
                  </a:cubicBezTo>
                  <a:cubicBezTo>
                    <a:pt x="200" y="11"/>
                    <a:pt x="201" y="12"/>
                    <a:pt x="200" y="12"/>
                  </a:cubicBezTo>
                  <a:cubicBezTo>
                    <a:pt x="199" y="13"/>
                    <a:pt x="193" y="14"/>
                    <a:pt x="191" y="14"/>
                  </a:cubicBezTo>
                  <a:cubicBezTo>
                    <a:pt x="189" y="14"/>
                    <a:pt x="183" y="13"/>
                    <a:pt x="183" y="14"/>
                  </a:cubicBezTo>
                  <a:cubicBezTo>
                    <a:pt x="182" y="15"/>
                    <a:pt x="181" y="16"/>
                    <a:pt x="184" y="17"/>
                  </a:cubicBezTo>
                  <a:cubicBezTo>
                    <a:pt x="186" y="18"/>
                    <a:pt x="193" y="19"/>
                    <a:pt x="194" y="19"/>
                  </a:cubicBezTo>
                  <a:cubicBezTo>
                    <a:pt x="194" y="19"/>
                    <a:pt x="195" y="19"/>
                    <a:pt x="195" y="19"/>
                  </a:cubicBezTo>
                  <a:cubicBezTo>
                    <a:pt x="195" y="19"/>
                    <a:pt x="194" y="23"/>
                    <a:pt x="193" y="25"/>
                  </a:cubicBezTo>
                  <a:cubicBezTo>
                    <a:pt x="191" y="27"/>
                    <a:pt x="188" y="24"/>
                    <a:pt x="188" y="30"/>
                  </a:cubicBezTo>
                  <a:cubicBezTo>
                    <a:pt x="188" y="32"/>
                    <a:pt x="186" y="32"/>
                    <a:pt x="184" y="31"/>
                  </a:cubicBezTo>
                  <a:cubicBezTo>
                    <a:pt x="183" y="30"/>
                    <a:pt x="183" y="30"/>
                    <a:pt x="182" y="30"/>
                  </a:cubicBezTo>
                  <a:cubicBezTo>
                    <a:pt x="180" y="29"/>
                    <a:pt x="183" y="26"/>
                    <a:pt x="183" y="24"/>
                  </a:cubicBezTo>
                  <a:cubicBezTo>
                    <a:pt x="183" y="22"/>
                    <a:pt x="181" y="21"/>
                    <a:pt x="179" y="20"/>
                  </a:cubicBezTo>
                  <a:cubicBezTo>
                    <a:pt x="177" y="19"/>
                    <a:pt x="174" y="18"/>
                    <a:pt x="173" y="18"/>
                  </a:cubicBezTo>
                  <a:cubicBezTo>
                    <a:pt x="172" y="18"/>
                    <a:pt x="165" y="19"/>
                    <a:pt x="165" y="20"/>
                  </a:cubicBezTo>
                  <a:cubicBezTo>
                    <a:pt x="164" y="21"/>
                    <a:pt x="160" y="26"/>
                    <a:pt x="160" y="28"/>
                  </a:cubicBezTo>
                  <a:cubicBezTo>
                    <a:pt x="160" y="30"/>
                    <a:pt x="157" y="32"/>
                    <a:pt x="155" y="34"/>
                  </a:cubicBezTo>
                  <a:cubicBezTo>
                    <a:pt x="154" y="36"/>
                    <a:pt x="147" y="32"/>
                    <a:pt x="146" y="32"/>
                  </a:cubicBezTo>
                  <a:cubicBezTo>
                    <a:pt x="144" y="32"/>
                    <a:pt x="138" y="33"/>
                    <a:pt x="136" y="32"/>
                  </a:cubicBezTo>
                  <a:cubicBezTo>
                    <a:pt x="134" y="32"/>
                    <a:pt x="127" y="26"/>
                    <a:pt x="125" y="26"/>
                  </a:cubicBezTo>
                  <a:cubicBezTo>
                    <a:pt x="125" y="26"/>
                    <a:pt x="123" y="27"/>
                    <a:pt x="121" y="28"/>
                  </a:cubicBezTo>
                  <a:cubicBezTo>
                    <a:pt x="120" y="29"/>
                    <a:pt x="119" y="29"/>
                    <a:pt x="119" y="29"/>
                  </a:cubicBezTo>
                  <a:cubicBezTo>
                    <a:pt x="119" y="29"/>
                    <a:pt x="117" y="37"/>
                    <a:pt x="116" y="37"/>
                  </a:cubicBezTo>
                  <a:cubicBezTo>
                    <a:pt x="115" y="38"/>
                    <a:pt x="104" y="36"/>
                    <a:pt x="103" y="36"/>
                  </a:cubicBezTo>
                  <a:cubicBezTo>
                    <a:pt x="102" y="36"/>
                    <a:pt x="101" y="43"/>
                    <a:pt x="101" y="44"/>
                  </a:cubicBezTo>
                  <a:cubicBezTo>
                    <a:pt x="100" y="45"/>
                    <a:pt x="95" y="42"/>
                    <a:pt x="95" y="42"/>
                  </a:cubicBezTo>
                  <a:cubicBezTo>
                    <a:pt x="94" y="42"/>
                    <a:pt x="88" y="50"/>
                    <a:pt x="88" y="50"/>
                  </a:cubicBezTo>
                  <a:cubicBezTo>
                    <a:pt x="88" y="50"/>
                    <a:pt x="89" y="54"/>
                    <a:pt x="89" y="55"/>
                  </a:cubicBezTo>
                  <a:cubicBezTo>
                    <a:pt x="89" y="55"/>
                    <a:pt x="82" y="65"/>
                    <a:pt x="82" y="65"/>
                  </a:cubicBezTo>
                  <a:cubicBezTo>
                    <a:pt x="75" y="68"/>
                    <a:pt x="75" y="68"/>
                    <a:pt x="75" y="68"/>
                  </a:cubicBezTo>
                  <a:cubicBezTo>
                    <a:pt x="75" y="68"/>
                    <a:pt x="74" y="75"/>
                    <a:pt x="74" y="77"/>
                  </a:cubicBezTo>
                  <a:cubicBezTo>
                    <a:pt x="73" y="79"/>
                    <a:pt x="68" y="84"/>
                    <a:pt x="67" y="84"/>
                  </a:cubicBezTo>
                  <a:cubicBezTo>
                    <a:pt x="66" y="85"/>
                    <a:pt x="71" y="86"/>
                    <a:pt x="71" y="88"/>
                  </a:cubicBezTo>
                  <a:cubicBezTo>
                    <a:pt x="71" y="90"/>
                    <a:pt x="70" y="95"/>
                    <a:pt x="69" y="95"/>
                  </a:cubicBezTo>
                  <a:cubicBezTo>
                    <a:pt x="68" y="95"/>
                    <a:pt x="63" y="94"/>
                    <a:pt x="62" y="94"/>
                  </a:cubicBezTo>
                  <a:cubicBezTo>
                    <a:pt x="60" y="94"/>
                    <a:pt x="58" y="98"/>
                    <a:pt x="56" y="100"/>
                  </a:cubicBezTo>
                  <a:cubicBezTo>
                    <a:pt x="54" y="102"/>
                    <a:pt x="57" y="113"/>
                    <a:pt x="56" y="117"/>
                  </a:cubicBezTo>
                  <a:cubicBezTo>
                    <a:pt x="55" y="120"/>
                    <a:pt x="61" y="123"/>
                    <a:pt x="61" y="125"/>
                  </a:cubicBezTo>
                  <a:cubicBezTo>
                    <a:pt x="62" y="128"/>
                    <a:pt x="57" y="129"/>
                    <a:pt x="57" y="130"/>
                  </a:cubicBezTo>
                  <a:cubicBezTo>
                    <a:pt x="57" y="131"/>
                    <a:pt x="59" y="136"/>
                    <a:pt x="59" y="138"/>
                  </a:cubicBezTo>
                  <a:cubicBezTo>
                    <a:pt x="59" y="140"/>
                    <a:pt x="56" y="141"/>
                    <a:pt x="54" y="142"/>
                  </a:cubicBezTo>
                  <a:cubicBezTo>
                    <a:pt x="53" y="143"/>
                    <a:pt x="56" y="148"/>
                    <a:pt x="53" y="151"/>
                  </a:cubicBezTo>
                  <a:cubicBezTo>
                    <a:pt x="51" y="154"/>
                    <a:pt x="50" y="154"/>
                    <a:pt x="50" y="154"/>
                  </a:cubicBezTo>
                  <a:cubicBezTo>
                    <a:pt x="49" y="152"/>
                    <a:pt x="49" y="150"/>
                    <a:pt x="47" y="148"/>
                  </a:cubicBezTo>
                  <a:cubicBezTo>
                    <a:pt x="46" y="146"/>
                    <a:pt x="46" y="144"/>
                    <a:pt x="46" y="142"/>
                  </a:cubicBezTo>
                  <a:cubicBezTo>
                    <a:pt x="46" y="141"/>
                    <a:pt x="45" y="141"/>
                    <a:pt x="43" y="141"/>
                  </a:cubicBezTo>
                  <a:cubicBezTo>
                    <a:pt x="42" y="141"/>
                    <a:pt x="42" y="149"/>
                    <a:pt x="41" y="150"/>
                  </a:cubicBezTo>
                  <a:cubicBezTo>
                    <a:pt x="40" y="151"/>
                    <a:pt x="35" y="154"/>
                    <a:pt x="34" y="155"/>
                  </a:cubicBezTo>
                  <a:cubicBezTo>
                    <a:pt x="31" y="157"/>
                    <a:pt x="24" y="163"/>
                    <a:pt x="22" y="163"/>
                  </a:cubicBezTo>
                  <a:cubicBezTo>
                    <a:pt x="19" y="163"/>
                    <a:pt x="6" y="158"/>
                    <a:pt x="6" y="156"/>
                  </a:cubicBezTo>
                  <a:cubicBezTo>
                    <a:pt x="5" y="153"/>
                    <a:pt x="11" y="150"/>
                    <a:pt x="11" y="14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1" name="Freeform 284"/>
            <p:cNvSpPr>
              <a:spLocks/>
            </p:cNvSpPr>
            <p:nvPr>
              <p:custDataLst>
                <p:tags r:id="rId200"/>
              </p:custDataLst>
            </p:nvPr>
          </p:nvSpPr>
          <p:spPr bwMode="auto">
            <a:xfrm>
              <a:off x="2409" y="1641"/>
              <a:ext cx="148" cy="75"/>
            </a:xfrm>
            <a:custGeom>
              <a:avLst/>
              <a:gdLst>
                <a:gd name="T0" fmla="*/ 16392 w 86"/>
                <a:gd name="T1" fmla="*/ 17424 h 41"/>
                <a:gd name="T2" fmla="*/ 35516 w 86"/>
                <a:gd name="T3" fmla="*/ 20328 h 41"/>
                <a:gd name="T4" fmla="*/ 40980 w 86"/>
                <a:gd name="T5" fmla="*/ 2904 h 41"/>
                <a:gd name="T6" fmla="*/ 71031 w 86"/>
                <a:gd name="T7" fmla="*/ 23232 h 41"/>
                <a:gd name="T8" fmla="*/ 68299 w 86"/>
                <a:gd name="T9" fmla="*/ 40656 h 41"/>
                <a:gd name="T10" fmla="*/ 71031 w 86"/>
                <a:gd name="T11" fmla="*/ 52272 h 41"/>
                <a:gd name="T12" fmla="*/ 81959 w 86"/>
                <a:gd name="T13" fmla="*/ 34848 h 41"/>
                <a:gd name="T14" fmla="*/ 90155 w 86"/>
                <a:gd name="T15" fmla="*/ 31944 h 41"/>
                <a:gd name="T16" fmla="*/ 92887 w 86"/>
                <a:gd name="T17" fmla="*/ 17424 h 41"/>
                <a:gd name="T18" fmla="*/ 109279 w 86"/>
                <a:gd name="T19" fmla="*/ 29040 h 41"/>
                <a:gd name="T20" fmla="*/ 114743 w 86"/>
                <a:gd name="T21" fmla="*/ 14520 h 41"/>
                <a:gd name="T22" fmla="*/ 136599 w 86"/>
                <a:gd name="T23" fmla="*/ 31944 h 41"/>
                <a:gd name="T24" fmla="*/ 142063 w 86"/>
                <a:gd name="T25" fmla="*/ 14520 h 41"/>
                <a:gd name="T26" fmla="*/ 161187 w 86"/>
                <a:gd name="T27" fmla="*/ 17424 h 41"/>
                <a:gd name="T28" fmla="*/ 172115 w 86"/>
                <a:gd name="T29" fmla="*/ 14520 h 41"/>
                <a:gd name="T30" fmla="*/ 169383 w 86"/>
                <a:gd name="T31" fmla="*/ 0 h 41"/>
                <a:gd name="T32" fmla="*/ 185774 w 86"/>
                <a:gd name="T33" fmla="*/ 2904 h 41"/>
                <a:gd name="T34" fmla="*/ 199434 w 86"/>
                <a:gd name="T35" fmla="*/ 17424 h 41"/>
                <a:gd name="T36" fmla="*/ 210362 w 86"/>
                <a:gd name="T37" fmla="*/ 20328 h 41"/>
                <a:gd name="T38" fmla="*/ 213094 w 86"/>
                <a:gd name="T39" fmla="*/ 31944 h 41"/>
                <a:gd name="T40" fmla="*/ 229486 w 86"/>
                <a:gd name="T41" fmla="*/ 37752 h 41"/>
                <a:gd name="T42" fmla="*/ 232218 w 86"/>
                <a:gd name="T43" fmla="*/ 55176 h 41"/>
                <a:gd name="T44" fmla="*/ 218558 w 86"/>
                <a:gd name="T45" fmla="*/ 72599 h 41"/>
                <a:gd name="T46" fmla="*/ 188506 w 86"/>
                <a:gd name="T47" fmla="*/ 87119 h 41"/>
                <a:gd name="T48" fmla="*/ 166651 w 86"/>
                <a:gd name="T49" fmla="*/ 104543 h 41"/>
                <a:gd name="T50" fmla="*/ 147527 w 86"/>
                <a:gd name="T51" fmla="*/ 101639 h 41"/>
                <a:gd name="T52" fmla="*/ 128403 w 86"/>
                <a:gd name="T53" fmla="*/ 119063 h 41"/>
                <a:gd name="T54" fmla="*/ 92887 w 86"/>
                <a:gd name="T55" fmla="*/ 110351 h 41"/>
                <a:gd name="T56" fmla="*/ 71031 w 86"/>
                <a:gd name="T57" fmla="*/ 101639 h 41"/>
                <a:gd name="T58" fmla="*/ 40980 w 86"/>
                <a:gd name="T59" fmla="*/ 101639 h 41"/>
                <a:gd name="T60" fmla="*/ 38248 w 86"/>
                <a:gd name="T61" fmla="*/ 92927 h 41"/>
                <a:gd name="T62" fmla="*/ 57372 w 86"/>
                <a:gd name="T63" fmla="*/ 84215 h 41"/>
                <a:gd name="T64" fmla="*/ 46444 w 86"/>
                <a:gd name="T65" fmla="*/ 69695 h 41"/>
                <a:gd name="T66" fmla="*/ 13660 w 86"/>
                <a:gd name="T67" fmla="*/ 69695 h 41"/>
                <a:gd name="T68" fmla="*/ 13660 w 86"/>
                <a:gd name="T69" fmla="*/ 60983 h 41"/>
                <a:gd name="T70" fmla="*/ 38248 w 86"/>
                <a:gd name="T71" fmla="*/ 55176 h 41"/>
                <a:gd name="T72" fmla="*/ 51908 w 86"/>
                <a:gd name="T73" fmla="*/ 43560 h 41"/>
                <a:gd name="T74" fmla="*/ 32784 w 86"/>
                <a:gd name="T75" fmla="*/ 40656 h 41"/>
                <a:gd name="T76" fmla="*/ 10928 w 86"/>
                <a:gd name="T77" fmla="*/ 46464 h 41"/>
                <a:gd name="T78" fmla="*/ 0 w 86"/>
                <a:gd name="T79" fmla="*/ 40656 h 41"/>
                <a:gd name="T80" fmla="*/ 16392 w 86"/>
                <a:gd name="T81" fmla="*/ 17424 h 4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6" h="41">
                  <a:moveTo>
                    <a:pt x="6" y="6"/>
                  </a:moveTo>
                  <a:cubicBezTo>
                    <a:pt x="7" y="5"/>
                    <a:pt x="12" y="7"/>
                    <a:pt x="13" y="7"/>
                  </a:cubicBezTo>
                  <a:cubicBezTo>
                    <a:pt x="14" y="6"/>
                    <a:pt x="7" y="0"/>
                    <a:pt x="15" y="1"/>
                  </a:cubicBezTo>
                  <a:cubicBezTo>
                    <a:pt x="16" y="1"/>
                    <a:pt x="26" y="7"/>
                    <a:pt x="26" y="8"/>
                  </a:cubicBezTo>
                  <a:cubicBezTo>
                    <a:pt x="26" y="9"/>
                    <a:pt x="24" y="12"/>
                    <a:pt x="25" y="14"/>
                  </a:cubicBezTo>
                  <a:cubicBezTo>
                    <a:pt x="26" y="15"/>
                    <a:pt x="25" y="18"/>
                    <a:pt x="26" y="18"/>
                  </a:cubicBezTo>
                  <a:cubicBezTo>
                    <a:pt x="28" y="18"/>
                    <a:pt x="29" y="12"/>
                    <a:pt x="30" y="12"/>
                  </a:cubicBezTo>
                  <a:cubicBezTo>
                    <a:pt x="30" y="12"/>
                    <a:pt x="33" y="12"/>
                    <a:pt x="33" y="11"/>
                  </a:cubicBezTo>
                  <a:cubicBezTo>
                    <a:pt x="33" y="9"/>
                    <a:pt x="32" y="6"/>
                    <a:pt x="34" y="6"/>
                  </a:cubicBezTo>
                  <a:cubicBezTo>
                    <a:pt x="35" y="5"/>
                    <a:pt x="38" y="10"/>
                    <a:pt x="40" y="10"/>
                  </a:cubicBezTo>
                  <a:cubicBezTo>
                    <a:pt x="41" y="10"/>
                    <a:pt x="41" y="5"/>
                    <a:pt x="42" y="5"/>
                  </a:cubicBezTo>
                  <a:cubicBezTo>
                    <a:pt x="44" y="5"/>
                    <a:pt x="48" y="11"/>
                    <a:pt x="50" y="11"/>
                  </a:cubicBezTo>
                  <a:cubicBezTo>
                    <a:pt x="51" y="10"/>
                    <a:pt x="51" y="5"/>
                    <a:pt x="52" y="5"/>
                  </a:cubicBezTo>
                  <a:cubicBezTo>
                    <a:pt x="54" y="5"/>
                    <a:pt x="57" y="6"/>
                    <a:pt x="59" y="6"/>
                  </a:cubicBezTo>
                  <a:cubicBezTo>
                    <a:pt x="61" y="6"/>
                    <a:pt x="62" y="6"/>
                    <a:pt x="63" y="5"/>
                  </a:cubicBezTo>
                  <a:cubicBezTo>
                    <a:pt x="64" y="4"/>
                    <a:pt x="62" y="0"/>
                    <a:pt x="62" y="0"/>
                  </a:cubicBezTo>
                  <a:cubicBezTo>
                    <a:pt x="64" y="0"/>
                    <a:pt x="68" y="0"/>
                    <a:pt x="68" y="1"/>
                  </a:cubicBezTo>
                  <a:cubicBezTo>
                    <a:pt x="69" y="2"/>
                    <a:pt x="71" y="5"/>
                    <a:pt x="73" y="6"/>
                  </a:cubicBezTo>
                  <a:cubicBezTo>
                    <a:pt x="74" y="6"/>
                    <a:pt x="77" y="6"/>
                    <a:pt x="77" y="7"/>
                  </a:cubicBezTo>
                  <a:cubicBezTo>
                    <a:pt x="77" y="8"/>
                    <a:pt x="76" y="10"/>
                    <a:pt x="78" y="11"/>
                  </a:cubicBezTo>
                  <a:cubicBezTo>
                    <a:pt x="79" y="12"/>
                    <a:pt x="84" y="12"/>
                    <a:pt x="84" y="13"/>
                  </a:cubicBezTo>
                  <a:cubicBezTo>
                    <a:pt x="84" y="14"/>
                    <a:pt x="86" y="18"/>
                    <a:pt x="85" y="19"/>
                  </a:cubicBezTo>
                  <a:cubicBezTo>
                    <a:pt x="84" y="20"/>
                    <a:pt x="82" y="24"/>
                    <a:pt x="80" y="25"/>
                  </a:cubicBezTo>
                  <a:cubicBezTo>
                    <a:pt x="77" y="27"/>
                    <a:pt x="70" y="29"/>
                    <a:pt x="69" y="30"/>
                  </a:cubicBezTo>
                  <a:cubicBezTo>
                    <a:pt x="68" y="32"/>
                    <a:pt x="62" y="36"/>
                    <a:pt x="61" y="36"/>
                  </a:cubicBezTo>
                  <a:cubicBezTo>
                    <a:pt x="60" y="36"/>
                    <a:pt x="55" y="34"/>
                    <a:pt x="54" y="35"/>
                  </a:cubicBezTo>
                  <a:cubicBezTo>
                    <a:pt x="52" y="37"/>
                    <a:pt x="50" y="41"/>
                    <a:pt x="47" y="41"/>
                  </a:cubicBezTo>
                  <a:cubicBezTo>
                    <a:pt x="44" y="41"/>
                    <a:pt x="37" y="40"/>
                    <a:pt x="34" y="38"/>
                  </a:cubicBezTo>
                  <a:cubicBezTo>
                    <a:pt x="30" y="37"/>
                    <a:pt x="28" y="35"/>
                    <a:pt x="26" y="35"/>
                  </a:cubicBezTo>
                  <a:cubicBezTo>
                    <a:pt x="24" y="35"/>
                    <a:pt x="16" y="36"/>
                    <a:pt x="15" y="35"/>
                  </a:cubicBezTo>
                  <a:cubicBezTo>
                    <a:pt x="14" y="35"/>
                    <a:pt x="14" y="34"/>
                    <a:pt x="14" y="32"/>
                  </a:cubicBezTo>
                  <a:cubicBezTo>
                    <a:pt x="14" y="30"/>
                    <a:pt x="21" y="30"/>
                    <a:pt x="21" y="29"/>
                  </a:cubicBezTo>
                  <a:cubicBezTo>
                    <a:pt x="21" y="28"/>
                    <a:pt x="19" y="25"/>
                    <a:pt x="17" y="24"/>
                  </a:cubicBezTo>
                  <a:cubicBezTo>
                    <a:pt x="15" y="23"/>
                    <a:pt x="7" y="26"/>
                    <a:pt x="5" y="24"/>
                  </a:cubicBezTo>
                  <a:cubicBezTo>
                    <a:pt x="4" y="22"/>
                    <a:pt x="5" y="21"/>
                    <a:pt x="5" y="21"/>
                  </a:cubicBezTo>
                  <a:cubicBezTo>
                    <a:pt x="5" y="21"/>
                    <a:pt x="13" y="20"/>
                    <a:pt x="14" y="19"/>
                  </a:cubicBezTo>
                  <a:cubicBezTo>
                    <a:pt x="16" y="18"/>
                    <a:pt x="19" y="15"/>
                    <a:pt x="19" y="15"/>
                  </a:cubicBezTo>
                  <a:cubicBezTo>
                    <a:pt x="19" y="14"/>
                    <a:pt x="14" y="14"/>
                    <a:pt x="12" y="14"/>
                  </a:cubicBezTo>
                  <a:cubicBezTo>
                    <a:pt x="10" y="14"/>
                    <a:pt x="6" y="16"/>
                    <a:pt x="4" y="16"/>
                  </a:cubicBezTo>
                  <a:cubicBezTo>
                    <a:pt x="3" y="15"/>
                    <a:pt x="1" y="15"/>
                    <a:pt x="0" y="14"/>
                  </a:cubicBezTo>
                  <a:cubicBezTo>
                    <a:pt x="0" y="13"/>
                    <a:pt x="4" y="8"/>
                    <a:pt x="6" y="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2" name="Freeform 286"/>
            <p:cNvSpPr>
              <a:spLocks/>
            </p:cNvSpPr>
            <p:nvPr>
              <p:custDataLst>
                <p:tags r:id="rId201"/>
              </p:custDataLst>
            </p:nvPr>
          </p:nvSpPr>
          <p:spPr bwMode="auto">
            <a:xfrm>
              <a:off x="2644" y="1812"/>
              <a:ext cx="111" cy="171"/>
            </a:xfrm>
            <a:custGeom>
              <a:avLst/>
              <a:gdLst>
                <a:gd name="T0" fmla="*/ 0 w 64"/>
                <a:gd name="T1" fmla="*/ 43784 h 93"/>
                <a:gd name="T2" fmla="*/ 5507 w 64"/>
                <a:gd name="T3" fmla="*/ 35027 h 93"/>
                <a:gd name="T4" fmla="*/ 19273 w 64"/>
                <a:gd name="T5" fmla="*/ 40865 h 93"/>
                <a:gd name="T6" fmla="*/ 33040 w 64"/>
                <a:gd name="T7" fmla="*/ 5838 h 93"/>
                <a:gd name="T8" fmla="*/ 71587 w 64"/>
                <a:gd name="T9" fmla="*/ 0 h 93"/>
                <a:gd name="T10" fmla="*/ 74340 w 64"/>
                <a:gd name="T11" fmla="*/ 8757 h 93"/>
                <a:gd name="T12" fmla="*/ 52313 w 64"/>
                <a:gd name="T13" fmla="*/ 26271 h 93"/>
                <a:gd name="T14" fmla="*/ 49560 w 64"/>
                <a:gd name="T15" fmla="*/ 37946 h 93"/>
                <a:gd name="T16" fmla="*/ 96366 w 64"/>
                <a:gd name="T17" fmla="*/ 35027 h 93"/>
                <a:gd name="T18" fmla="*/ 82600 w 64"/>
                <a:gd name="T19" fmla="*/ 70055 h 93"/>
                <a:gd name="T20" fmla="*/ 63327 w 64"/>
                <a:gd name="T21" fmla="*/ 81731 h 93"/>
                <a:gd name="T22" fmla="*/ 79847 w 64"/>
                <a:gd name="T23" fmla="*/ 90488 h 93"/>
                <a:gd name="T24" fmla="*/ 99120 w 64"/>
                <a:gd name="T25" fmla="*/ 99245 h 93"/>
                <a:gd name="T26" fmla="*/ 112886 w 64"/>
                <a:gd name="T27" fmla="*/ 128434 h 93"/>
                <a:gd name="T28" fmla="*/ 129406 w 64"/>
                <a:gd name="T29" fmla="*/ 137191 h 93"/>
                <a:gd name="T30" fmla="*/ 143173 w 64"/>
                <a:gd name="T31" fmla="*/ 169300 h 93"/>
                <a:gd name="T32" fmla="*/ 137666 w 64"/>
                <a:gd name="T33" fmla="*/ 183894 h 93"/>
                <a:gd name="T34" fmla="*/ 148680 w 64"/>
                <a:gd name="T35" fmla="*/ 186813 h 93"/>
                <a:gd name="T36" fmla="*/ 156940 w 64"/>
                <a:gd name="T37" fmla="*/ 180975 h 93"/>
                <a:gd name="T38" fmla="*/ 170706 w 64"/>
                <a:gd name="T39" fmla="*/ 183894 h 93"/>
                <a:gd name="T40" fmla="*/ 167953 w 64"/>
                <a:gd name="T41" fmla="*/ 210165 h 93"/>
                <a:gd name="T42" fmla="*/ 145926 w 64"/>
                <a:gd name="T43" fmla="*/ 221841 h 93"/>
                <a:gd name="T44" fmla="*/ 167953 w 64"/>
                <a:gd name="T45" fmla="*/ 233517 h 93"/>
                <a:gd name="T46" fmla="*/ 140420 w 64"/>
                <a:gd name="T47" fmla="*/ 248111 h 93"/>
                <a:gd name="T48" fmla="*/ 101873 w 64"/>
                <a:gd name="T49" fmla="*/ 245192 h 93"/>
                <a:gd name="T50" fmla="*/ 68833 w 64"/>
                <a:gd name="T51" fmla="*/ 251030 h 93"/>
                <a:gd name="T52" fmla="*/ 60573 w 64"/>
                <a:gd name="T53" fmla="*/ 265625 h 93"/>
                <a:gd name="T54" fmla="*/ 46807 w 64"/>
                <a:gd name="T55" fmla="*/ 259787 h 93"/>
                <a:gd name="T56" fmla="*/ 27533 w 64"/>
                <a:gd name="T57" fmla="*/ 271463 h 93"/>
                <a:gd name="T58" fmla="*/ 13767 w 64"/>
                <a:gd name="T59" fmla="*/ 268544 h 93"/>
                <a:gd name="T60" fmla="*/ 35793 w 64"/>
                <a:gd name="T61" fmla="*/ 251030 h 93"/>
                <a:gd name="T62" fmla="*/ 46807 w 64"/>
                <a:gd name="T63" fmla="*/ 236436 h 93"/>
                <a:gd name="T64" fmla="*/ 71587 w 64"/>
                <a:gd name="T65" fmla="*/ 233517 h 93"/>
                <a:gd name="T66" fmla="*/ 79847 w 64"/>
                <a:gd name="T67" fmla="*/ 224760 h 93"/>
                <a:gd name="T68" fmla="*/ 55067 w 64"/>
                <a:gd name="T69" fmla="*/ 218922 h 93"/>
                <a:gd name="T70" fmla="*/ 30287 w 64"/>
                <a:gd name="T71" fmla="*/ 216003 h 93"/>
                <a:gd name="T72" fmla="*/ 35793 w 64"/>
                <a:gd name="T73" fmla="*/ 207246 h 93"/>
                <a:gd name="T74" fmla="*/ 52313 w 64"/>
                <a:gd name="T75" fmla="*/ 198489 h 93"/>
                <a:gd name="T76" fmla="*/ 49560 w 64"/>
                <a:gd name="T77" fmla="*/ 183894 h 93"/>
                <a:gd name="T78" fmla="*/ 38547 w 64"/>
                <a:gd name="T79" fmla="*/ 180975 h 93"/>
                <a:gd name="T80" fmla="*/ 49560 w 64"/>
                <a:gd name="T81" fmla="*/ 169300 h 93"/>
                <a:gd name="T82" fmla="*/ 74340 w 64"/>
                <a:gd name="T83" fmla="*/ 169300 h 93"/>
                <a:gd name="T84" fmla="*/ 74340 w 64"/>
                <a:gd name="T85" fmla="*/ 145948 h 93"/>
                <a:gd name="T86" fmla="*/ 63327 w 64"/>
                <a:gd name="T87" fmla="*/ 131353 h 93"/>
                <a:gd name="T88" fmla="*/ 74340 w 64"/>
                <a:gd name="T89" fmla="*/ 119677 h 93"/>
                <a:gd name="T90" fmla="*/ 55067 w 64"/>
                <a:gd name="T91" fmla="*/ 122596 h 93"/>
                <a:gd name="T92" fmla="*/ 38547 w 64"/>
                <a:gd name="T93" fmla="*/ 131353 h 93"/>
                <a:gd name="T94" fmla="*/ 33040 w 64"/>
                <a:gd name="T95" fmla="*/ 122596 h 93"/>
                <a:gd name="T96" fmla="*/ 35793 w 64"/>
                <a:gd name="T97" fmla="*/ 110920 h 93"/>
                <a:gd name="T98" fmla="*/ 41300 w 64"/>
                <a:gd name="T99" fmla="*/ 102163 h 93"/>
                <a:gd name="T100" fmla="*/ 38547 w 64"/>
                <a:gd name="T101" fmla="*/ 87569 h 93"/>
                <a:gd name="T102" fmla="*/ 30287 w 64"/>
                <a:gd name="T103" fmla="*/ 81731 h 93"/>
                <a:gd name="T104" fmla="*/ 16520 w 64"/>
                <a:gd name="T105" fmla="*/ 93407 h 93"/>
                <a:gd name="T106" fmla="*/ 13767 w 64"/>
                <a:gd name="T107" fmla="*/ 75893 h 93"/>
                <a:gd name="T108" fmla="*/ 13767 w 64"/>
                <a:gd name="T109" fmla="*/ 55460 h 93"/>
                <a:gd name="T110" fmla="*/ 0 w 64"/>
                <a:gd name="T111" fmla="*/ 43784 h 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4" h="93">
                  <a:moveTo>
                    <a:pt x="0" y="15"/>
                  </a:moveTo>
                  <a:cubicBezTo>
                    <a:pt x="1" y="14"/>
                    <a:pt x="2" y="12"/>
                    <a:pt x="2" y="12"/>
                  </a:cubicBezTo>
                  <a:cubicBezTo>
                    <a:pt x="3" y="12"/>
                    <a:pt x="6" y="15"/>
                    <a:pt x="7" y="14"/>
                  </a:cubicBezTo>
                  <a:cubicBezTo>
                    <a:pt x="8" y="13"/>
                    <a:pt x="11" y="3"/>
                    <a:pt x="12" y="2"/>
                  </a:cubicBezTo>
                  <a:cubicBezTo>
                    <a:pt x="13" y="1"/>
                    <a:pt x="25" y="1"/>
                    <a:pt x="26" y="0"/>
                  </a:cubicBezTo>
                  <a:cubicBezTo>
                    <a:pt x="26" y="0"/>
                    <a:pt x="27" y="2"/>
                    <a:pt x="27" y="3"/>
                  </a:cubicBezTo>
                  <a:cubicBezTo>
                    <a:pt x="27" y="5"/>
                    <a:pt x="20" y="8"/>
                    <a:pt x="19" y="9"/>
                  </a:cubicBezTo>
                  <a:cubicBezTo>
                    <a:pt x="18" y="9"/>
                    <a:pt x="17" y="13"/>
                    <a:pt x="18" y="13"/>
                  </a:cubicBezTo>
                  <a:cubicBezTo>
                    <a:pt x="19" y="14"/>
                    <a:pt x="34" y="11"/>
                    <a:pt x="35" y="12"/>
                  </a:cubicBezTo>
                  <a:cubicBezTo>
                    <a:pt x="36" y="13"/>
                    <a:pt x="31" y="23"/>
                    <a:pt x="30" y="24"/>
                  </a:cubicBezTo>
                  <a:cubicBezTo>
                    <a:pt x="29" y="25"/>
                    <a:pt x="23" y="27"/>
                    <a:pt x="23" y="28"/>
                  </a:cubicBezTo>
                  <a:cubicBezTo>
                    <a:pt x="21" y="29"/>
                    <a:pt x="28" y="31"/>
                    <a:pt x="29" y="31"/>
                  </a:cubicBezTo>
                  <a:cubicBezTo>
                    <a:pt x="31" y="31"/>
                    <a:pt x="34" y="30"/>
                    <a:pt x="36" y="34"/>
                  </a:cubicBezTo>
                  <a:cubicBezTo>
                    <a:pt x="38" y="37"/>
                    <a:pt x="39" y="43"/>
                    <a:pt x="41" y="44"/>
                  </a:cubicBezTo>
                  <a:cubicBezTo>
                    <a:pt x="43" y="45"/>
                    <a:pt x="46" y="44"/>
                    <a:pt x="47" y="47"/>
                  </a:cubicBezTo>
                  <a:cubicBezTo>
                    <a:pt x="48" y="49"/>
                    <a:pt x="52" y="56"/>
                    <a:pt x="52" y="58"/>
                  </a:cubicBezTo>
                  <a:cubicBezTo>
                    <a:pt x="52" y="59"/>
                    <a:pt x="49" y="61"/>
                    <a:pt x="50" y="63"/>
                  </a:cubicBezTo>
                  <a:cubicBezTo>
                    <a:pt x="51" y="64"/>
                    <a:pt x="53" y="65"/>
                    <a:pt x="54" y="64"/>
                  </a:cubicBezTo>
                  <a:cubicBezTo>
                    <a:pt x="55" y="64"/>
                    <a:pt x="57" y="62"/>
                    <a:pt x="57" y="62"/>
                  </a:cubicBezTo>
                  <a:cubicBezTo>
                    <a:pt x="57" y="62"/>
                    <a:pt x="61" y="62"/>
                    <a:pt x="62" y="63"/>
                  </a:cubicBezTo>
                  <a:cubicBezTo>
                    <a:pt x="64" y="65"/>
                    <a:pt x="64" y="70"/>
                    <a:pt x="61" y="72"/>
                  </a:cubicBezTo>
                  <a:cubicBezTo>
                    <a:pt x="58" y="74"/>
                    <a:pt x="53" y="75"/>
                    <a:pt x="53" y="76"/>
                  </a:cubicBezTo>
                  <a:cubicBezTo>
                    <a:pt x="52" y="78"/>
                    <a:pt x="61" y="79"/>
                    <a:pt x="61" y="80"/>
                  </a:cubicBezTo>
                  <a:cubicBezTo>
                    <a:pt x="61" y="81"/>
                    <a:pt x="52" y="85"/>
                    <a:pt x="51" y="85"/>
                  </a:cubicBezTo>
                  <a:cubicBezTo>
                    <a:pt x="49" y="84"/>
                    <a:pt x="40" y="83"/>
                    <a:pt x="37" y="84"/>
                  </a:cubicBezTo>
                  <a:cubicBezTo>
                    <a:pt x="35" y="85"/>
                    <a:pt x="26" y="85"/>
                    <a:pt x="25" y="86"/>
                  </a:cubicBezTo>
                  <a:cubicBezTo>
                    <a:pt x="24" y="88"/>
                    <a:pt x="24" y="91"/>
                    <a:pt x="22" y="91"/>
                  </a:cubicBezTo>
                  <a:cubicBezTo>
                    <a:pt x="20" y="90"/>
                    <a:pt x="19" y="88"/>
                    <a:pt x="17" y="89"/>
                  </a:cubicBezTo>
                  <a:cubicBezTo>
                    <a:pt x="15" y="90"/>
                    <a:pt x="11" y="93"/>
                    <a:pt x="10" y="93"/>
                  </a:cubicBezTo>
                  <a:cubicBezTo>
                    <a:pt x="9" y="93"/>
                    <a:pt x="5" y="93"/>
                    <a:pt x="5" y="92"/>
                  </a:cubicBezTo>
                  <a:cubicBezTo>
                    <a:pt x="5" y="90"/>
                    <a:pt x="11" y="86"/>
                    <a:pt x="13" y="86"/>
                  </a:cubicBezTo>
                  <a:cubicBezTo>
                    <a:pt x="14" y="85"/>
                    <a:pt x="16" y="81"/>
                    <a:pt x="17" y="81"/>
                  </a:cubicBezTo>
                  <a:cubicBezTo>
                    <a:pt x="18" y="80"/>
                    <a:pt x="25" y="80"/>
                    <a:pt x="26" y="80"/>
                  </a:cubicBezTo>
                  <a:cubicBezTo>
                    <a:pt x="27" y="79"/>
                    <a:pt x="30" y="78"/>
                    <a:pt x="29" y="77"/>
                  </a:cubicBezTo>
                  <a:cubicBezTo>
                    <a:pt x="28" y="75"/>
                    <a:pt x="21" y="75"/>
                    <a:pt x="20" y="75"/>
                  </a:cubicBezTo>
                  <a:cubicBezTo>
                    <a:pt x="19" y="74"/>
                    <a:pt x="12" y="76"/>
                    <a:pt x="11" y="74"/>
                  </a:cubicBezTo>
                  <a:cubicBezTo>
                    <a:pt x="10" y="73"/>
                    <a:pt x="12" y="72"/>
                    <a:pt x="13" y="71"/>
                  </a:cubicBezTo>
                  <a:cubicBezTo>
                    <a:pt x="14" y="70"/>
                    <a:pt x="19" y="69"/>
                    <a:pt x="19" y="68"/>
                  </a:cubicBezTo>
                  <a:cubicBezTo>
                    <a:pt x="19" y="68"/>
                    <a:pt x="19" y="63"/>
                    <a:pt x="18" y="63"/>
                  </a:cubicBezTo>
                  <a:cubicBezTo>
                    <a:pt x="17" y="62"/>
                    <a:pt x="14" y="64"/>
                    <a:pt x="14" y="62"/>
                  </a:cubicBezTo>
                  <a:cubicBezTo>
                    <a:pt x="14" y="61"/>
                    <a:pt x="16" y="59"/>
                    <a:pt x="18" y="58"/>
                  </a:cubicBezTo>
                  <a:cubicBezTo>
                    <a:pt x="19" y="58"/>
                    <a:pt x="26" y="59"/>
                    <a:pt x="27" y="58"/>
                  </a:cubicBezTo>
                  <a:cubicBezTo>
                    <a:pt x="28" y="57"/>
                    <a:pt x="28" y="52"/>
                    <a:pt x="27" y="50"/>
                  </a:cubicBezTo>
                  <a:cubicBezTo>
                    <a:pt x="26" y="49"/>
                    <a:pt x="23" y="46"/>
                    <a:pt x="23" y="45"/>
                  </a:cubicBezTo>
                  <a:cubicBezTo>
                    <a:pt x="23" y="44"/>
                    <a:pt x="27" y="42"/>
                    <a:pt x="27" y="41"/>
                  </a:cubicBezTo>
                  <a:cubicBezTo>
                    <a:pt x="26" y="39"/>
                    <a:pt x="21" y="41"/>
                    <a:pt x="20" y="42"/>
                  </a:cubicBezTo>
                  <a:cubicBezTo>
                    <a:pt x="19" y="43"/>
                    <a:pt x="15" y="45"/>
                    <a:pt x="14" y="45"/>
                  </a:cubicBezTo>
                  <a:cubicBezTo>
                    <a:pt x="13" y="44"/>
                    <a:pt x="14" y="43"/>
                    <a:pt x="12" y="42"/>
                  </a:cubicBezTo>
                  <a:cubicBezTo>
                    <a:pt x="10" y="40"/>
                    <a:pt x="13" y="38"/>
                    <a:pt x="13" y="38"/>
                  </a:cubicBezTo>
                  <a:cubicBezTo>
                    <a:pt x="13" y="36"/>
                    <a:pt x="16" y="36"/>
                    <a:pt x="15" y="35"/>
                  </a:cubicBezTo>
                  <a:cubicBezTo>
                    <a:pt x="14" y="34"/>
                    <a:pt x="14" y="32"/>
                    <a:pt x="14" y="30"/>
                  </a:cubicBezTo>
                  <a:cubicBezTo>
                    <a:pt x="14" y="29"/>
                    <a:pt x="12" y="28"/>
                    <a:pt x="11" y="28"/>
                  </a:cubicBezTo>
                  <a:cubicBezTo>
                    <a:pt x="10" y="28"/>
                    <a:pt x="8" y="33"/>
                    <a:pt x="6" y="32"/>
                  </a:cubicBezTo>
                  <a:cubicBezTo>
                    <a:pt x="4" y="31"/>
                    <a:pt x="5" y="27"/>
                    <a:pt x="5" y="26"/>
                  </a:cubicBezTo>
                  <a:cubicBezTo>
                    <a:pt x="5" y="25"/>
                    <a:pt x="7" y="20"/>
                    <a:pt x="5" y="19"/>
                  </a:cubicBezTo>
                  <a:cubicBezTo>
                    <a:pt x="4" y="18"/>
                    <a:pt x="0" y="16"/>
                    <a:pt x="0" y="1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3" name="Freeform 287"/>
            <p:cNvSpPr>
              <a:spLocks/>
            </p:cNvSpPr>
            <p:nvPr>
              <p:custDataLst>
                <p:tags r:id="rId202"/>
              </p:custDataLst>
            </p:nvPr>
          </p:nvSpPr>
          <p:spPr bwMode="auto">
            <a:xfrm>
              <a:off x="2629" y="1812"/>
              <a:ext cx="22" cy="38"/>
            </a:xfrm>
            <a:custGeom>
              <a:avLst/>
              <a:gdLst>
                <a:gd name="T0" fmla="*/ 0 w 13"/>
                <a:gd name="T1" fmla="*/ 43089 h 21"/>
                <a:gd name="T2" fmla="*/ 5373 w 13"/>
                <a:gd name="T3" fmla="*/ 14363 h 21"/>
                <a:gd name="T4" fmla="*/ 32238 w 13"/>
                <a:gd name="T5" fmla="*/ 2873 h 21"/>
                <a:gd name="T6" fmla="*/ 29552 w 13"/>
                <a:gd name="T7" fmla="*/ 17236 h 21"/>
                <a:gd name="T8" fmla="*/ 16119 w 13"/>
                <a:gd name="T9" fmla="*/ 28726 h 21"/>
                <a:gd name="T10" fmla="*/ 8060 w 13"/>
                <a:gd name="T11" fmla="*/ 51707 h 21"/>
                <a:gd name="T12" fmla="*/ 2687 w 13"/>
                <a:gd name="T13" fmla="*/ 60325 h 21"/>
                <a:gd name="T14" fmla="*/ 0 w 13"/>
                <a:gd name="T15" fmla="*/ 43089 h 2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21">
                  <a:moveTo>
                    <a:pt x="0" y="15"/>
                  </a:moveTo>
                  <a:cubicBezTo>
                    <a:pt x="0" y="13"/>
                    <a:pt x="1" y="6"/>
                    <a:pt x="2" y="5"/>
                  </a:cubicBezTo>
                  <a:cubicBezTo>
                    <a:pt x="3" y="4"/>
                    <a:pt x="10" y="0"/>
                    <a:pt x="12" y="1"/>
                  </a:cubicBezTo>
                  <a:cubicBezTo>
                    <a:pt x="13" y="2"/>
                    <a:pt x="11" y="5"/>
                    <a:pt x="11" y="6"/>
                  </a:cubicBezTo>
                  <a:cubicBezTo>
                    <a:pt x="11" y="6"/>
                    <a:pt x="6" y="9"/>
                    <a:pt x="6" y="10"/>
                  </a:cubicBezTo>
                  <a:cubicBezTo>
                    <a:pt x="6" y="10"/>
                    <a:pt x="3" y="17"/>
                    <a:pt x="3" y="18"/>
                  </a:cubicBezTo>
                  <a:cubicBezTo>
                    <a:pt x="3" y="18"/>
                    <a:pt x="2" y="21"/>
                    <a:pt x="1" y="21"/>
                  </a:cubicBezTo>
                  <a:cubicBezTo>
                    <a:pt x="0" y="21"/>
                    <a:pt x="0" y="18"/>
                    <a:pt x="0" y="1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4" name="Freeform 288"/>
            <p:cNvSpPr>
              <a:spLocks/>
            </p:cNvSpPr>
            <p:nvPr>
              <p:custDataLst>
                <p:tags r:id="rId203"/>
              </p:custDataLst>
            </p:nvPr>
          </p:nvSpPr>
          <p:spPr bwMode="auto">
            <a:xfrm>
              <a:off x="2631" y="1882"/>
              <a:ext cx="30" cy="24"/>
            </a:xfrm>
            <a:custGeom>
              <a:avLst/>
              <a:gdLst>
                <a:gd name="T0" fmla="*/ 30816 w 17"/>
                <a:gd name="T1" fmla="*/ 0 h 13"/>
                <a:gd name="T2" fmla="*/ 44824 w 17"/>
                <a:gd name="T3" fmla="*/ 23446 h 13"/>
                <a:gd name="T4" fmla="*/ 25213 w 17"/>
                <a:gd name="T5" fmla="*/ 38100 h 13"/>
                <a:gd name="T6" fmla="*/ 16809 w 17"/>
                <a:gd name="T7" fmla="*/ 32238 h 13"/>
                <a:gd name="T8" fmla="*/ 2801 w 17"/>
                <a:gd name="T9" fmla="*/ 29308 h 13"/>
                <a:gd name="T10" fmla="*/ 11206 w 17"/>
                <a:gd name="T11" fmla="*/ 8792 h 13"/>
                <a:gd name="T12" fmla="*/ 19610 w 17"/>
                <a:gd name="T13" fmla="*/ 0 h 13"/>
                <a:gd name="T14" fmla="*/ 30816 w 17"/>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3">
                  <a:moveTo>
                    <a:pt x="11" y="0"/>
                  </a:moveTo>
                  <a:cubicBezTo>
                    <a:pt x="12" y="1"/>
                    <a:pt x="17" y="8"/>
                    <a:pt x="16" y="8"/>
                  </a:cubicBezTo>
                  <a:cubicBezTo>
                    <a:pt x="15" y="9"/>
                    <a:pt x="9" y="12"/>
                    <a:pt x="9" y="13"/>
                  </a:cubicBezTo>
                  <a:cubicBezTo>
                    <a:pt x="6" y="11"/>
                    <a:pt x="6" y="11"/>
                    <a:pt x="6" y="11"/>
                  </a:cubicBezTo>
                  <a:cubicBezTo>
                    <a:pt x="6" y="10"/>
                    <a:pt x="0" y="11"/>
                    <a:pt x="1" y="10"/>
                  </a:cubicBezTo>
                  <a:cubicBezTo>
                    <a:pt x="1" y="9"/>
                    <a:pt x="4" y="3"/>
                    <a:pt x="4" y="3"/>
                  </a:cubicBezTo>
                  <a:cubicBezTo>
                    <a:pt x="7" y="0"/>
                    <a:pt x="7" y="0"/>
                    <a:pt x="7" y="0"/>
                  </a:cubicBezTo>
                  <a:cubicBezTo>
                    <a:pt x="9" y="0"/>
                    <a:pt x="11" y="0"/>
                    <a:pt x="11" y="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 name="Freeform 289"/>
            <p:cNvSpPr>
              <a:spLocks/>
            </p:cNvSpPr>
            <p:nvPr>
              <p:custDataLst>
                <p:tags r:id="rId204"/>
              </p:custDataLst>
            </p:nvPr>
          </p:nvSpPr>
          <p:spPr bwMode="auto">
            <a:xfrm>
              <a:off x="2594" y="1881"/>
              <a:ext cx="58" cy="75"/>
            </a:xfrm>
            <a:custGeom>
              <a:avLst/>
              <a:gdLst>
                <a:gd name="T0" fmla="*/ 83951 w 34"/>
                <a:gd name="T1" fmla="*/ 40656 h 41"/>
                <a:gd name="T2" fmla="*/ 92075 w 34"/>
                <a:gd name="T3" fmla="*/ 72599 h 41"/>
                <a:gd name="T4" fmla="*/ 86659 w 34"/>
                <a:gd name="T5" fmla="*/ 95831 h 41"/>
                <a:gd name="T6" fmla="*/ 56870 w 34"/>
                <a:gd name="T7" fmla="*/ 98735 h 41"/>
                <a:gd name="T8" fmla="*/ 32497 w 34"/>
                <a:gd name="T9" fmla="*/ 116159 h 41"/>
                <a:gd name="T10" fmla="*/ 13540 w 34"/>
                <a:gd name="T11" fmla="*/ 113255 h 41"/>
                <a:gd name="T12" fmla="*/ 2708 w 34"/>
                <a:gd name="T13" fmla="*/ 104543 h 41"/>
                <a:gd name="T14" fmla="*/ 5416 w 34"/>
                <a:gd name="T15" fmla="*/ 92927 h 41"/>
                <a:gd name="T16" fmla="*/ 21665 w 34"/>
                <a:gd name="T17" fmla="*/ 81311 h 41"/>
                <a:gd name="T18" fmla="*/ 32497 w 34"/>
                <a:gd name="T19" fmla="*/ 69695 h 41"/>
                <a:gd name="T20" fmla="*/ 24373 w 34"/>
                <a:gd name="T21" fmla="*/ 60983 h 41"/>
                <a:gd name="T22" fmla="*/ 8124 w 34"/>
                <a:gd name="T23" fmla="*/ 58080 h 41"/>
                <a:gd name="T24" fmla="*/ 13540 w 34"/>
                <a:gd name="T25" fmla="*/ 46464 h 41"/>
                <a:gd name="T26" fmla="*/ 8124 w 34"/>
                <a:gd name="T27" fmla="*/ 31944 h 41"/>
                <a:gd name="T28" fmla="*/ 46038 w 34"/>
                <a:gd name="T29" fmla="*/ 29040 h 41"/>
                <a:gd name="T30" fmla="*/ 48746 w 34"/>
                <a:gd name="T31" fmla="*/ 20328 h 41"/>
                <a:gd name="T32" fmla="*/ 35205 w 34"/>
                <a:gd name="T33" fmla="*/ 14520 h 41"/>
                <a:gd name="T34" fmla="*/ 56870 w 34"/>
                <a:gd name="T35" fmla="*/ 0 h 41"/>
                <a:gd name="T36" fmla="*/ 73118 w 34"/>
                <a:gd name="T37" fmla="*/ 2904 h 41"/>
                <a:gd name="T38" fmla="*/ 78535 w 34"/>
                <a:gd name="T39" fmla="*/ 2904 h 41"/>
                <a:gd name="T40" fmla="*/ 70410 w 34"/>
                <a:gd name="T41" fmla="*/ 11616 h 41"/>
                <a:gd name="T42" fmla="*/ 62286 w 34"/>
                <a:gd name="T43" fmla="*/ 31944 h 41"/>
                <a:gd name="T44" fmla="*/ 75826 w 34"/>
                <a:gd name="T45" fmla="*/ 34848 h 41"/>
                <a:gd name="T46" fmla="*/ 83951 w 34"/>
                <a:gd name="T47" fmla="*/ 40656 h 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41">
                  <a:moveTo>
                    <a:pt x="31" y="14"/>
                  </a:moveTo>
                  <a:cubicBezTo>
                    <a:pt x="31" y="15"/>
                    <a:pt x="34" y="24"/>
                    <a:pt x="34" y="25"/>
                  </a:cubicBezTo>
                  <a:cubicBezTo>
                    <a:pt x="34" y="27"/>
                    <a:pt x="33" y="32"/>
                    <a:pt x="32" y="33"/>
                  </a:cubicBezTo>
                  <a:cubicBezTo>
                    <a:pt x="31" y="34"/>
                    <a:pt x="25" y="33"/>
                    <a:pt x="21" y="34"/>
                  </a:cubicBezTo>
                  <a:cubicBezTo>
                    <a:pt x="18" y="35"/>
                    <a:pt x="13" y="39"/>
                    <a:pt x="12" y="40"/>
                  </a:cubicBezTo>
                  <a:cubicBezTo>
                    <a:pt x="11" y="41"/>
                    <a:pt x="6" y="40"/>
                    <a:pt x="5" y="39"/>
                  </a:cubicBezTo>
                  <a:cubicBezTo>
                    <a:pt x="4" y="39"/>
                    <a:pt x="1" y="37"/>
                    <a:pt x="1" y="36"/>
                  </a:cubicBezTo>
                  <a:cubicBezTo>
                    <a:pt x="0" y="36"/>
                    <a:pt x="0" y="32"/>
                    <a:pt x="2" y="32"/>
                  </a:cubicBezTo>
                  <a:cubicBezTo>
                    <a:pt x="3" y="32"/>
                    <a:pt x="7" y="30"/>
                    <a:pt x="8" y="28"/>
                  </a:cubicBezTo>
                  <a:cubicBezTo>
                    <a:pt x="9" y="27"/>
                    <a:pt x="12" y="25"/>
                    <a:pt x="12" y="24"/>
                  </a:cubicBezTo>
                  <a:cubicBezTo>
                    <a:pt x="13" y="21"/>
                    <a:pt x="11" y="21"/>
                    <a:pt x="9" y="21"/>
                  </a:cubicBezTo>
                  <a:cubicBezTo>
                    <a:pt x="7" y="21"/>
                    <a:pt x="3" y="22"/>
                    <a:pt x="3" y="20"/>
                  </a:cubicBezTo>
                  <a:cubicBezTo>
                    <a:pt x="2" y="19"/>
                    <a:pt x="4" y="17"/>
                    <a:pt x="5" y="16"/>
                  </a:cubicBezTo>
                  <a:cubicBezTo>
                    <a:pt x="5" y="15"/>
                    <a:pt x="2" y="11"/>
                    <a:pt x="3" y="11"/>
                  </a:cubicBezTo>
                  <a:cubicBezTo>
                    <a:pt x="4" y="11"/>
                    <a:pt x="16" y="11"/>
                    <a:pt x="17" y="10"/>
                  </a:cubicBezTo>
                  <a:cubicBezTo>
                    <a:pt x="18" y="9"/>
                    <a:pt x="18" y="8"/>
                    <a:pt x="18" y="7"/>
                  </a:cubicBezTo>
                  <a:cubicBezTo>
                    <a:pt x="18" y="7"/>
                    <a:pt x="13" y="5"/>
                    <a:pt x="13" y="5"/>
                  </a:cubicBezTo>
                  <a:cubicBezTo>
                    <a:pt x="14" y="4"/>
                    <a:pt x="19" y="0"/>
                    <a:pt x="21" y="0"/>
                  </a:cubicBezTo>
                  <a:cubicBezTo>
                    <a:pt x="22" y="0"/>
                    <a:pt x="26" y="1"/>
                    <a:pt x="27" y="1"/>
                  </a:cubicBezTo>
                  <a:cubicBezTo>
                    <a:pt x="27" y="1"/>
                    <a:pt x="28" y="1"/>
                    <a:pt x="29" y="1"/>
                  </a:cubicBezTo>
                  <a:cubicBezTo>
                    <a:pt x="26" y="4"/>
                    <a:pt x="26" y="4"/>
                    <a:pt x="26" y="4"/>
                  </a:cubicBezTo>
                  <a:cubicBezTo>
                    <a:pt x="26" y="4"/>
                    <a:pt x="23" y="10"/>
                    <a:pt x="23" y="11"/>
                  </a:cubicBezTo>
                  <a:cubicBezTo>
                    <a:pt x="22" y="12"/>
                    <a:pt x="28" y="11"/>
                    <a:pt x="28" y="12"/>
                  </a:cubicBezTo>
                  <a:lnTo>
                    <a:pt x="31" y="14"/>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 name="Freeform 291"/>
            <p:cNvSpPr>
              <a:spLocks/>
            </p:cNvSpPr>
            <p:nvPr>
              <p:custDataLst>
                <p:tags r:id="rId205"/>
              </p:custDataLst>
            </p:nvPr>
          </p:nvSpPr>
          <p:spPr bwMode="auto">
            <a:xfrm>
              <a:off x="3294" y="2919"/>
              <a:ext cx="99" cy="195"/>
            </a:xfrm>
            <a:custGeom>
              <a:avLst/>
              <a:gdLst>
                <a:gd name="T0" fmla="*/ 16258 w 58"/>
                <a:gd name="T1" fmla="*/ 263273 h 107"/>
                <a:gd name="T2" fmla="*/ 8129 w 58"/>
                <a:gd name="T3" fmla="*/ 219877 h 107"/>
                <a:gd name="T4" fmla="*/ 35226 w 58"/>
                <a:gd name="T5" fmla="*/ 176480 h 107"/>
                <a:gd name="T6" fmla="*/ 21678 w 58"/>
                <a:gd name="T7" fmla="*/ 121511 h 107"/>
                <a:gd name="T8" fmla="*/ 37936 w 58"/>
                <a:gd name="T9" fmla="*/ 92580 h 107"/>
                <a:gd name="T10" fmla="*/ 84001 w 58"/>
                <a:gd name="T11" fmla="*/ 72328 h 107"/>
                <a:gd name="T12" fmla="*/ 105679 w 58"/>
                <a:gd name="T13" fmla="*/ 28931 h 107"/>
                <a:gd name="T14" fmla="*/ 121937 w 58"/>
                <a:gd name="T15" fmla="*/ 17359 h 107"/>
                <a:gd name="T16" fmla="*/ 132776 w 58"/>
                <a:gd name="T17" fmla="*/ 0 h 107"/>
                <a:gd name="T18" fmla="*/ 149034 w 58"/>
                <a:gd name="T19" fmla="*/ 26038 h 107"/>
                <a:gd name="T20" fmla="*/ 151744 w 58"/>
                <a:gd name="T21" fmla="*/ 75221 h 107"/>
                <a:gd name="T22" fmla="*/ 135485 w 58"/>
                <a:gd name="T23" fmla="*/ 92580 h 107"/>
                <a:gd name="T24" fmla="*/ 132776 w 58"/>
                <a:gd name="T25" fmla="*/ 130190 h 107"/>
                <a:gd name="T26" fmla="*/ 89420 w 58"/>
                <a:gd name="T27" fmla="*/ 289311 h 107"/>
                <a:gd name="T28" fmla="*/ 59614 w 58"/>
                <a:gd name="T29" fmla="*/ 309563 h 107"/>
                <a:gd name="T30" fmla="*/ 29807 w 58"/>
                <a:gd name="T31" fmla="*/ 297991 h 107"/>
                <a:gd name="T32" fmla="*/ 16258 w 58"/>
                <a:gd name="T33" fmla="*/ 263273 h 1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8" h="107">
                  <a:moveTo>
                    <a:pt x="6" y="91"/>
                  </a:moveTo>
                  <a:cubicBezTo>
                    <a:pt x="6" y="85"/>
                    <a:pt x="0" y="81"/>
                    <a:pt x="3" y="76"/>
                  </a:cubicBezTo>
                  <a:cubicBezTo>
                    <a:pt x="7" y="72"/>
                    <a:pt x="13" y="67"/>
                    <a:pt x="13" y="61"/>
                  </a:cubicBezTo>
                  <a:cubicBezTo>
                    <a:pt x="13" y="54"/>
                    <a:pt x="6" y="47"/>
                    <a:pt x="8" y="42"/>
                  </a:cubicBezTo>
                  <a:cubicBezTo>
                    <a:pt x="10" y="37"/>
                    <a:pt x="11" y="33"/>
                    <a:pt x="14" y="32"/>
                  </a:cubicBezTo>
                  <a:cubicBezTo>
                    <a:pt x="16" y="31"/>
                    <a:pt x="25" y="32"/>
                    <a:pt x="31" y="25"/>
                  </a:cubicBezTo>
                  <a:cubicBezTo>
                    <a:pt x="36" y="18"/>
                    <a:pt x="39" y="12"/>
                    <a:pt x="39" y="10"/>
                  </a:cubicBezTo>
                  <a:cubicBezTo>
                    <a:pt x="40" y="8"/>
                    <a:pt x="45" y="9"/>
                    <a:pt x="45" y="6"/>
                  </a:cubicBezTo>
                  <a:cubicBezTo>
                    <a:pt x="46" y="4"/>
                    <a:pt x="49" y="0"/>
                    <a:pt x="49" y="0"/>
                  </a:cubicBezTo>
                  <a:cubicBezTo>
                    <a:pt x="52" y="1"/>
                    <a:pt x="55" y="5"/>
                    <a:pt x="55" y="9"/>
                  </a:cubicBezTo>
                  <a:cubicBezTo>
                    <a:pt x="55" y="13"/>
                    <a:pt x="58" y="21"/>
                    <a:pt x="56" y="26"/>
                  </a:cubicBezTo>
                  <a:cubicBezTo>
                    <a:pt x="54" y="30"/>
                    <a:pt x="50" y="28"/>
                    <a:pt x="50" y="32"/>
                  </a:cubicBezTo>
                  <a:cubicBezTo>
                    <a:pt x="50" y="36"/>
                    <a:pt x="53" y="39"/>
                    <a:pt x="49" y="45"/>
                  </a:cubicBezTo>
                  <a:cubicBezTo>
                    <a:pt x="46" y="51"/>
                    <a:pt x="35" y="97"/>
                    <a:pt x="33" y="100"/>
                  </a:cubicBezTo>
                  <a:cubicBezTo>
                    <a:pt x="31" y="103"/>
                    <a:pt x="26" y="107"/>
                    <a:pt x="22" y="107"/>
                  </a:cubicBezTo>
                  <a:cubicBezTo>
                    <a:pt x="18" y="107"/>
                    <a:pt x="11" y="103"/>
                    <a:pt x="11" y="103"/>
                  </a:cubicBezTo>
                  <a:cubicBezTo>
                    <a:pt x="8" y="100"/>
                    <a:pt x="5" y="97"/>
                    <a:pt x="6" y="9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 name="Freeform 292"/>
            <p:cNvSpPr>
              <a:spLocks/>
            </p:cNvSpPr>
            <p:nvPr>
              <p:custDataLst>
                <p:tags r:id="rId206"/>
              </p:custDataLst>
            </p:nvPr>
          </p:nvSpPr>
          <p:spPr bwMode="auto">
            <a:xfrm>
              <a:off x="3267" y="2577"/>
              <a:ext cx="138" cy="192"/>
            </a:xfrm>
            <a:custGeom>
              <a:avLst/>
              <a:gdLst>
                <a:gd name="T0" fmla="*/ 0 w 80"/>
                <a:gd name="T1" fmla="*/ 290146 h 104"/>
                <a:gd name="T2" fmla="*/ 0 w 80"/>
                <a:gd name="T3" fmla="*/ 208085 h 104"/>
                <a:gd name="T4" fmla="*/ 8215 w 80"/>
                <a:gd name="T5" fmla="*/ 199292 h 104"/>
                <a:gd name="T6" fmla="*/ 16431 w 80"/>
                <a:gd name="T7" fmla="*/ 181708 h 104"/>
                <a:gd name="T8" fmla="*/ 24646 w 80"/>
                <a:gd name="T9" fmla="*/ 178777 h 104"/>
                <a:gd name="T10" fmla="*/ 54769 w 80"/>
                <a:gd name="T11" fmla="*/ 164123 h 104"/>
                <a:gd name="T12" fmla="*/ 84892 w 80"/>
                <a:gd name="T13" fmla="*/ 161192 h 104"/>
                <a:gd name="T14" fmla="*/ 147876 w 80"/>
                <a:gd name="T15" fmla="*/ 93785 h 104"/>
                <a:gd name="T16" fmla="*/ 68461 w 80"/>
                <a:gd name="T17" fmla="*/ 70338 h 104"/>
                <a:gd name="T18" fmla="*/ 35600 w 80"/>
                <a:gd name="T19" fmla="*/ 38100 h 104"/>
                <a:gd name="T20" fmla="*/ 41077 w 80"/>
                <a:gd name="T21" fmla="*/ 26377 h 104"/>
                <a:gd name="T22" fmla="*/ 52030 w 80"/>
                <a:gd name="T23" fmla="*/ 17585 h 104"/>
                <a:gd name="T24" fmla="*/ 76676 w 80"/>
                <a:gd name="T25" fmla="*/ 38100 h 104"/>
                <a:gd name="T26" fmla="*/ 104061 w 80"/>
                <a:gd name="T27" fmla="*/ 26377 h 104"/>
                <a:gd name="T28" fmla="*/ 147876 w 80"/>
                <a:gd name="T29" fmla="*/ 20515 h 104"/>
                <a:gd name="T30" fmla="*/ 194429 w 80"/>
                <a:gd name="T31" fmla="*/ 8792 h 104"/>
                <a:gd name="T32" fmla="*/ 205383 w 80"/>
                <a:gd name="T33" fmla="*/ 0 h 104"/>
                <a:gd name="T34" fmla="*/ 219075 w 80"/>
                <a:gd name="T35" fmla="*/ 2931 h 104"/>
                <a:gd name="T36" fmla="*/ 213598 w 80"/>
                <a:gd name="T37" fmla="*/ 32238 h 104"/>
                <a:gd name="T38" fmla="*/ 208121 w 80"/>
                <a:gd name="T39" fmla="*/ 64477 h 104"/>
                <a:gd name="T40" fmla="*/ 177998 w 80"/>
                <a:gd name="T41" fmla="*/ 117231 h 104"/>
                <a:gd name="T42" fmla="*/ 142399 w 80"/>
                <a:gd name="T43" fmla="*/ 178777 h 104"/>
                <a:gd name="T44" fmla="*/ 87630 w 80"/>
                <a:gd name="T45" fmla="*/ 228600 h 104"/>
                <a:gd name="T46" fmla="*/ 30123 w 80"/>
                <a:gd name="T47" fmla="*/ 281354 h 104"/>
                <a:gd name="T48" fmla="*/ 10954 w 80"/>
                <a:gd name="T49" fmla="*/ 304800 h 104"/>
                <a:gd name="T50" fmla="*/ 0 w 80"/>
                <a:gd name="T51" fmla="*/ 290146 h 10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0" h="104">
                  <a:moveTo>
                    <a:pt x="0" y="99"/>
                  </a:moveTo>
                  <a:cubicBezTo>
                    <a:pt x="0" y="71"/>
                    <a:pt x="0" y="71"/>
                    <a:pt x="0" y="71"/>
                  </a:cubicBezTo>
                  <a:cubicBezTo>
                    <a:pt x="3" y="68"/>
                    <a:pt x="3" y="68"/>
                    <a:pt x="3" y="68"/>
                  </a:cubicBezTo>
                  <a:cubicBezTo>
                    <a:pt x="6" y="62"/>
                    <a:pt x="6" y="62"/>
                    <a:pt x="6" y="62"/>
                  </a:cubicBezTo>
                  <a:cubicBezTo>
                    <a:pt x="7" y="62"/>
                    <a:pt x="9" y="62"/>
                    <a:pt x="9" y="61"/>
                  </a:cubicBezTo>
                  <a:cubicBezTo>
                    <a:pt x="10" y="61"/>
                    <a:pt x="17" y="57"/>
                    <a:pt x="20" y="56"/>
                  </a:cubicBezTo>
                  <a:cubicBezTo>
                    <a:pt x="23" y="55"/>
                    <a:pt x="30" y="56"/>
                    <a:pt x="31" y="55"/>
                  </a:cubicBezTo>
                  <a:cubicBezTo>
                    <a:pt x="33" y="54"/>
                    <a:pt x="53" y="32"/>
                    <a:pt x="54" y="32"/>
                  </a:cubicBezTo>
                  <a:cubicBezTo>
                    <a:pt x="55" y="31"/>
                    <a:pt x="31" y="29"/>
                    <a:pt x="25" y="24"/>
                  </a:cubicBezTo>
                  <a:cubicBezTo>
                    <a:pt x="19" y="20"/>
                    <a:pt x="13" y="16"/>
                    <a:pt x="13" y="13"/>
                  </a:cubicBezTo>
                  <a:cubicBezTo>
                    <a:pt x="13" y="11"/>
                    <a:pt x="15" y="10"/>
                    <a:pt x="15" y="9"/>
                  </a:cubicBezTo>
                  <a:cubicBezTo>
                    <a:pt x="15" y="7"/>
                    <a:pt x="19" y="6"/>
                    <a:pt x="19" y="6"/>
                  </a:cubicBezTo>
                  <a:cubicBezTo>
                    <a:pt x="22" y="9"/>
                    <a:pt x="23" y="13"/>
                    <a:pt x="28" y="13"/>
                  </a:cubicBezTo>
                  <a:cubicBezTo>
                    <a:pt x="32" y="13"/>
                    <a:pt x="36" y="9"/>
                    <a:pt x="38" y="9"/>
                  </a:cubicBezTo>
                  <a:cubicBezTo>
                    <a:pt x="41" y="9"/>
                    <a:pt x="50" y="9"/>
                    <a:pt x="54" y="7"/>
                  </a:cubicBezTo>
                  <a:cubicBezTo>
                    <a:pt x="57" y="6"/>
                    <a:pt x="69" y="5"/>
                    <a:pt x="71" y="3"/>
                  </a:cubicBezTo>
                  <a:cubicBezTo>
                    <a:pt x="73" y="1"/>
                    <a:pt x="74" y="0"/>
                    <a:pt x="75" y="0"/>
                  </a:cubicBezTo>
                  <a:cubicBezTo>
                    <a:pt x="76" y="0"/>
                    <a:pt x="80" y="0"/>
                    <a:pt x="80" y="1"/>
                  </a:cubicBezTo>
                  <a:cubicBezTo>
                    <a:pt x="80" y="2"/>
                    <a:pt x="78" y="9"/>
                    <a:pt x="78" y="11"/>
                  </a:cubicBezTo>
                  <a:cubicBezTo>
                    <a:pt x="78" y="12"/>
                    <a:pt x="77" y="20"/>
                    <a:pt x="76" y="22"/>
                  </a:cubicBezTo>
                  <a:cubicBezTo>
                    <a:pt x="74" y="24"/>
                    <a:pt x="66" y="37"/>
                    <a:pt x="65" y="40"/>
                  </a:cubicBezTo>
                  <a:cubicBezTo>
                    <a:pt x="64" y="43"/>
                    <a:pt x="57" y="56"/>
                    <a:pt x="52" y="61"/>
                  </a:cubicBezTo>
                  <a:cubicBezTo>
                    <a:pt x="47" y="66"/>
                    <a:pt x="39" y="74"/>
                    <a:pt x="32" y="78"/>
                  </a:cubicBezTo>
                  <a:cubicBezTo>
                    <a:pt x="26" y="82"/>
                    <a:pt x="18" y="90"/>
                    <a:pt x="11" y="96"/>
                  </a:cubicBezTo>
                  <a:cubicBezTo>
                    <a:pt x="9" y="99"/>
                    <a:pt x="6" y="101"/>
                    <a:pt x="4" y="104"/>
                  </a:cubicBezTo>
                  <a:lnTo>
                    <a:pt x="0" y="99"/>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 name="Freeform 293"/>
            <p:cNvSpPr>
              <a:spLocks/>
            </p:cNvSpPr>
            <p:nvPr>
              <p:custDataLst>
                <p:tags r:id="rId207"/>
              </p:custDataLst>
            </p:nvPr>
          </p:nvSpPr>
          <p:spPr bwMode="auto">
            <a:xfrm>
              <a:off x="3160" y="2544"/>
              <a:ext cx="201" cy="155"/>
            </a:xfrm>
            <a:custGeom>
              <a:avLst/>
              <a:gdLst>
                <a:gd name="T0" fmla="*/ 27041 w 118"/>
                <a:gd name="T1" fmla="*/ 164042 h 84"/>
                <a:gd name="T2" fmla="*/ 5408 w 118"/>
                <a:gd name="T3" fmla="*/ 155254 h 84"/>
                <a:gd name="T4" fmla="*/ 5408 w 118"/>
                <a:gd name="T5" fmla="*/ 134749 h 84"/>
                <a:gd name="T6" fmla="*/ 24337 w 118"/>
                <a:gd name="T7" fmla="*/ 134749 h 84"/>
                <a:gd name="T8" fmla="*/ 35154 w 118"/>
                <a:gd name="T9" fmla="*/ 87880 h 84"/>
                <a:gd name="T10" fmla="*/ 45970 w 118"/>
                <a:gd name="T11" fmla="*/ 79092 h 84"/>
                <a:gd name="T12" fmla="*/ 51379 w 118"/>
                <a:gd name="T13" fmla="*/ 52728 h 84"/>
                <a:gd name="T14" fmla="*/ 70308 w 118"/>
                <a:gd name="T15" fmla="*/ 35152 h 84"/>
                <a:gd name="T16" fmla="*/ 78420 w 118"/>
                <a:gd name="T17" fmla="*/ 5859 h 84"/>
                <a:gd name="T18" fmla="*/ 105461 w 118"/>
                <a:gd name="T19" fmla="*/ 8788 h 84"/>
                <a:gd name="T20" fmla="*/ 105461 w 118"/>
                <a:gd name="T21" fmla="*/ 8788 h 84"/>
                <a:gd name="T22" fmla="*/ 116278 w 118"/>
                <a:gd name="T23" fmla="*/ 0 h 84"/>
                <a:gd name="T24" fmla="*/ 140615 w 118"/>
                <a:gd name="T25" fmla="*/ 2929 h 84"/>
                <a:gd name="T26" fmla="*/ 170361 w 118"/>
                <a:gd name="T27" fmla="*/ 17576 h 84"/>
                <a:gd name="T28" fmla="*/ 191994 w 118"/>
                <a:gd name="T29" fmla="*/ 41011 h 84"/>
                <a:gd name="T30" fmla="*/ 189289 w 118"/>
                <a:gd name="T31" fmla="*/ 61516 h 84"/>
                <a:gd name="T32" fmla="*/ 186585 w 118"/>
                <a:gd name="T33" fmla="*/ 79092 h 84"/>
                <a:gd name="T34" fmla="*/ 210923 w 118"/>
                <a:gd name="T35" fmla="*/ 79092 h 84"/>
                <a:gd name="T36" fmla="*/ 205514 w 118"/>
                <a:gd name="T37" fmla="*/ 90809 h 84"/>
                <a:gd name="T38" fmla="*/ 237964 w 118"/>
                <a:gd name="T39" fmla="*/ 123032 h 84"/>
                <a:gd name="T40" fmla="*/ 316384 w 118"/>
                <a:gd name="T41" fmla="*/ 146466 h 84"/>
                <a:gd name="T42" fmla="*/ 254189 w 118"/>
                <a:gd name="T43" fmla="*/ 213840 h 84"/>
                <a:gd name="T44" fmla="*/ 224443 w 118"/>
                <a:gd name="T45" fmla="*/ 216770 h 84"/>
                <a:gd name="T46" fmla="*/ 194698 w 118"/>
                <a:gd name="T47" fmla="*/ 231416 h 84"/>
                <a:gd name="T48" fmla="*/ 186585 w 118"/>
                <a:gd name="T49" fmla="*/ 234346 h 84"/>
                <a:gd name="T50" fmla="*/ 178473 w 118"/>
                <a:gd name="T51" fmla="*/ 237275 h 84"/>
                <a:gd name="T52" fmla="*/ 162248 w 118"/>
                <a:gd name="T53" fmla="*/ 231416 h 84"/>
                <a:gd name="T54" fmla="*/ 140615 w 118"/>
                <a:gd name="T55" fmla="*/ 246063 h 84"/>
                <a:gd name="T56" fmla="*/ 116278 w 118"/>
                <a:gd name="T57" fmla="*/ 243134 h 84"/>
                <a:gd name="T58" fmla="*/ 89236 w 118"/>
                <a:gd name="T59" fmla="*/ 225558 h 84"/>
                <a:gd name="T60" fmla="*/ 67603 w 118"/>
                <a:gd name="T61" fmla="*/ 219699 h 84"/>
                <a:gd name="T62" fmla="*/ 62195 w 118"/>
                <a:gd name="T63" fmla="*/ 219699 h 84"/>
                <a:gd name="T64" fmla="*/ 62195 w 118"/>
                <a:gd name="T65" fmla="*/ 219699 h 84"/>
                <a:gd name="T66" fmla="*/ 59491 w 118"/>
                <a:gd name="T67" fmla="*/ 193335 h 84"/>
                <a:gd name="T68" fmla="*/ 51379 w 118"/>
                <a:gd name="T69" fmla="*/ 178689 h 84"/>
                <a:gd name="T70" fmla="*/ 27041 w 118"/>
                <a:gd name="T71" fmla="*/ 164042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8" h="84">
                  <a:moveTo>
                    <a:pt x="10" y="56"/>
                  </a:moveTo>
                  <a:cubicBezTo>
                    <a:pt x="8" y="53"/>
                    <a:pt x="4" y="54"/>
                    <a:pt x="2" y="53"/>
                  </a:cubicBezTo>
                  <a:cubicBezTo>
                    <a:pt x="0" y="53"/>
                    <a:pt x="1" y="49"/>
                    <a:pt x="2" y="46"/>
                  </a:cubicBezTo>
                  <a:cubicBezTo>
                    <a:pt x="3" y="44"/>
                    <a:pt x="8" y="47"/>
                    <a:pt x="9" y="46"/>
                  </a:cubicBezTo>
                  <a:cubicBezTo>
                    <a:pt x="11" y="44"/>
                    <a:pt x="13" y="33"/>
                    <a:pt x="13" y="30"/>
                  </a:cubicBezTo>
                  <a:cubicBezTo>
                    <a:pt x="13" y="26"/>
                    <a:pt x="17" y="27"/>
                    <a:pt x="17" y="27"/>
                  </a:cubicBezTo>
                  <a:cubicBezTo>
                    <a:pt x="17" y="27"/>
                    <a:pt x="18" y="21"/>
                    <a:pt x="19" y="18"/>
                  </a:cubicBezTo>
                  <a:cubicBezTo>
                    <a:pt x="21" y="14"/>
                    <a:pt x="25" y="13"/>
                    <a:pt x="26" y="12"/>
                  </a:cubicBezTo>
                  <a:cubicBezTo>
                    <a:pt x="27" y="12"/>
                    <a:pt x="28" y="4"/>
                    <a:pt x="29" y="2"/>
                  </a:cubicBezTo>
                  <a:cubicBezTo>
                    <a:pt x="39" y="3"/>
                    <a:pt x="39" y="3"/>
                    <a:pt x="39" y="3"/>
                  </a:cubicBezTo>
                  <a:cubicBezTo>
                    <a:pt x="39" y="3"/>
                    <a:pt x="39" y="3"/>
                    <a:pt x="39" y="3"/>
                  </a:cubicBezTo>
                  <a:cubicBezTo>
                    <a:pt x="40" y="2"/>
                    <a:pt x="42" y="1"/>
                    <a:pt x="43" y="0"/>
                  </a:cubicBezTo>
                  <a:cubicBezTo>
                    <a:pt x="45" y="0"/>
                    <a:pt x="50" y="1"/>
                    <a:pt x="52" y="1"/>
                  </a:cubicBezTo>
                  <a:cubicBezTo>
                    <a:pt x="53" y="1"/>
                    <a:pt x="61" y="4"/>
                    <a:pt x="63" y="6"/>
                  </a:cubicBezTo>
                  <a:cubicBezTo>
                    <a:pt x="65" y="7"/>
                    <a:pt x="68" y="11"/>
                    <a:pt x="71" y="14"/>
                  </a:cubicBezTo>
                  <a:cubicBezTo>
                    <a:pt x="73" y="18"/>
                    <a:pt x="71" y="18"/>
                    <a:pt x="70" y="21"/>
                  </a:cubicBezTo>
                  <a:cubicBezTo>
                    <a:pt x="69" y="23"/>
                    <a:pt x="69" y="25"/>
                    <a:pt x="69" y="27"/>
                  </a:cubicBezTo>
                  <a:cubicBezTo>
                    <a:pt x="70" y="29"/>
                    <a:pt x="78" y="27"/>
                    <a:pt x="78" y="27"/>
                  </a:cubicBezTo>
                  <a:cubicBezTo>
                    <a:pt x="78" y="28"/>
                    <a:pt x="76" y="29"/>
                    <a:pt x="76" y="31"/>
                  </a:cubicBezTo>
                  <a:cubicBezTo>
                    <a:pt x="76" y="34"/>
                    <a:pt x="82" y="38"/>
                    <a:pt x="88" y="42"/>
                  </a:cubicBezTo>
                  <a:cubicBezTo>
                    <a:pt x="94" y="47"/>
                    <a:pt x="118" y="49"/>
                    <a:pt x="117" y="50"/>
                  </a:cubicBezTo>
                  <a:cubicBezTo>
                    <a:pt x="116" y="50"/>
                    <a:pt x="96" y="72"/>
                    <a:pt x="94" y="73"/>
                  </a:cubicBezTo>
                  <a:cubicBezTo>
                    <a:pt x="93" y="74"/>
                    <a:pt x="86" y="73"/>
                    <a:pt x="83" y="74"/>
                  </a:cubicBezTo>
                  <a:cubicBezTo>
                    <a:pt x="80" y="75"/>
                    <a:pt x="73" y="79"/>
                    <a:pt x="72" y="79"/>
                  </a:cubicBezTo>
                  <a:cubicBezTo>
                    <a:pt x="72" y="80"/>
                    <a:pt x="70" y="80"/>
                    <a:pt x="69" y="80"/>
                  </a:cubicBezTo>
                  <a:cubicBezTo>
                    <a:pt x="68" y="80"/>
                    <a:pt x="66" y="81"/>
                    <a:pt x="66" y="81"/>
                  </a:cubicBezTo>
                  <a:cubicBezTo>
                    <a:pt x="64" y="81"/>
                    <a:pt x="62" y="78"/>
                    <a:pt x="60" y="79"/>
                  </a:cubicBezTo>
                  <a:cubicBezTo>
                    <a:pt x="58" y="80"/>
                    <a:pt x="52" y="84"/>
                    <a:pt x="52" y="84"/>
                  </a:cubicBezTo>
                  <a:cubicBezTo>
                    <a:pt x="52" y="84"/>
                    <a:pt x="45" y="83"/>
                    <a:pt x="43" y="83"/>
                  </a:cubicBezTo>
                  <a:cubicBezTo>
                    <a:pt x="40" y="83"/>
                    <a:pt x="33" y="77"/>
                    <a:pt x="33" y="77"/>
                  </a:cubicBezTo>
                  <a:cubicBezTo>
                    <a:pt x="25" y="75"/>
                    <a:pt x="25" y="75"/>
                    <a:pt x="25" y="75"/>
                  </a:cubicBezTo>
                  <a:cubicBezTo>
                    <a:pt x="23" y="75"/>
                    <a:pt x="23" y="75"/>
                    <a:pt x="23" y="75"/>
                  </a:cubicBezTo>
                  <a:cubicBezTo>
                    <a:pt x="23" y="75"/>
                    <a:pt x="23" y="75"/>
                    <a:pt x="23" y="75"/>
                  </a:cubicBezTo>
                  <a:cubicBezTo>
                    <a:pt x="22" y="66"/>
                    <a:pt x="22" y="66"/>
                    <a:pt x="22" y="66"/>
                  </a:cubicBezTo>
                  <a:cubicBezTo>
                    <a:pt x="20" y="66"/>
                    <a:pt x="19" y="63"/>
                    <a:pt x="19" y="61"/>
                  </a:cubicBezTo>
                  <a:cubicBezTo>
                    <a:pt x="19" y="59"/>
                    <a:pt x="13" y="58"/>
                    <a:pt x="10" y="5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 name="Freeform 294"/>
            <p:cNvSpPr>
              <a:spLocks/>
            </p:cNvSpPr>
            <p:nvPr>
              <p:custDataLst>
                <p:tags r:id="rId208"/>
              </p:custDataLst>
            </p:nvPr>
          </p:nvSpPr>
          <p:spPr bwMode="auto">
            <a:xfrm>
              <a:off x="3209" y="2495"/>
              <a:ext cx="92" cy="102"/>
            </a:xfrm>
            <a:custGeom>
              <a:avLst/>
              <a:gdLst>
                <a:gd name="T0" fmla="*/ 27557 w 53"/>
                <a:gd name="T1" fmla="*/ 86746 h 56"/>
                <a:gd name="T2" fmla="*/ 0 w 53"/>
                <a:gd name="T3" fmla="*/ 83854 h 56"/>
                <a:gd name="T4" fmla="*/ 11023 w 53"/>
                <a:gd name="T5" fmla="*/ 31807 h 56"/>
                <a:gd name="T6" fmla="*/ 33068 w 53"/>
                <a:gd name="T7" fmla="*/ 5783 h 56"/>
                <a:gd name="T8" fmla="*/ 46846 w 53"/>
                <a:gd name="T9" fmla="*/ 0 h 56"/>
                <a:gd name="T10" fmla="*/ 60625 w 53"/>
                <a:gd name="T11" fmla="*/ 46264 h 56"/>
                <a:gd name="T12" fmla="*/ 96448 w 53"/>
                <a:gd name="T13" fmla="*/ 69396 h 56"/>
                <a:gd name="T14" fmla="*/ 137783 w 53"/>
                <a:gd name="T15" fmla="*/ 118552 h 56"/>
                <a:gd name="T16" fmla="*/ 137783 w 53"/>
                <a:gd name="T17" fmla="*/ 133010 h 56"/>
                <a:gd name="T18" fmla="*/ 146050 w 53"/>
                <a:gd name="T19" fmla="*/ 147467 h 56"/>
                <a:gd name="T20" fmla="*/ 135027 w 53"/>
                <a:gd name="T21" fmla="*/ 156142 h 56"/>
                <a:gd name="T22" fmla="*/ 110226 w 53"/>
                <a:gd name="T23" fmla="*/ 156142 h 56"/>
                <a:gd name="T24" fmla="*/ 112982 w 53"/>
                <a:gd name="T25" fmla="*/ 138793 h 56"/>
                <a:gd name="T26" fmla="*/ 115738 w 53"/>
                <a:gd name="T27" fmla="*/ 118552 h 56"/>
                <a:gd name="T28" fmla="*/ 93692 w 53"/>
                <a:gd name="T29" fmla="*/ 95420 h 56"/>
                <a:gd name="T30" fmla="*/ 63380 w 53"/>
                <a:gd name="T31" fmla="*/ 80963 h 56"/>
                <a:gd name="T32" fmla="*/ 38579 w 53"/>
                <a:gd name="T33" fmla="*/ 78071 h 56"/>
                <a:gd name="T34" fmla="*/ 27557 w 53"/>
                <a:gd name="T35" fmla="*/ 86746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3" h="56">
                  <a:moveTo>
                    <a:pt x="10" y="30"/>
                  </a:moveTo>
                  <a:cubicBezTo>
                    <a:pt x="0" y="29"/>
                    <a:pt x="0" y="29"/>
                    <a:pt x="0" y="29"/>
                  </a:cubicBezTo>
                  <a:cubicBezTo>
                    <a:pt x="1" y="26"/>
                    <a:pt x="2" y="18"/>
                    <a:pt x="4" y="11"/>
                  </a:cubicBezTo>
                  <a:cubicBezTo>
                    <a:pt x="5" y="4"/>
                    <a:pt x="10" y="3"/>
                    <a:pt x="12" y="2"/>
                  </a:cubicBezTo>
                  <a:cubicBezTo>
                    <a:pt x="15" y="1"/>
                    <a:pt x="17" y="0"/>
                    <a:pt x="17" y="0"/>
                  </a:cubicBezTo>
                  <a:cubicBezTo>
                    <a:pt x="18" y="4"/>
                    <a:pt x="20" y="14"/>
                    <a:pt x="22" y="16"/>
                  </a:cubicBezTo>
                  <a:cubicBezTo>
                    <a:pt x="26" y="18"/>
                    <a:pt x="35" y="23"/>
                    <a:pt x="35" y="24"/>
                  </a:cubicBezTo>
                  <a:cubicBezTo>
                    <a:pt x="35" y="26"/>
                    <a:pt x="49" y="39"/>
                    <a:pt x="50" y="41"/>
                  </a:cubicBezTo>
                  <a:cubicBezTo>
                    <a:pt x="51" y="42"/>
                    <a:pt x="52" y="45"/>
                    <a:pt x="50" y="46"/>
                  </a:cubicBezTo>
                  <a:cubicBezTo>
                    <a:pt x="49" y="46"/>
                    <a:pt x="51" y="48"/>
                    <a:pt x="53" y="51"/>
                  </a:cubicBezTo>
                  <a:cubicBezTo>
                    <a:pt x="53" y="51"/>
                    <a:pt x="49" y="52"/>
                    <a:pt x="49" y="54"/>
                  </a:cubicBezTo>
                  <a:cubicBezTo>
                    <a:pt x="49" y="54"/>
                    <a:pt x="41" y="56"/>
                    <a:pt x="40" y="54"/>
                  </a:cubicBezTo>
                  <a:cubicBezTo>
                    <a:pt x="40" y="52"/>
                    <a:pt x="40" y="50"/>
                    <a:pt x="41" y="48"/>
                  </a:cubicBezTo>
                  <a:cubicBezTo>
                    <a:pt x="42" y="45"/>
                    <a:pt x="44" y="45"/>
                    <a:pt x="42" y="41"/>
                  </a:cubicBezTo>
                  <a:cubicBezTo>
                    <a:pt x="39" y="38"/>
                    <a:pt x="36" y="34"/>
                    <a:pt x="34" y="33"/>
                  </a:cubicBezTo>
                  <a:cubicBezTo>
                    <a:pt x="32" y="31"/>
                    <a:pt x="24" y="28"/>
                    <a:pt x="23" y="28"/>
                  </a:cubicBezTo>
                  <a:cubicBezTo>
                    <a:pt x="21" y="28"/>
                    <a:pt x="16" y="27"/>
                    <a:pt x="14" y="27"/>
                  </a:cubicBezTo>
                  <a:cubicBezTo>
                    <a:pt x="13" y="28"/>
                    <a:pt x="11" y="29"/>
                    <a:pt x="10" y="3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 name="Freeform 295"/>
            <p:cNvSpPr>
              <a:spLocks/>
            </p:cNvSpPr>
            <p:nvPr>
              <p:custDataLst>
                <p:tags r:id="rId209"/>
              </p:custDataLst>
            </p:nvPr>
          </p:nvSpPr>
          <p:spPr bwMode="auto">
            <a:xfrm>
              <a:off x="3175" y="2682"/>
              <a:ext cx="102" cy="132"/>
            </a:xfrm>
            <a:custGeom>
              <a:avLst/>
              <a:gdLst>
                <a:gd name="T0" fmla="*/ 2699 w 60"/>
                <a:gd name="T1" fmla="*/ 8731 h 72"/>
                <a:gd name="T2" fmla="*/ 8096 w 60"/>
                <a:gd name="T3" fmla="*/ 0 h 72"/>
                <a:gd name="T4" fmla="*/ 37783 w 60"/>
                <a:gd name="T5" fmla="*/ 0 h 72"/>
                <a:gd name="T6" fmla="*/ 43180 w 60"/>
                <a:gd name="T7" fmla="*/ 0 h 72"/>
                <a:gd name="T8" fmla="*/ 64770 w 60"/>
                <a:gd name="T9" fmla="*/ 5821 h 72"/>
                <a:gd name="T10" fmla="*/ 91758 w 60"/>
                <a:gd name="T11" fmla="*/ 23283 h 72"/>
                <a:gd name="T12" fmla="*/ 116046 w 60"/>
                <a:gd name="T13" fmla="*/ 26194 h 72"/>
                <a:gd name="T14" fmla="*/ 137636 w 60"/>
                <a:gd name="T15" fmla="*/ 11642 h 72"/>
                <a:gd name="T16" fmla="*/ 153829 w 60"/>
                <a:gd name="T17" fmla="*/ 17463 h 72"/>
                <a:gd name="T18" fmla="*/ 161925 w 60"/>
                <a:gd name="T19" fmla="*/ 14552 h 72"/>
                <a:gd name="T20" fmla="*/ 153829 w 60"/>
                <a:gd name="T21" fmla="*/ 32015 h 72"/>
                <a:gd name="T22" fmla="*/ 145733 w 60"/>
                <a:gd name="T23" fmla="*/ 40746 h 72"/>
                <a:gd name="T24" fmla="*/ 145733 w 60"/>
                <a:gd name="T25" fmla="*/ 122238 h 72"/>
                <a:gd name="T26" fmla="*/ 156528 w 60"/>
                <a:gd name="T27" fmla="*/ 136790 h 72"/>
                <a:gd name="T28" fmla="*/ 137636 w 60"/>
                <a:gd name="T29" fmla="*/ 162983 h 72"/>
                <a:gd name="T30" fmla="*/ 116046 w 60"/>
                <a:gd name="T31" fmla="*/ 203729 h 72"/>
                <a:gd name="T32" fmla="*/ 113348 w 60"/>
                <a:gd name="T33" fmla="*/ 209550 h 72"/>
                <a:gd name="T34" fmla="*/ 83661 w 60"/>
                <a:gd name="T35" fmla="*/ 189177 h 72"/>
                <a:gd name="T36" fmla="*/ 75565 w 60"/>
                <a:gd name="T37" fmla="*/ 168804 h 72"/>
                <a:gd name="T38" fmla="*/ 0 w 60"/>
                <a:gd name="T39" fmla="*/ 125148 h 72"/>
                <a:gd name="T40" fmla="*/ 2699 w 60"/>
                <a:gd name="T41" fmla="*/ 98954 h 72"/>
                <a:gd name="T42" fmla="*/ 21590 w 60"/>
                <a:gd name="T43" fmla="*/ 61119 h 72"/>
                <a:gd name="T44" fmla="*/ 13494 w 60"/>
                <a:gd name="T45" fmla="*/ 29104 h 72"/>
                <a:gd name="T46" fmla="*/ 2699 w 60"/>
                <a:gd name="T47" fmla="*/ 8731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72">
                  <a:moveTo>
                    <a:pt x="1" y="3"/>
                  </a:moveTo>
                  <a:cubicBezTo>
                    <a:pt x="3" y="0"/>
                    <a:pt x="3" y="0"/>
                    <a:pt x="3" y="0"/>
                  </a:cubicBezTo>
                  <a:cubicBezTo>
                    <a:pt x="14" y="0"/>
                    <a:pt x="14" y="0"/>
                    <a:pt x="14" y="0"/>
                  </a:cubicBezTo>
                  <a:cubicBezTo>
                    <a:pt x="16" y="0"/>
                    <a:pt x="16" y="0"/>
                    <a:pt x="16" y="0"/>
                  </a:cubicBezTo>
                  <a:cubicBezTo>
                    <a:pt x="24" y="2"/>
                    <a:pt x="24" y="2"/>
                    <a:pt x="24" y="2"/>
                  </a:cubicBezTo>
                  <a:cubicBezTo>
                    <a:pt x="24" y="2"/>
                    <a:pt x="31" y="8"/>
                    <a:pt x="34" y="8"/>
                  </a:cubicBezTo>
                  <a:cubicBezTo>
                    <a:pt x="36" y="8"/>
                    <a:pt x="43" y="9"/>
                    <a:pt x="43" y="9"/>
                  </a:cubicBezTo>
                  <a:cubicBezTo>
                    <a:pt x="43" y="9"/>
                    <a:pt x="49" y="5"/>
                    <a:pt x="51" y="4"/>
                  </a:cubicBezTo>
                  <a:cubicBezTo>
                    <a:pt x="53" y="3"/>
                    <a:pt x="55" y="6"/>
                    <a:pt x="57" y="6"/>
                  </a:cubicBezTo>
                  <a:cubicBezTo>
                    <a:pt x="57" y="6"/>
                    <a:pt x="59" y="5"/>
                    <a:pt x="60" y="5"/>
                  </a:cubicBezTo>
                  <a:cubicBezTo>
                    <a:pt x="57" y="11"/>
                    <a:pt x="57" y="11"/>
                    <a:pt x="57" y="11"/>
                  </a:cubicBezTo>
                  <a:cubicBezTo>
                    <a:pt x="54" y="14"/>
                    <a:pt x="54" y="14"/>
                    <a:pt x="54" y="14"/>
                  </a:cubicBezTo>
                  <a:cubicBezTo>
                    <a:pt x="54" y="42"/>
                    <a:pt x="54" y="42"/>
                    <a:pt x="54" y="42"/>
                  </a:cubicBezTo>
                  <a:cubicBezTo>
                    <a:pt x="58" y="47"/>
                    <a:pt x="58" y="47"/>
                    <a:pt x="58" y="47"/>
                  </a:cubicBezTo>
                  <a:cubicBezTo>
                    <a:pt x="55" y="50"/>
                    <a:pt x="53" y="53"/>
                    <a:pt x="51" y="56"/>
                  </a:cubicBezTo>
                  <a:cubicBezTo>
                    <a:pt x="47" y="60"/>
                    <a:pt x="43" y="69"/>
                    <a:pt x="43" y="70"/>
                  </a:cubicBezTo>
                  <a:cubicBezTo>
                    <a:pt x="43" y="71"/>
                    <a:pt x="42" y="71"/>
                    <a:pt x="42" y="72"/>
                  </a:cubicBezTo>
                  <a:cubicBezTo>
                    <a:pt x="31" y="65"/>
                    <a:pt x="31" y="65"/>
                    <a:pt x="31" y="65"/>
                  </a:cubicBezTo>
                  <a:cubicBezTo>
                    <a:pt x="30" y="64"/>
                    <a:pt x="30" y="59"/>
                    <a:pt x="28" y="58"/>
                  </a:cubicBezTo>
                  <a:cubicBezTo>
                    <a:pt x="26" y="57"/>
                    <a:pt x="0" y="43"/>
                    <a:pt x="0" y="43"/>
                  </a:cubicBezTo>
                  <a:cubicBezTo>
                    <a:pt x="0" y="43"/>
                    <a:pt x="1" y="36"/>
                    <a:pt x="1" y="34"/>
                  </a:cubicBezTo>
                  <a:cubicBezTo>
                    <a:pt x="1" y="32"/>
                    <a:pt x="7" y="25"/>
                    <a:pt x="8" y="21"/>
                  </a:cubicBezTo>
                  <a:cubicBezTo>
                    <a:pt x="9" y="16"/>
                    <a:pt x="6" y="13"/>
                    <a:pt x="5" y="10"/>
                  </a:cubicBezTo>
                  <a:lnTo>
                    <a:pt x="1" y="3"/>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 name="Freeform 296"/>
            <p:cNvSpPr>
              <a:spLocks/>
            </p:cNvSpPr>
            <p:nvPr>
              <p:custDataLst>
                <p:tags r:id="rId210"/>
              </p:custDataLst>
            </p:nvPr>
          </p:nvSpPr>
          <p:spPr bwMode="auto">
            <a:xfrm>
              <a:off x="3162" y="2882"/>
              <a:ext cx="41" cy="108"/>
            </a:xfrm>
            <a:custGeom>
              <a:avLst/>
              <a:gdLst>
                <a:gd name="T0" fmla="*/ 2712 w 24"/>
                <a:gd name="T1" fmla="*/ 78460 h 59"/>
                <a:gd name="T2" fmla="*/ 10848 w 24"/>
                <a:gd name="T3" fmla="*/ 61025 h 59"/>
                <a:gd name="T4" fmla="*/ 8136 w 24"/>
                <a:gd name="T5" fmla="*/ 31965 h 59"/>
                <a:gd name="T6" fmla="*/ 13560 w 24"/>
                <a:gd name="T7" fmla="*/ 14530 h 59"/>
                <a:gd name="T8" fmla="*/ 8136 w 24"/>
                <a:gd name="T9" fmla="*/ 2906 h 59"/>
                <a:gd name="T10" fmla="*/ 21696 w 24"/>
                <a:gd name="T11" fmla="*/ 2906 h 59"/>
                <a:gd name="T12" fmla="*/ 35256 w 24"/>
                <a:gd name="T13" fmla="*/ 5812 h 59"/>
                <a:gd name="T14" fmla="*/ 46104 w 24"/>
                <a:gd name="T15" fmla="*/ 46495 h 59"/>
                <a:gd name="T16" fmla="*/ 40680 w 24"/>
                <a:gd name="T17" fmla="*/ 49401 h 59"/>
                <a:gd name="T18" fmla="*/ 32544 w 24"/>
                <a:gd name="T19" fmla="*/ 81366 h 59"/>
                <a:gd name="T20" fmla="*/ 43392 w 24"/>
                <a:gd name="T21" fmla="*/ 87178 h 59"/>
                <a:gd name="T22" fmla="*/ 62376 w 24"/>
                <a:gd name="T23" fmla="*/ 113331 h 59"/>
                <a:gd name="T24" fmla="*/ 62376 w 24"/>
                <a:gd name="T25" fmla="*/ 145297 h 59"/>
                <a:gd name="T26" fmla="*/ 54240 w 24"/>
                <a:gd name="T27" fmla="*/ 151108 h 59"/>
                <a:gd name="T28" fmla="*/ 51528 w 24"/>
                <a:gd name="T29" fmla="*/ 171450 h 59"/>
                <a:gd name="T30" fmla="*/ 27120 w 24"/>
                <a:gd name="T31" fmla="*/ 142391 h 59"/>
                <a:gd name="T32" fmla="*/ 35256 w 24"/>
                <a:gd name="T33" fmla="*/ 110425 h 59"/>
                <a:gd name="T34" fmla="*/ 18984 w 24"/>
                <a:gd name="T35" fmla="*/ 113331 h 59"/>
                <a:gd name="T36" fmla="*/ 13560 w 24"/>
                <a:gd name="T37" fmla="*/ 101708 h 59"/>
                <a:gd name="T38" fmla="*/ 2712 w 24"/>
                <a:gd name="T39" fmla="*/ 98802 h 59"/>
                <a:gd name="T40" fmla="*/ 2712 w 24"/>
                <a:gd name="T41" fmla="*/ 78460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59">
                  <a:moveTo>
                    <a:pt x="1" y="27"/>
                  </a:moveTo>
                  <a:cubicBezTo>
                    <a:pt x="3" y="24"/>
                    <a:pt x="4" y="23"/>
                    <a:pt x="4" y="21"/>
                  </a:cubicBezTo>
                  <a:cubicBezTo>
                    <a:pt x="4" y="19"/>
                    <a:pt x="2" y="13"/>
                    <a:pt x="3" y="11"/>
                  </a:cubicBezTo>
                  <a:cubicBezTo>
                    <a:pt x="5" y="9"/>
                    <a:pt x="5" y="7"/>
                    <a:pt x="5" y="5"/>
                  </a:cubicBezTo>
                  <a:cubicBezTo>
                    <a:pt x="4" y="4"/>
                    <a:pt x="4" y="2"/>
                    <a:pt x="3" y="1"/>
                  </a:cubicBezTo>
                  <a:cubicBezTo>
                    <a:pt x="8" y="1"/>
                    <a:pt x="8" y="1"/>
                    <a:pt x="8" y="1"/>
                  </a:cubicBezTo>
                  <a:cubicBezTo>
                    <a:pt x="8" y="1"/>
                    <a:pt x="11" y="0"/>
                    <a:pt x="13" y="2"/>
                  </a:cubicBezTo>
                  <a:cubicBezTo>
                    <a:pt x="14" y="4"/>
                    <a:pt x="17" y="16"/>
                    <a:pt x="17" y="16"/>
                  </a:cubicBezTo>
                  <a:cubicBezTo>
                    <a:pt x="16" y="17"/>
                    <a:pt x="16" y="17"/>
                    <a:pt x="15" y="17"/>
                  </a:cubicBezTo>
                  <a:cubicBezTo>
                    <a:pt x="13" y="18"/>
                    <a:pt x="12" y="27"/>
                    <a:pt x="12" y="28"/>
                  </a:cubicBezTo>
                  <a:cubicBezTo>
                    <a:pt x="12" y="29"/>
                    <a:pt x="15" y="28"/>
                    <a:pt x="16" y="30"/>
                  </a:cubicBezTo>
                  <a:cubicBezTo>
                    <a:pt x="18" y="32"/>
                    <a:pt x="22" y="38"/>
                    <a:pt x="23" y="39"/>
                  </a:cubicBezTo>
                  <a:cubicBezTo>
                    <a:pt x="24" y="41"/>
                    <a:pt x="23" y="50"/>
                    <a:pt x="23" y="50"/>
                  </a:cubicBezTo>
                  <a:cubicBezTo>
                    <a:pt x="23" y="50"/>
                    <a:pt x="21" y="51"/>
                    <a:pt x="20" y="52"/>
                  </a:cubicBezTo>
                  <a:cubicBezTo>
                    <a:pt x="19" y="53"/>
                    <a:pt x="20" y="58"/>
                    <a:pt x="19" y="59"/>
                  </a:cubicBezTo>
                  <a:cubicBezTo>
                    <a:pt x="17" y="59"/>
                    <a:pt x="11" y="51"/>
                    <a:pt x="10" y="49"/>
                  </a:cubicBezTo>
                  <a:cubicBezTo>
                    <a:pt x="10" y="47"/>
                    <a:pt x="14" y="39"/>
                    <a:pt x="13" y="38"/>
                  </a:cubicBezTo>
                  <a:cubicBezTo>
                    <a:pt x="12" y="36"/>
                    <a:pt x="9" y="39"/>
                    <a:pt x="7" y="39"/>
                  </a:cubicBezTo>
                  <a:cubicBezTo>
                    <a:pt x="5" y="39"/>
                    <a:pt x="7" y="35"/>
                    <a:pt x="5" y="35"/>
                  </a:cubicBezTo>
                  <a:cubicBezTo>
                    <a:pt x="1" y="34"/>
                    <a:pt x="1" y="34"/>
                    <a:pt x="1" y="34"/>
                  </a:cubicBezTo>
                  <a:cubicBezTo>
                    <a:pt x="1" y="34"/>
                    <a:pt x="0" y="30"/>
                    <a:pt x="1" y="2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2" name="Freeform 297"/>
            <p:cNvSpPr>
              <a:spLocks/>
            </p:cNvSpPr>
            <p:nvPr>
              <p:custDataLst>
                <p:tags r:id="rId211"/>
              </p:custDataLst>
            </p:nvPr>
          </p:nvSpPr>
          <p:spPr bwMode="auto">
            <a:xfrm>
              <a:off x="3131" y="3112"/>
              <a:ext cx="23" cy="32"/>
            </a:xfrm>
            <a:custGeom>
              <a:avLst/>
              <a:gdLst>
                <a:gd name="T0" fmla="*/ 5617 w 13"/>
                <a:gd name="T1" fmla="*/ 29882 h 17"/>
                <a:gd name="T2" fmla="*/ 19661 w 13"/>
                <a:gd name="T3" fmla="*/ 2988 h 17"/>
                <a:gd name="T4" fmla="*/ 30896 w 13"/>
                <a:gd name="T5" fmla="*/ 8965 h 17"/>
                <a:gd name="T6" fmla="*/ 30896 w 13"/>
                <a:gd name="T7" fmla="*/ 29882 h 17"/>
                <a:gd name="T8" fmla="*/ 8426 w 13"/>
                <a:gd name="T9" fmla="*/ 44824 h 17"/>
                <a:gd name="T10" fmla="*/ 5617 w 13"/>
                <a:gd name="T11" fmla="*/ 29882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7">
                  <a:moveTo>
                    <a:pt x="2" y="10"/>
                  </a:moveTo>
                  <a:cubicBezTo>
                    <a:pt x="2" y="7"/>
                    <a:pt x="4" y="2"/>
                    <a:pt x="7" y="1"/>
                  </a:cubicBezTo>
                  <a:cubicBezTo>
                    <a:pt x="10" y="0"/>
                    <a:pt x="11" y="3"/>
                    <a:pt x="11" y="3"/>
                  </a:cubicBezTo>
                  <a:cubicBezTo>
                    <a:pt x="11" y="6"/>
                    <a:pt x="11" y="10"/>
                    <a:pt x="11" y="10"/>
                  </a:cubicBezTo>
                  <a:cubicBezTo>
                    <a:pt x="11" y="10"/>
                    <a:pt x="13" y="17"/>
                    <a:pt x="3" y="15"/>
                  </a:cubicBezTo>
                  <a:cubicBezTo>
                    <a:pt x="0" y="14"/>
                    <a:pt x="2" y="12"/>
                    <a:pt x="2"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 name="Freeform 298"/>
            <p:cNvSpPr>
              <a:spLocks/>
            </p:cNvSpPr>
            <p:nvPr>
              <p:custDataLst>
                <p:tags r:id="rId212"/>
              </p:custDataLst>
            </p:nvPr>
          </p:nvSpPr>
          <p:spPr bwMode="auto">
            <a:xfrm>
              <a:off x="3129" y="2894"/>
              <a:ext cx="140" cy="240"/>
            </a:xfrm>
            <a:custGeom>
              <a:avLst/>
              <a:gdLst>
                <a:gd name="T0" fmla="*/ 2710 w 82"/>
                <a:gd name="T1" fmla="*/ 126023 h 130"/>
                <a:gd name="T2" fmla="*/ 0 w 82"/>
                <a:gd name="T3" fmla="*/ 117231 h 130"/>
                <a:gd name="T4" fmla="*/ 0 w 82"/>
                <a:gd name="T5" fmla="*/ 102577 h 130"/>
                <a:gd name="T6" fmla="*/ 0 w 82"/>
                <a:gd name="T7" fmla="*/ 99646 h 130"/>
                <a:gd name="T8" fmla="*/ 54207 w 82"/>
                <a:gd name="T9" fmla="*/ 79131 h 130"/>
                <a:gd name="T10" fmla="*/ 65049 w 82"/>
                <a:gd name="T11" fmla="*/ 82062 h 130"/>
                <a:gd name="T12" fmla="*/ 70470 w 82"/>
                <a:gd name="T13" fmla="*/ 93785 h 130"/>
                <a:gd name="T14" fmla="*/ 86732 w 82"/>
                <a:gd name="T15" fmla="*/ 90854 h 130"/>
                <a:gd name="T16" fmla="*/ 78601 w 82"/>
                <a:gd name="T17" fmla="*/ 123092 h 130"/>
                <a:gd name="T18" fmla="*/ 102994 w 82"/>
                <a:gd name="T19" fmla="*/ 152400 h 130"/>
                <a:gd name="T20" fmla="*/ 105704 w 82"/>
                <a:gd name="T21" fmla="*/ 131885 h 130"/>
                <a:gd name="T22" fmla="*/ 113835 w 82"/>
                <a:gd name="T23" fmla="*/ 126023 h 130"/>
                <a:gd name="T24" fmla="*/ 113835 w 82"/>
                <a:gd name="T25" fmla="*/ 93785 h 130"/>
                <a:gd name="T26" fmla="*/ 94863 w 82"/>
                <a:gd name="T27" fmla="*/ 67408 h 130"/>
                <a:gd name="T28" fmla="*/ 84021 w 82"/>
                <a:gd name="T29" fmla="*/ 61546 h 130"/>
                <a:gd name="T30" fmla="*/ 92152 w 82"/>
                <a:gd name="T31" fmla="*/ 29308 h 130"/>
                <a:gd name="T32" fmla="*/ 97573 w 82"/>
                <a:gd name="T33" fmla="*/ 26377 h 130"/>
                <a:gd name="T34" fmla="*/ 111125 w 82"/>
                <a:gd name="T35" fmla="*/ 23446 h 130"/>
                <a:gd name="T36" fmla="*/ 132808 w 82"/>
                <a:gd name="T37" fmla="*/ 29308 h 130"/>
                <a:gd name="T38" fmla="*/ 159912 w 82"/>
                <a:gd name="T39" fmla="*/ 20515 h 130"/>
                <a:gd name="T40" fmla="*/ 187015 w 82"/>
                <a:gd name="T41" fmla="*/ 14654 h 130"/>
                <a:gd name="T42" fmla="*/ 211409 w 82"/>
                <a:gd name="T43" fmla="*/ 0 h 130"/>
                <a:gd name="T44" fmla="*/ 211409 w 82"/>
                <a:gd name="T45" fmla="*/ 23446 h 130"/>
                <a:gd name="T46" fmla="*/ 214119 w 82"/>
                <a:gd name="T47" fmla="*/ 76200 h 130"/>
                <a:gd name="T48" fmla="*/ 216829 w 82"/>
                <a:gd name="T49" fmla="*/ 105508 h 130"/>
                <a:gd name="T50" fmla="*/ 187015 w 82"/>
                <a:gd name="T51" fmla="*/ 146538 h 130"/>
                <a:gd name="T52" fmla="*/ 132808 w 82"/>
                <a:gd name="T53" fmla="*/ 172915 h 130"/>
                <a:gd name="T54" fmla="*/ 108415 w 82"/>
                <a:gd name="T55" fmla="*/ 202223 h 130"/>
                <a:gd name="T56" fmla="*/ 86732 w 82"/>
                <a:gd name="T57" fmla="*/ 219808 h 130"/>
                <a:gd name="T58" fmla="*/ 92152 w 82"/>
                <a:gd name="T59" fmla="*/ 237392 h 130"/>
                <a:gd name="T60" fmla="*/ 108415 w 82"/>
                <a:gd name="T61" fmla="*/ 263769 h 130"/>
                <a:gd name="T62" fmla="*/ 108415 w 82"/>
                <a:gd name="T63" fmla="*/ 316523 h 130"/>
                <a:gd name="T64" fmla="*/ 54207 w 82"/>
                <a:gd name="T65" fmla="*/ 348762 h 130"/>
                <a:gd name="T66" fmla="*/ 48787 w 82"/>
                <a:gd name="T67" fmla="*/ 363415 h 130"/>
                <a:gd name="T68" fmla="*/ 51497 w 82"/>
                <a:gd name="T69" fmla="*/ 381000 h 130"/>
                <a:gd name="T70" fmla="*/ 32524 w 82"/>
                <a:gd name="T71" fmla="*/ 378069 h 130"/>
                <a:gd name="T72" fmla="*/ 32524 w 82"/>
                <a:gd name="T73" fmla="*/ 357554 h 130"/>
                <a:gd name="T74" fmla="*/ 32524 w 82"/>
                <a:gd name="T75" fmla="*/ 351692 h 130"/>
                <a:gd name="T76" fmla="*/ 29814 w 82"/>
                <a:gd name="T77" fmla="*/ 310662 h 130"/>
                <a:gd name="T78" fmla="*/ 21683 w 82"/>
                <a:gd name="T79" fmla="*/ 278423 h 130"/>
                <a:gd name="T80" fmla="*/ 18973 w 82"/>
                <a:gd name="T81" fmla="*/ 272562 h 130"/>
                <a:gd name="T82" fmla="*/ 32524 w 82"/>
                <a:gd name="T83" fmla="*/ 260838 h 130"/>
                <a:gd name="T84" fmla="*/ 43366 w 82"/>
                <a:gd name="T85" fmla="*/ 249115 h 130"/>
                <a:gd name="T86" fmla="*/ 48787 w 82"/>
                <a:gd name="T87" fmla="*/ 228600 h 130"/>
                <a:gd name="T88" fmla="*/ 54207 w 82"/>
                <a:gd name="T89" fmla="*/ 213946 h 130"/>
                <a:gd name="T90" fmla="*/ 54207 w 82"/>
                <a:gd name="T91" fmla="*/ 190500 h 130"/>
                <a:gd name="T92" fmla="*/ 51497 w 82"/>
                <a:gd name="T93" fmla="*/ 143608 h 130"/>
                <a:gd name="T94" fmla="*/ 24393 w 82"/>
                <a:gd name="T95" fmla="*/ 128954 h 130"/>
                <a:gd name="T96" fmla="*/ 2710 w 82"/>
                <a:gd name="T97" fmla="*/ 126023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130">
                  <a:moveTo>
                    <a:pt x="1" y="43"/>
                  </a:moveTo>
                  <a:cubicBezTo>
                    <a:pt x="1" y="43"/>
                    <a:pt x="1" y="41"/>
                    <a:pt x="0" y="40"/>
                  </a:cubicBezTo>
                  <a:cubicBezTo>
                    <a:pt x="0" y="38"/>
                    <a:pt x="0" y="35"/>
                    <a:pt x="0" y="35"/>
                  </a:cubicBezTo>
                  <a:cubicBezTo>
                    <a:pt x="0" y="34"/>
                    <a:pt x="0" y="34"/>
                    <a:pt x="0" y="34"/>
                  </a:cubicBezTo>
                  <a:cubicBezTo>
                    <a:pt x="2" y="33"/>
                    <a:pt x="19" y="28"/>
                    <a:pt x="20" y="27"/>
                  </a:cubicBezTo>
                  <a:cubicBezTo>
                    <a:pt x="24" y="28"/>
                    <a:pt x="24" y="28"/>
                    <a:pt x="24" y="28"/>
                  </a:cubicBezTo>
                  <a:cubicBezTo>
                    <a:pt x="26" y="28"/>
                    <a:pt x="24" y="32"/>
                    <a:pt x="26" y="32"/>
                  </a:cubicBezTo>
                  <a:cubicBezTo>
                    <a:pt x="28" y="32"/>
                    <a:pt x="31" y="29"/>
                    <a:pt x="32" y="31"/>
                  </a:cubicBezTo>
                  <a:cubicBezTo>
                    <a:pt x="33" y="32"/>
                    <a:pt x="29" y="40"/>
                    <a:pt x="29" y="42"/>
                  </a:cubicBezTo>
                  <a:cubicBezTo>
                    <a:pt x="30" y="44"/>
                    <a:pt x="36" y="52"/>
                    <a:pt x="38" y="52"/>
                  </a:cubicBezTo>
                  <a:cubicBezTo>
                    <a:pt x="39" y="51"/>
                    <a:pt x="38" y="46"/>
                    <a:pt x="39" y="45"/>
                  </a:cubicBezTo>
                  <a:cubicBezTo>
                    <a:pt x="40" y="44"/>
                    <a:pt x="42" y="43"/>
                    <a:pt x="42" y="43"/>
                  </a:cubicBezTo>
                  <a:cubicBezTo>
                    <a:pt x="42" y="43"/>
                    <a:pt x="43" y="34"/>
                    <a:pt x="42" y="32"/>
                  </a:cubicBezTo>
                  <a:cubicBezTo>
                    <a:pt x="41" y="31"/>
                    <a:pt x="37" y="25"/>
                    <a:pt x="35" y="23"/>
                  </a:cubicBezTo>
                  <a:cubicBezTo>
                    <a:pt x="34" y="21"/>
                    <a:pt x="31" y="22"/>
                    <a:pt x="31" y="21"/>
                  </a:cubicBezTo>
                  <a:cubicBezTo>
                    <a:pt x="31" y="20"/>
                    <a:pt x="32" y="11"/>
                    <a:pt x="34" y="10"/>
                  </a:cubicBezTo>
                  <a:cubicBezTo>
                    <a:pt x="35" y="10"/>
                    <a:pt x="35" y="10"/>
                    <a:pt x="36" y="9"/>
                  </a:cubicBezTo>
                  <a:cubicBezTo>
                    <a:pt x="38" y="9"/>
                    <a:pt x="40" y="8"/>
                    <a:pt x="41" y="8"/>
                  </a:cubicBezTo>
                  <a:cubicBezTo>
                    <a:pt x="43" y="9"/>
                    <a:pt x="46" y="10"/>
                    <a:pt x="49" y="10"/>
                  </a:cubicBezTo>
                  <a:cubicBezTo>
                    <a:pt x="53" y="10"/>
                    <a:pt x="57" y="8"/>
                    <a:pt x="59" y="7"/>
                  </a:cubicBezTo>
                  <a:cubicBezTo>
                    <a:pt x="61" y="6"/>
                    <a:pt x="67" y="6"/>
                    <a:pt x="69" y="5"/>
                  </a:cubicBezTo>
                  <a:cubicBezTo>
                    <a:pt x="71" y="4"/>
                    <a:pt x="78" y="0"/>
                    <a:pt x="78" y="0"/>
                  </a:cubicBezTo>
                  <a:cubicBezTo>
                    <a:pt x="78" y="8"/>
                    <a:pt x="78" y="8"/>
                    <a:pt x="78" y="8"/>
                  </a:cubicBezTo>
                  <a:cubicBezTo>
                    <a:pt x="78" y="10"/>
                    <a:pt x="79" y="22"/>
                    <a:pt x="79" y="26"/>
                  </a:cubicBezTo>
                  <a:cubicBezTo>
                    <a:pt x="80" y="30"/>
                    <a:pt x="82" y="33"/>
                    <a:pt x="80" y="36"/>
                  </a:cubicBezTo>
                  <a:cubicBezTo>
                    <a:pt x="77" y="39"/>
                    <a:pt x="73" y="49"/>
                    <a:pt x="69" y="50"/>
                  </a:cubicBezTo>
                  <a:cubicBezTo>
                    <a:pt x="64" y="51"/>
                    <a:pt x="52" y="56"/>
                    <a:pt x="49" y="59"/>
                  </a:cubicBezTo>
                  <a:cubicBezTo>
                    <a:pt x="46" y="63"/>
                    <a:pt x="42" y="68"/>
                    <a:pt x="40" y="69"/>
                  </a:cubicBezTo>
                  <a:cubicBezTo>
                    <a:pt x="37" y="71"/>
                    <a:pt x="32" y="72"/>
                    <a:pt x="32" y="75"/>
                  </a:cubicBezTo>
                  <a:cubicBezTo>
                    <a:pt x="32" y="78"/>
                    <a:pt x="31" y="80"/>
                    <a:pt x="34" y="81"/>
                  </a:cubicBezTo>
                  <a:cubicBezTo>
                    <a:pt x="36" y="83"/>
                    <a:pt x="39" y="87"/>
                    <a:pt x="40" y="90"/>
                  </a:cubicBezTo>
                  <a:cubicBezTo>
                    <a:pt x="41" y="94"/>
                    <a:pt x="42" y="105"/>
                    <a:pt x="40" y="108"/>
                  </a:cubicBezTo>
                  <a:cubicBezTo>
                    <a:pt x="38" y="111"/>
                    <a:pt x="22" y="117"/>
                    <a:pt x="20" y="119"/>
                  </a:cubicBezTo>
                  <a:cubicBezTo>
                    <a:pt x="18" y="120"/>
                    <a:pt x="16" y="123"/>
                    <a:pt x="18" y="124"/>
                  </a:cubicBezTo>
                  <a:cubicBezTo>
                    <a:pt x="19" y="125"/>
                    <a:pt x="19" y="127"/>
                    <a:pt x="19" y="130"/>
                  </a:cubicBezTo>
                  <a:cubicBezTo>
                    <a:pt x="12" y="129"/>
                    <a:pt x="12" y="129"/>
                    <a:pt x="12" y="129"/>
                  </a:cubicBezTo>
                  <a:cubicBezTo>
                    <a:pt x="12" y="129"/>
                    <a:pt x="12" y="125"/>
                    <a:pt x="12" y="122"/>
                  </a:cubicBezTo>
                  <a:cubicBezTo>
                    <a:pt x="12" y="121"/>
                    <a:pt x="12" y="120"/>
                    <a:pt x="12" y="120"/>
                  </a:cubicBezTo>
                  <a:cubicBezTo>
                    <a:pt x="12" y="118"/>
                    <a:pt x="13" y="109"/>
                    <a:pt x="11" y="106"/>
                  </a:cubicBezTo>
                  <a:cubicBezTo>
                    <a:pt x="9" y="104"/>
                    <a:pt x="8" y="97"/>
                    <a:pt x="8" y="95"/>
                  </a:cubicBezTo>
                  <a:cubicBezTo>
                    <a:pt x="8" y="94"/>
                    <a:pt x="7" y="94"/>
                    <a:pt x="7" y="93"/>
                  </a:cubicBezTo>
                  <a:cubicBezTo>
                    <a:pt x="12" y="89"/>
                    <a:pt x="12" y="89"/>
                    <a:pt x="12" y="89"/>
                  </a:cubicBezTo>
                  <a:cubicBezTo>
                    <a:pt x="15" y="87"/>
                    <a:pt x="16" y="86"/>
                    <a:pt x="16" y="85"/>
                  </a:cubicBezTo>
                  <a:cubicBezTo>
                    <a:pt x="16" y="83"/>
                    <a:pt x="16" y="79"/>
                    <a:pt x="18" y="78"/>
                  </a:cubicBezTo>
                  <a:cubicBezTo>
                    <a:pt x="20" y="76"/>
                    <a:pt x="20" y="75"/>
                    <a:pt x="20" y="73"/>
                  </a:cubicBezTo>
                  <a:cubicBezTo>
                    <a:pt x="20" y="72"/>
                    <a:pt x="19" y="68"/>
                    <a:pt x="20" y="65"/>
                  </a:cubicBezTo>
                  <a:cubicBezTo>
                    <a:pt x="21" y="62"/>
                    <a:pt x="20" y="50"/>
                    <a:pt x="19" y="49"/>
                  </a:cubicBezTo>
                  <a:cubicBezTo>
                    <a:pt x="18" y="48"/>
                    <a:pt x="11" y="44"/>
                    <a:pt x="9" y="44"/>
                  </a:cubicBezTo>
                  <a:cubicBezTo>
                    <a:pt x="7" y="44"/>
                    <a:pt x="1" y="43"/>
                    <a:pt x="1" y="4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 name="Freeform 299"/>
            <p:cNvSpPr>
              <a:spLocks/>
            </p:cNvSpPr>
            <p:nvPr>
              <p:custDataLst>
                <p:tags r:id="rId213"/>
              </p:custDataLst>
            </p:nvPr>
          </p:nvSpPr>
          <p:spPr bwMode="auto">
            <a:xfrm>
              <a:off x="3115" y="2687"/>
              <a:ext cx="75" cy="80"/>
            </a:xfrm>
            <a:custGeom>
              <a:avLst/>
              <a:gdLst>
                <a:gd name="T0" fmla="*/ 0 w 44"/>
                <a:gd name="T1" fmla="*/ 127000 h 43"/>
                <a:gd name="T2" fmla="*/ 8118 w 44"/>
                <a:gd name="T3" fmla="*/ 97465 h 43"/>
                <a:gd name="T4" fmla="*/ 24354 w 44"/>
                <a:gd name="T5" fmla="*/ 73837 h 43"/>
                <a:gd name="T6" fmla="*/ 43296 w 44"/>
                <a:gd name="T7" fmla="*/ 50209 h 43"/>
                <a:gd name="T8" fmla="*/ 29766 w 44"/>
                <a:gd name="T9" fmla="*/ 38395 h 43"/>
                <a:gd name="T10" fmla="*/ 35178 w 44"/>
                <a:gd name="T11" fmla="*/ 14767 h 43"/>
                <a:gd name="T12" fmla="*/ 64943 w 44"/>
                <a:gd name="T13" fmla="*/ 11814 h 43"/>
                <a:gd name="T14" fmla="*/ 92003 w 44"/>
                <a:gd name="T15" fmla="*/ 11814 h 43"/>
                <a:gd name="T16" fmla="*/ 97415 w 44"/>
                <a:gd name="T17" fmla="*/ 0 h 43"/>
                <a:gd name="T18" fmla="*/ 108239 w 44"/>
                <a:gd name="T19" fmla="*/ 20674 h 43"/>
                <a:gd name="T20" fmla="*/ 116357 w 44"/>
                <a:gd name="T21" fmla="*/ 53163 h 43"/>
                <a:gd name="T22" fmla="*/ 97415 w 44"/>
                <a:gd name="T23" fmla="*/ 91558 h 43"/>
                <a:gd name="T24" fmla="*/ 94709 w 44"/>
                <a:gd name="T25" fmla="*/ 118140 h 43"/>
                <a:gd name="T26" fmla="*/ 27060 w 44"/>
                <a:gd name="T27" fmla="*/ 118140 h 43"/>
                <a:gd name="T28" fmla="*/ 13530 w 44"/>
                <a:gd name="T29" fmla="*/ 127000 h 43"/>
                <a:gd name="T30" fmla="*/ 0 w 44"/>
                <a:gd name="T31" fmla="*/ 12700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4" h="43">
                  <a:moveTo>
                    <a:pt x="0" y="43"/>
                  </a:moveTo>
                  <a:cubicBezTo>
                    <a:pt x="2" y="41"/>
                    <a:pt x="3" y="35"/>
                    <a:pt x="3" y="33"/>
                  </a:cubicBezTo>
                  <a:cubicBezTo>
                    <a:pt x="4" y="31"/>
                    <a:pt x="6" y="27"/>
                    <a:pt x="9" y="25"/>
                  </a:cubicBezTo>
                  <a:cubicBezTo>
                    <a:pt x="11" y="23"/>
                    <a:pt x="16" y="17"/>
                    <a:pt x="16" y="17"/>
                  </a:cubicBezTo>
                  <a:cubicBezTo>
                    <a:pt x="16" y="17"/>
                    <a:pt x="11" y="14"/>
                    <a:pt x="11" y="13"/>
                  </a:cubicBezTo>
                  <a:cubicBezTo>
                    <a:pt x="11" y="11"/>
                    <a:pt x="12" y="5"/>
                    <a:pt x="13" y="5"/>
                  </a:cubicBezTo>
                  <a:cubicBezTo>
                    <a:pt x="14" y="4"/>
                    <a:pt x="21" y="4"/>
                    <a:pt x="24" y="4"/>
                  </a:cubicBezTo>
                  <a:cubicBezTo>
                    <a:pt x="27" y="4"/>
                    <a:pt x="34" y="4"/>
                    <a:pt x="34" y="4"/>
                  </a:cubicBezTo>
                  <a:cubicBezTo>
                    <a:pt x="36" y="0"/>
                    <a:pt x="36" y="0"/>
                    <a:pt x="36" y="0"/>
                  </a:cubicBezTo>
                  <a:cubicBezTo>
                    <a:pt x="40" y="7"/>
                    <a:pt x="40" y="7"/>
                    <a:pt x="40" y="7"/>
                  </a:cubicBezTo>
                  <a:cubicBezTo>
                    <a:pt x="41" y="10"/>
                    <a:pt x="44" y="13"/>
                    <a:pt x="43" y="18"/>
                  </a:cubicBezTo>
                  <a:cubicBezTo>
                    <a:pt x="42" y="22"/>
                    <a:pt x="36" y="29"/>
                    <a:pt x="36" y="31"/>
                  </a:cubicBezTo>
                  <a:cubicBezTo>
                    <a:pt x="36" y="33"/>
                    <a:pt x="35" y="40"/>
                    <a:pt x="35" y="40"/>
                  </a:cubicBezTo>
                  <a:cubicBezTo>
                    <a:pt x="10" y="40"/>
                    <a:pt x="10" y="40"/>
                    <a:pt x="10" y="40"/>
                  </a:cubicBezTo>
                  <a:cubicBezTo>
                    <a:pt x="5" y="43"/>
                    <a:pt x="5" y="43"/>
                    <a:pt x="5" y="43"/>
                  </a:cubicBezTo>
                  <a:lnTo>
                    <a:pt x="0" y="43"/>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 name="Freeform 300"/>
            <p:cNvSpPr>
              <a:spLocks/>
            </p:cNvSpPr>
            <p:nvPr>
              <p:custDataLst>
                <p:tags r:id="rId214"/>
              </p:custDataLst>
            </p:nvPr>
          </p:nvSpPr>
          <p:spPr bwMode="auto">
            <a:xfrm>
              <a:off x="3111" y="2781"/>
              <a:ext cx="26" cy="30"/>
            </a:xfrm>
            <a:custGeom>
              <a:avLst/>
              <a:gdLst>
                <a:gd name="T0" fmla="*/ 2580 w 16"/>
                <a:gd name="T1" fmla="*/ 29766 h 16"/>
                <a:gd name="T2" fmla="*/ 0 w 16"/>
                <a:gd name="T3" fmla="*/ 11906 h 16"/>
                <a:gd name="T4" fmla="*/ 12898 w 16"/>
                <a:gd name="T5" fmla="*/ 11906 h 16"/>
                <a:gd name="T6" fmla="*/ 23217 w 16"/>
                <a:gd name="T7" fmla="*/ 0 h 16"/>
                <a:gd name="T8" fmla="*/ 36116 w 16"/>
                <a:gd name="T9" fmla="*/ 5953 h 16"/>
                <a:gd name="T10" fmla="*/ 41275 w 16"/>
                <a:gd name="T11" fmla="*/ 20836 h 16"/>
                <a:gd name="T12" fmla="*/ 20638 w 16"/>
                <a:gd name="T13" fmla="*/ 44648 h 16"/>
                <a:gd name="T14" fmla="*/ 7739 w 16"/>
                <a:gd name="T15" fmla="*/ 47625 h 16"/>
                <a:gd name="T16" fmla="*/ 2580 w 16"/>
                <a:gd name="T17" fmla="*/ 2976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6">
                  <a:moveTo>
                    <a:pt x="1" y="10"/>
                  </a:moveTo>
                  <a:cubicBezTo>
                    <a:pt x="1" y="8"/>
                    <a:pt x="0" y="6"/>
                    <a:pt x="0" y="4"/>
                  </a:cubicBezTo>
                  <a:cubicBezTo>
                    <a:pt x="0" y="4"/>
                    <a:pt x="2" y="4"/>
                    <a:pt x="5" y="4"/>
                  </a:cubicBezTo>
                  <a:cubicBezTo>
                    <a:pt x="8" y="4"/>
                    <a:pt x="6" y="0"/>
                    <a:pt x="9" y="0"/>
                  </a:cubicBezTo>
                  <a:cubicBezTo>
                    <a:pt x="12" y="0"/>
                    <a:pt x="14" y="2"/>
                    <a:pt x="14" y="2"/>
                  </a:cubicBezTo>
                  <a:cubicBezTo>
                    <a:pt x="13" y="3"/>
                    <a:pt x="16" y="5"/>
                    <a:pt x="16" y="7"/>
                  </a:cubicBezTo>
                  <a:cubicBezTo>
                    <a:pt x="15" y="8"/>
                    <a:pt x="10" y="13"/>
                    <a:pt x="8" y="15"/>
                  </a:cubicBezTo>
                  <a:cubicBezTo>
                    <a:pt x="3" y="16"/>
                    <a:pt x="3" y="16"/>
                    <a:pt x="3" y="16"/>
                  </a:cubicBezTo>
                  <a:cubicBezTo>
                    <a:pt x="2" y="13"/>
                    <a:pt x="2" y="11"/>
                    <a:pt x="1"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 name="Freeform 302"/>
            <p:cNvSpPr>
              <a:spLocks/>
            </p:cNvSpPr>
            <p:nvPr>
              <p:custDataLst>
                <p:tags r:id="rId215"/>
              </p:custDataLst>
            </p:nvPr>
          </p:nvSpPr>
          <p:spPr bwMode="auto">
            <a:xfrm>
              <a:off x="3115" y="2761"/>
              <a:ext cx="148" cy="153"/>
            </a:xfrm>
            <a:custGeom>
              <a:avLst/>
              <a:gdLst>
                <a:gd name="T0" fmla="*/ 2732 w 86"/>
                <a:gd name="T1" fmla="*/ 111202 h 83"/>
                <a:gd name="T2" fmla="*/ 0 w 86"/>
                <a:gd name="T3" fmla="*/ 79012 h 83"/>
                <a:gd name="T4" fmla="*/ 13660 w 86"/>
                <a:gd name="T5" fmla="*/ 76085 h 83"/>
                <a:gd name="T6" fmla="*/ 35516 w 86"/>
                <a:gd name="T7" fmla="*/ 52675 h 83"/>
                <a:gd name="T8" fmla="*/ 30052 w 86"/>
                <a:gd name="T9" fmla="*/ 38043 h 83"/>
                <a:gd name="T10" fmla="*/ 35516 w 86"/>
                <a:gd name="T11" fmla="*/ 17558 h 83"/>
                <a:gd name="T12" fmla="*/ 27320 w 86"/>
                <a:gd name="T13" fmla="*/ 0 h 83"/>
                <a:gd name="T14" fmla="*/ 95619 w 86"/>
                <a:gd name="T15" fmla="*/ 0 h 83"/>
                <a:gd name="T16" fmla="*/ 172115 w 86"/>
                <a:gd name="T17" fmla="*/ 43895 h 83"/>
                <a:gd name="T18" fmla="*/ 180310 w 86"/>
                <a:gd name="T19" fmla="*/ 64380 h 83"/>
                <a:gd name="T20" fmla="*/ 210362 w 86"/>
                <a:gd name="T21" fmla="*/ 84864 h 83"/>
                <a:gd name="T22" fmla="*/ 199434 w 86"/>
                <a:gd name="T23" fmla="*/ 117054 h 83"/>
                <a:gd name="T24" fmla="*/ 213094 w 86"/>
                <a:gd name="T25" fmla="*/ 137539 h 83"/>
                <a:gd name="T26" fmla="*/ 210362 w 86"/>
                <a:gd name="T27" fmla="*/ 160950 h 83"/>
                <a:gd name="T28" fmla="*/ 221290 w 86"/>
                <a:gd name="T29" fmla="*/ 198993 h 83"/>
                <a:gd name="T30" fmla="*/ 234950 w 86"/>
                <a:gd name="T31" fmla="*/ 213624 h 83"/>
                <a:gd name="T32" fmla="*/ 210362 w 86"/>
                <a:gd name="T33" fmla="*/ 228256 h 83"/>
                <a:gd name="T34" fmla="*/ 183042 w 86"/>
                <a:gd name="T35" fmla="*/ 234109 h 83"/>
                <a:gd name="T36" fmla="*/ 155723 w 86"/>
                <a:gd name="T37" fmla="*/ 242888 h 83"/>
                <a:gd name="T38" fmla="*/ 133867 w 86"/>
                <a:gd name="T39" fmla="*/ 237035 h 83"/>
                <a:gd name="T40" fmla="*/ 120207 w 86"/>
                <a:gd name="T41" fmla="*/ 239962 h 83"/>
                <a:gd name="T42" fmla="*/ 109279 w 86"/>
                <a:gd name="T43" fmla="*/ 198993 h 83"/>
                <a:gd name="T44" fmla="*/ 95619 w 86"/>
                <a:gd name="T45" fmla="*/ 196066 h 83"/>
                <a:gd name="T46" fmla="*/ 81959 w 86"/>
                <a:gd name="T47" fmla="*/ 196066 h 83"/>
                <a:gd name="T48" fmla="*/ 76495 w 86"/>
                <a:gd name="T49" fmla="*/ 190213 h 83"/>
                <a:gd name="T50" fmla="*/ 32784 w 86"/>
                <a:gd name="T51" fmla="*/ 166803 h 83"/>
                <a:gd name="T52" fmla="*/ 30052 w 86"/>
                <a:gd name="T53" fmla="*/ 158024 h 83"/>
                <a:gd name="T54" fmla="*/ 19124 w 86"/>
                <a:gd name="T55" fmla="*/ 134613 h 83"/>
                <a:gd name="T56" fmla="*/ 2732 w 86"/>
                <a:gd name="T57" fmla="*/ 111202 h 8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83">
                  <a:moveTo>
                    <a:pt x="1" y="38"/>
                  </a:moveTo>
                  <a:cubicBezTo>
                    <a:pt x="1" y="36"/>
                    <a:pt x="1" y="31"/>
                    <a:pt x="0" y="27"/>
                  </a:cubicBezTo>
                  <a:cubicBezTo>
                    <a:pt x="5" y="26"/>
                    <a:pt x="5" y="26"/>
                    <a:pt x="5" y="26"/>
                  </a:cubicBezTo>
                  <a:cubicBezTo>
                    <a:pt x="7" y="24"/>
                    <a:pt x="12" y="19"/>
                    <a:pt x="13" y="18"/>
                  </a:cubicBezTo>
                  <a:cubicBezTo>
                    <a:pt x="13" y="16"/>
                    <a:pt x="10" y="14"/>
                    <a:pt x="11" y="13"/>
                  </a:cubicBezTo>
                  <a:cubicBezTo>
                    <a:pt x="12" y="11"/>
                    <a:pt x="14" y="8"/>
                    <a:pt x="13" y="6"/>
                  </a:cubicBezTo>
                  <a:cubicBezTo>
                    <a:pt x="12" y="4"/>
                    <a:pt x="10" y="0"/>
                    <a:pt x="10" y="0"/>
                  </a:cubicBezTo>
                  <a:cubicBezTo>
                    <a:pt x="35" y="0"/>
                    <a:pt x="35" y="0"/>
                    <a:pt x="35" y="0"/>
                  </a:cubicBezTo>
                  <a:cubicBezTo>
                    <a:pt x="35" y="0"/>
                    <a:pt x="61" y="14"/>
                    <a:pt x="63" y="15"/>
                  </a:cubicBezTo>
                  <a:cubicBezTo>
                    <a:pt x="65" y="16"/>
                    <a:pt x="65" y="21"/>
                    <a:pt x="66" y="22"/>
                  </a:cubicBezTo>
                  <a:cubicBezTo>
                    <a:pt x="77" y="29"/>
                    <a:pt x="77" y="29"/>
                    <a:pt x="77" y="29"/>
                  </a:cubicBezTo>
                  <a:cubicBezTo>
                    <a:pt x="75" y="32"/>
                    <a:pt x="72" y="37"/>
                    <a:pt x="73" y="40"/>
                  </a:cubicBezTo>
                  <a:cubicBezTo>
                    <a:pt x="73" y="43"/>
                    <a:pt x="80" y="45"/>
                    <a:pt x="78" y="47"/>
                  </a:cubicBezTo>
                  <a:cubicBezTo>
                    <a:pt x="77" y="49"/>
                    <a:pt x="76" y="51"/>
                    <a:pt x="77" y="55"/>
                  </a:cubicBezTo>
                  <a:cubicBezTo>
                    <a:pt x="77" y="59"/>
                    <a:pt x="78" y="65"/>
                    <a:pt x="81" y="68"/>
                  </a:cubicBezTo>
                  <a:cubicBezTo>
                    <a:pt x="83" y="70"/>
                    <a:pt x="86" y="72"/>
                    <a:pt x="86" y="73"/>
                  </a:cubicBezTo>
                  <a:cubicBezTo>
                    <a:pt x="86" y="73"/>
                    <a:pt x="79" y="77"/>
                    <a:pt x="77" y="78"/>
                  </a:cubicBezTo>
                  <a:cubicBezTo>
                    <a:pt x="75" y="79"/>
                    <a:pt x="69" y="79"/>
                    <a:pt x="67" y="80"/>
                  </a:cubicBezTo>
                  <a:cubicBezTo>
                    <a:pt x="65" y="81"/>
                    <a:pt x="61" y="83"/>
                    <a:pt x="57" y="83"/>
                  </a:cubicBezTo>
                  <a:cubicBezTo>
                    <a:pt x="54" y="83"/>
                    <a:pt x="51" y="82"/>
                    <a:pt x="49" y="81"/>
                  </a:cubicBezTo>
                  <a:cubicBezTo>
                    <a:pt x="48" y="81"/>
                    <a:pt x="46" y="82"/>
                    <a:pt x="44" y="82"/>
                  </a:cubicBezTo>
                  <a:cubicBezTo>
                    <a:pt x="44" y="82"/>
                    <a:pt x="41" y="70"/>
                    <a:pt x="40" y="68"/>
                  </a:cubicBezTo>
                  <a:cubicBezTo>
                    <a:pt x="38" y="66"/>
                    <a:pt x="35" y="67"/>
                    <a:pt x="35" y="67"/>
                  </a:cubicBezTo>
                  <a:cubicBezTo>
                    <a:pt x="30" y="67"/>
                    <a:pt x="30" y="67"/>
                    <a:pt x="30" y="67"/>
                  </a:cubicBezTo>
                  <a:cubicBezTo>
                    <a:pt x="30" y="66"/>
                    <a:pt x="29" y="65"/>
                    <a:pt x="28" y="65"/>
                  </a:cubicBezTo>
                  <a:cubicBezTo>
                    <a:pt x="26" y="64"/>
                    <a:pt x="13" y="60"/>
                    <a:pt x="12" y="57"/>
                  </a:cubicBezTo>
                  <a:cubicBezTo>
                    <a:pt x="11" y="56"/>
                    <a:pt x="11" y="55"/>
                    <a:pt x="11" y="54"/>
                  </a:cubicBezTo>
                  <a:cubicBezTo>
                    <a:pt x="10" y="51"/>
                    <a:pt x="9" y="47"/>
                    <a:pt x="7" y="46"/>
                  </a:cubicBezTo>
                  <a:cubicBezTo>
                    <a:pt x="5" y="44"/>
                    <a:pt x="1" y="40"/>
                    <a:pt x="1" y="3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 name="Freeform 303"/>
            <p:cNvSpPr>
              <a:spLocks/>
            </p:cNvSpPr>
            <p:nvPr>
              <p:custDataLst>
                <p:tags r:id="rId216"/>
              </p:custDataLst>
            </p:nvPr>
          </p:nvSpPr>
          <p:spPr bwMode="auto">
            <a:xfrm>
              <a:off x="3109" y="2761"/>
              <a:ext cx="30" cy="28"/>
            </a:xfrm>
            <a:custGeom>
              <a:avLst/>
              <a:gdLst>
                <a:gd name="T0" fmla="*/ 15875 w 18"/>
                <a:gd name="T1" fmla="*/ 44450 h 15"/>
                <a:gd name="T2" fmla="*/ 2646 w 18"/>
                <a:gd name="T3" fmla="*/ 44450 h 15"/>
                <a:gd name="T4" fmla="*/ 0 w 18"/>
                <a:gd name="T5" fmla="*/ 35560 h 15"/>
                <a:gd name="T6" fmla="*/ 10583 w 18"/>
                <a:gd name="T7" fmla="*/ 8890 h 15"/>
                <a:gd name="T8" fmla="*/ 23813 w 18"/>
                <a:gd name="T9" fmla="*/ 8890 h 15"/>
                <a:gd name="T10" fmla="*/ 37042 w 18"/>
                <a:gd name="T11" fmla="*/ 0 h 15"/>
                <a:gd name="T12" fmla="*/ 44979 w 18"/>
                <a:gd name="T13" fmla="*/ 17780 h 15"/>
                <a:gd name="T14" fmla="*/ 39688 w 18"/>
                <a:gd name="T15" fmla="*/ 38523 h 15"/>
                <a:gd name="T16" fmla="*/ 26458 w 18"/>
                <a:gd name="T17" fmla="*/ 32597 h 15"/>
                <a:gd name="T18" fmla="*/ 15875 w 18"/>
                <a:gd name="T19" fmla="*/ 4445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15">
                  <a:moveTo>
                    <a:pt x="6" y="15"/>
                  </a:moveTo>
                  <a:cubicBezTo>
                    <a:pt x="3" y="15"/>
                    <a:pt x="1" y="15"/>
                    <a:pt x="1" y="15"/>
                  </a:cubicBezTo>
                  <a:cubicBezTo>
                    <a:pt x="1" y="14"/>
                    <a:pt x="0" y="13"/>
                    <a:pt x="0" y="12"/>
                  </a:cubicBezTo>
                  <a:cubicBezTo>
                    <a:pt x="0" y="9"/>
                    <a:pt x="3" y="4"/>
                    <a:pt x="4" y="3"/>
                  </a:cubicBezTo>
                  <a:cubicBezTo>
                    <a:pt x="9" y="3"/>
                    <a:pt x="9" y="3"/>
                    <a:pt x="9" y="3"/>
                  </a:cubicBezTo>
                  <a:cubicBezTo>
                    <a:pt x="14" y="0"/>
                    <a:pt x="14" y="0"/>
                    <a:pt x="14" y="0"/>
                  </a:cubicBezTo>
                  <a:cubicBezTo>
                    <a:pt x="14" y="0"/>
                    <a:pt x="16" y="4"/>
                    <a:pt x="17" y="6"/>
                  </a:cubicBezTo>
                  <a:cubicBezTo>
                    <a:pt x="18" y="8"/>
                    <a:pt x="16" y="11"/>
                    <a:pt x="15" y="13"/>
                  </a:cubicBezTo>
                  <a:cubicBezTo>
                    <a:pt x="15" y="13"/>
                    <a:pt x="13" y="11"/>
                    <a:pt x="10" y="11"/>
                  </a:cubicBezTo>
                  <a:cubicBezTo>
                    <a:pt x="7" y="11"/>
                    <a:pt x="9" y="15"/>
                    <a:pt x="6" y="1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 name="Freeform 304"/>
            <p:cNvSpPr>
              <a:spLocks/>
            </p:cNvSpPr>
            <p:nvPr>
              <p:custDataLst>
                <p:tags r:id="rId217"/>
              </p:custDataLst>
            </p:nvPr>
          </p:nvSpPr>
          <p:spPr bwMode="auto">
            <a:xfrm>
              <a:off x="3084" y="3157"/>
              <a:ext cx="33" cy="36"/>
            </a:xfrm>
            <a:custGeom>
              <a:avLst/>
              <a:gdLst>
                <a:gd name="T0" fmla="*/ 2757 w 19"/>
                <a:gd name="T1" fmla="*/ 25718 h 20"/>
                <a:gd name="T2" fmla="*/ 35844 w 19"/>
                <a:gd name="T3" fmla="*/ 2858 h 20"/>
                <a:gd name="T4" fmla="*/ 52388 w 19"/>
                <a:gd name="T5" fmla="*/ 20003 h 20"/>
                <a:gd name="T6" fmla="*/ 38602 w 19"/>
                <a:gd name="T7" fmla="*/ 40005 h 20"/>
                <a:gd name="T8" fmla="*/ 24815 w 19"/>
                <a:gd name="T9" fmla="*/ 54293 h 20"/>
                <a:gd name="T10" fmla="*/ 8272 w 19"/>
                <a:gd name="T11" fmla="*/ 37148 h 20"/>
                <a:gd name="T12" fmla="*/ 2757 w 19"/>
                <a:gd name="T13" fmla="*/ 25718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1" y="9"/>
                  </a:moveTo>
                  <a:cubicBezTo>
                    <a:pt x="2" y="8"/>
                    <a:pt x="9" y="0"/>
                    <a:pt x="13" y="1"/>
                  </a:cubicBezTo>
                  <a:cubicBezTo>
                    <a:pt x="16" y="1"/>
                    <a:pt x="19" y="5"/>
                    <a:pt x="19" y="7"/>
                  </a:cubicBezTo>
                  <a:cubicBezTo>
                    <a:pt x="19" y="9"/>
                    <a:pt x="15" y="14"/>
                    <a:pt x="14" y="14"/>
                  </a:cubicBezTo>
                  <a:cubicBezTo>
                    <a:pt x="13" y="14"/>
                    <a:pt x="11" y="17"/>
                    <a:pt x="9" y="19"/>
                  </a:cubicBezTo>
                  <a:cubicBezTo>
                    <a:pt x="8" y="20"/>
                    <a:pt x="3" y="13"/>
                    <a:pt x="3" y="13"/>
                  </a:cubicBezTo>
                  <a:cubicBezTo>
                    <a:pt x="2" y="12"/>
                    <a:pt x="0" y="11"/>
                    <a:pt x="1" y="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 name="Freeform 305"/>
            <p:cNvSpPr>
              <a:spLocks/>
            </p:cNvSpPr>
            <p:nvPr>
              <p:custDataLst>
                <p:tags r:id="rId218"/>
              </p:custDataLst>
            </p:nvPr>
          </p:nvSpPr>
          <p:spPr bwMode="auto">
            <a:xfrm>
              <a:off x="3062" y="2967"/>
              <a:ext cx="103" cy="98"/>
            </a:xfrm>
            <a:custGeom>
              <a:avLst/>
              <a:gdLst>
                <a:gd name="T0" fmla="*/ 5450 w 60"/>
                <a:gd name="T1" fmla="*/ 58708 h 53"/>
                <a:gd name="T2" fmla="*/ 0 w 60"/>
                <a:gd name="T3" fmla="*/ 46966 h 53"/>
                <a:gd name="T4" fmla="*/ 32703 w 60"/>
                <a:gd name="T5" fmla="*/ 52837 h 53"/>
                <a:gd name="T6" fmla="*/ 57230 w 60"/>
                <a:gd name="T7" fmla="*/ 29354 h 53"/>
                <a:gd name="T8" fmla="*/ 76306 w 60"/>
                <a:gd name="T9" fmla="*/ 17612 h 53"/>
                <a:gd name="T10" fmla="*/ 87207 w 60"/>
                <a:gd name="T11" fmla="*/ 0 h 53"/>
                <a:gd name="T12" fmla="*/ 98108 w 60"/>
                <a:gd name="T13" fmla="*/ 0 h 53"/>
                <a:gd name="T14" fmla="*/ 106283 w 60"/>
                <a:gd name="T15" fmla="*/ 0 h 53"/>
                <a:gd name="T16" fmla="*/ 106283 w 60"/>
                <a:gd name="T17" fmla="*/ 0 h 53"/>
                <a:gd name="T18" fmla="*/ 109009 w 60"/>
                <a:gd name="T19" fmla="*/ 8806 h 53"/>
                <a:gd name="T20" fmla="*/ 130810 w 60"/>
                <a:gd name="T21" fmla="*/ 11742 h 53"/>
                <a:gd name="T22" fmla="*/ 158063 w 60"/>
                <a:gd name="T23" fmla="*/ 26418 h 53"/>
                <a:gd name="T24" fmla="*/ 160788 w 60"/>
                <a:gd name="T25" fmla="*/ 73384 h 53"/>
                <a:gd name="T26" fmla="*/ 160788 w 60"/>
                <a:gd name="T27" fmla="*/ 96867 h 53"/>
                <a:gd name="T28" fmla="*/ 155337 w 60"/>
                <a:gd name="T29" fmla="*/ 111544 h 53"/>
                <a:gd name="T30" fmla="*/ 149887 w 60"/>
                <a:gd name="T31" fmla="*/ 132092 h 53"/>
                <a:gd name="T32" fmla="*/ 138986 w 60"/>
                <a:gd name="T33" fmla="*/ 143833 h 53"/>
                <a:gd name="T34" fmla="*/ 125360 w 60"/>
                <a:gd name="T35" fmla="*/ 155575 h 53"/>
                <a:gd name="T36" fmla="*/ 125360 w 60"/>
                <a:gd name="T37" fmla="*/ 155575 h 53"/>
                <a:gd name="T38" fmla="*/ 106283 w 60"/>
                <a:gd name="T39" fmla="*/ 152640 h 53"/>
                <a:gd name="T40" fmla="*/ 87207 w 60"/>
                <a:gd name="T41" fmla="*/ 146769 h 53"/>
                <a:gd name="T42" fmla="*/ 81757 w 60"/>
                <a:gd name="T43" fmla="*/ 143833 h 53"/>
                <a:gd name="T44" fmla="*/ 54504 w 60"/>
                <a:gd name="T45" fmla="*/ 132092 h 53"/>
                <a:gd name="T46" fmla="*/ 51779 w 60"/>
                <a:gd name="T47" fmla="*/ 111544 h 53"/>
                <a:gd name="T48" fmla="*/ 43603 w 60"/>
                <a:gd name="T49" fmla="*/ 114480 h 53"/>
                <a:gd name="T50" fmla="*/ 29977 w 60"/>
                <a:gd name="T51" fmla="*/ 99803 h 53"/>
                <a:gd name="T52" fmla="*/ 5450 w 60"/>
                <a:gd name="T53" fmla="*/ 64578 h 53"/>
                <a:gd name="T54" fmla="*/ 5450 w 60"/>
                <a:gd name="T55" fmla="*/ 58708 h 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 h="53">
                  <a:moveTo>
                    <a:pt x="2" y="20"/>
                  </a:moveTo>
                  <a:cubicBezTo>
                    <a:pt x="0" y="16"/>
                    <a:pt x="0" y="16"/>
                    <a:pt x="0" y="16"/>
                  </a:cubicBezTo>
                  <a:cubicBezTo>
                    <a:pt x="4" y="17"/>
                    <a:pt x="11" y="18"/>
                    <a:pt x="12" y="18"/>
                  </a:cubicBezTo>
                  <a:cubicBezTo>
                    <a:pt x="14" y="18"/>
                    <a:pt x="19" y="11"/>
                    <a:pt x="21" y="10"/>
                  </a:cubicBezTo>
                  <a:cubicBezTo>
                    <a:pt x="24" y="9"/>
                    <a:pt x="28" y="6"/>
                    <a:pt x="28" y="6"/>
                  </a:cubicBezTo>
                  <a:cubicBezTo>
                    <a:pt x="28" y="6"/>
                    <a:pt x="30" y="0"/>
                    <a:pt x="32" y="0"/>
                  </a:cubicBezTo>
                  <a:cubicBezTo>
                    <a:pt x="34" y="0"/>
                    <a:pt x="36" y="0"/>
                    <a:pt x="36" y="0"/>
                  </a:cubicBezTo>
                  <a:cubicBezTo>
                    <a:pt x="39" y="0"/>
                    <a:pt x="39" y="0"/>
                    <a:pt x="39" y="0"/>
                  </a:cubicBezTo>
                  <a:cubicBezTo>
                    <a:pt x="39" y="0"/>
                    <a:pt x="39" y="0"/>
                    <a:pt x="39" y="0"/>
                  </a:cubicBezTo>
                  <a:cubicBezTo>
                    <a:pt x="40" y="1"/>
                    <a:pt x="40" y="3"/>
                    <a:pt x="40" y="3"/>
                  </a:cubicBezTo>
                  <a:cubicBezTo>
                    <a:pt x="40" y="3"/>
                    <a:pt x="46" y="4"/>
                    <a:pt x="48" y="4"/>
                  </a:cubicBezTo>
                  <a:cubicBezTo>
                    <a:pt x="50" y="4"/>
                    <a:pt x="57" y="8"/>
                    <a:pt x="58" y="9"/>
                  </a:cubicBezTo>
                  <a:cubicBezTo>
                    <a:pt x="59" y="10"/>
                    <a:pt x="60" y="22"/>
                    <a:pt x="59" y="25"/>
                  </a:cubicBezTo>
                  <a:cubicBezTo>
                    <a:pt x="58" y="28"/>
                    <a:pt x="59" y="32"/>
                    <a:pt x="59" y="33"/>
                  </a:cubicBezTo>
                  <a:cubicBezTo>
                    <a:pt x="59" y="35"/>
                    <a:pt x="59" y="36"/>
                    <a:pt x="57" y="38"/>
                  </a:cubicBezTo>
                  <a:cubicBezTo>
                    <a:pt x="55" y="39"/>
                    <a:pt x="55" y="43"/>
                    <a:pt x="55" y="45"/>
                  </a:cubicBezTo>
                  <a:cubicBezTo>
                    <a:pt x="55" y="46"/>
                    <a:pt x="54" y="47"/>
                    <a:pt x="51" y="49"/>
                  </a:cubicBezTo>
                  <a:cubicBezTo>
                    <a:pt x="46" y="53"/>
                    <a:pt x="46" y="53"/>
                    <a:pt x="46" y="53"/>
                  </a:cubicBezTo>
                  <a:cubicBezTo>
                    <a:pt x="46" y="53"/>
                    <a:pt x="46" y="53"/>
                    <a:pt x="46" y="53"/>
                  </a:cubicBezTo>
                  <a:cubicBezTo>
                    <a:pt x="45" y="52"/>
                    <a:pt x="41" y="52"/>
                    <a:pt x="39" y="52"/>
                  </a:cubicBezTo>
                  <a:cubicBezTo>
                    <a:pt x="37" y="52"/>
                    <a:pt x="34" y="51"/>
                    <a:pt x="32" y="50"/>
                  </a:cubicBezTo>
                  <a:cubicBezTo>
                    <a:pt x="31" y="50"/>
                    <a:pt x="30" y="49"/>
                    <a:pt x="30" y="49"/>
                  </a:cubicBezTo>
                  <a:cubicBezTo>
                    <a:pt x="27" y="48"/>
                    <a:pt x="21" y="46"/>
                    <a:pt x="20" y="45"/>
                  </a:cubicBezTo>
                  <a:cubicBezTo>
                    <a:pt x="20" y="44"/>
                    <a:pt x="19" y="38"/>
                    <a:pt x="19" y="38"/>
                  </a:cubicBezTo>
                  <a:cubicBezTo>
                    <a:pt x="16" y="39"/>
                    <a:pt x="16" y="39"/>
                    <a:pt x="16" y="39"/>
                  </a:cubicBezTo>
                  <a:cubicBezTo>
                    <a:pt x="16" y="39"/>
                    <a:pt x="13" y="35"/>
                    <a:pt x="11" y="34"/>
                  </a:cubicBezTo>
                  <a:cubicBezTo>
                    <a:pt x="8" y="32"/>
                    <a:pt x="4" y="24"/>
                    <a:pt x="2" y="22"/>
                  </a:cubicBezTo>
                  <a:lnTo>
                    <a:pt x="2" y="20"/>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 name="Freeform 301"/>
            <p:cNvSpPr>
              <a:spLocks/>
            </p:cNvSpPr>
            <p:nvPr>
              <p:custDataLst>
                <p:tags r:id="rId219"/>
              </p:custDataLst>
            </p:nvPr>
          </p:nvSpPr>
          <p:spPr bwMode="auto">
            <a:xfrm>
              <a:off x="3102" y="2860"/>
              <a:ext cx="68" cy="97"/>
            </a:xfrm>
            <a:custGeom>
              <a:avLst/>
              <a:gdLst>
                <a:gd name="T0" fmla="*/ 8096 w 40"/>
                <a:gd name="T1" fmla="*/ 75541 h 53"/>
                <a:gd name="T2" fmla="*/ 5398 w 40"/>
                <a:gd name="T3" fmla="*/ 29054 h 53"/>
                <a:gd name="T4" fmla="*/ 16193 w 40"/>
                <a:gd name="T5" fmla="*/ 8716 h 53"/>
                <a:gd name="T6" fmla="*/ 51276 w 40"/>
                <a:gd name="T7" fmla="*/ 0 h 53"/>
                <a:gd name="T8" fmla="*/ 53975 w 40"/>
                <a:gd name="T9" fmla="*/ 8716 h 53"/>
                <a:gd name="T10" fmla="*/ 97155 w 40"/>
                <a:gd name="T11" fmla="*/ 31960 h 53"/>
                <a:gd name="T12" fmla="*/ 102553 w 40"/>
                <a:gd name="T13" fmla="*/ 37771 h 53"/>
                <a:gd name="T14" fmla="*/ 107950 w 40"/>
                <a:gd name="T15" fmla="*/ 49392 h 53"/>
                <a:gd name="T16" fmla="*/ 102553 w 40"/>
                <a:gd name="T17" fmla="*/ 66825 h 53"/>
                <a:gd name="T18" fmla="*/ 105251 w 40"/>
                <a:gd name="T19" fmla="*/ 95879 h 53"/>
                <a:gd name="T20" fmla="*/ 97155 w 40"/>
                <a:gd name="T21" fmla="*/ 113312 h 53"/>
                <a:gd name="T22" fmla="*/ 97155 w 40"/>
                <a:gd name="T23" fmla="*/ 133650 h 53"/>
                <a:gd name="T24" fmla="*/ 43180 w 40"/>
                <a:gd name="T25" fmla="*/ 153988 h 53"/>
                <a:gd name="T26" fmla="*/ 26988 w 40"/>
                <a:gd name="T27" fmla="*/ 122028 h 53"/>
                <a:gd name="T28" fmla="*/ 26988 w 40"/>
                <a:gd name="T29" fmla="*/ 122028 h 53"/>
                <a:gd name="T30" fmla="*/ 32385 w 40"/>
                <a:gd name="T31" fmla="*/ 92974 h 53"/>
                <a:gd name="T32" fmla="*/ 8096 w 40"/>
                <a:gd name="T33" fmla="*/ 7554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53">
                  <a:moveTo>
                    <a:pt x="3" y="26"/>
                  </a:moveTo>
                  <a:cubicBezTo>
                    <a:pt x="2" y="23"/>
                    <a:pt x="3" y="13"/>
                    <a:pt x="2" y="10"/>
                  </a:cubicBezTo>
                  <a:cubicBezTo>
                    <a:pt x="0" y="8"/>
                    <a:pt x="6" y="3"/>
                    <a:pt x="6" y="3"/>
                  </a:cubicBezTo>
                  <a:cubicBezTo>
                    <a:pt x="19" y="0"/>
                    <a:pt x="19" y="0"/>
                    <a:pt x="19" y="0"/>
                  </a:cubicBezTo>
                  <a:cubicBezTo>
                    <a:pt x="19" y="1"/>
                    <a:pt x="19" y="2"/>
                    <a:pt x="20" y="3"/>
                  </a:cubicBezTo>
                  <a:cubicBezTo>
                    <a:pt x="21" y="6"/>
                    <a:pt x="34" y="10"/>
                    <a:pt x="36" y="11"/>
                  </a:cubicBezTo>
                  <a:cubicBezTo>
                    <a:pt x="37" y="11"/>
                    <a:pt x="38" y="12"/>
                    <a:pt x="38" y="13"/>
                  </a:cubicBezTo>
                  <a:cubicBezTo>
                    <a:pt x="39" y="14"/>
                    <a:pt x="39" y="16"/>
                    <a:pt x="40" y="17"/>
                  </a:cubicBezTo>
                  <a:cubicBezTo>
                    <a:pt x="40" y="19"/>
                    <a:pt x="40" y="21"/>
                    <a:pt x="38" y="23"/>
                  </a:cubicBezTo>
                  <a:cubicBezTo>
                    <a:pt x="37" y="25"/>
                    <a:pt x="39" y="31"/>
                    <a:pt x="39" y="33"/>
                  </a:cubicBezTo>
                  <a:cubicBezTo>
                    <a:pt x="39" y="35"/>
                    <a:pt x="38" y="36"/>
                    <a:pt x="36" y="39"/>
                  </a:cubicBezTo>
                  <a:cubicBezTo>
                    <a:pt x="35" y="42"/>
                    <a:pt x="36" y="46"/>
                    <a:pt x="36" y="46"/>
                  </a:cubicBezTo>
                  <a:cubicBezTo>
                    <a:pt x="35" y="47"/>
                    <a:pt x="18" y="52"/>
                    <a:pt x="16" y="53"/>
                  </a:cubicBezTo>
                  <a:cubicBezTo>
                    <a:pt x="10" y="42"/>
                    <a:pt x="10" y="42"/>
                    <a:pt x="10" y="42"/>
                  </a:cubicBezTo>
                  <a:cubicBezTo>
                    <a:pt x="10" y="42"/>
                    <a:pt x="10" y="42"/>
                    <a:pt x="10" y="42"/>
                  </a:cubicBezTo>
                  <a:cubicBezTo>
                    <a:pt x="12" y="41"/>
                    <a:pt x="12" y="34"/>
                    <a:pt x="12" y="32"/>
                  </a:cubicBezTo>
                  <a:cubicBezTo>
                    <a:pt x="12" y="30"/>
                    <a:pt x="4" y="29"/>
                    <a:pt x="3"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 name="Freeform 306"/>
            <p:cNvSpPr>
              <a:spLocks/>
            </p:cNvSpPr>
            <p:nvPr>
              <p:custDataLst>
                <p:tags r:id="rId220"/>
              </p:custDataLst>
            </p:nvPr>
          </p:nvSpPr>
          <p:spPr bwMode="auto">
            <a:xfrm>
              <a:off x="3020" y="2903"/>
              <a:ext cx="109" cy="98"/>
            </a:xfrm>
            <a:custGeom>
              <a:avLst/>
              <a:gdLst>
                <a:gd name="T0" fmla="*/ 24333 w 64"/>
                <a:gd name="T1" fmla="*/ 146932 h 54"/>
                <a:gd name="T2" fmla="*/ 0 w 64"/>
                <a:gd name="T3" fmla="*/ 115241 h 54"/>
                <a:gd name="T4" fmla="*/ 0 w 64"/>
                <a:gd name="T5" fmla="*/ 46096 h 54"/>
                <a:gd name="T6" fmla="*/ 43260 w 64"/>
                <a:gd name="T7" fmla="*/ 46096 h 54"/>
                <a:gd name="T8" fmla="*/ 40556 w 64"/>
                <a:gd name="T9" fmla="*/ 0 h 54"/>
                <a:gd name="T10" fmla="*/ 70297 w 64"/>
                <a:gd name="T11" fmla="*/ 5762 h 54"/>
                <a:gd name="T12" fmla="*/ 91926 w 64"/>
                <a:gd name="T13" fmla="*/ 20167 h 54"/>
                <a:gd name="T14" fmla="*/ 108149 w 64"/>
                <a:gd name="T15" fmla="*/ 11524 h 54"/>
                <a:gd name="T16" fmla="*/ 135186 w 64"/>
                <a:gd name="T17" fmla="*/ 37453 h 54"/>
                <a:gd name="T18" fmla="*/ 156816 w 64"/>
                <a:gd name="T19" fmla="*/ 54739 h 54"/>
                <a:gd name="T20" fmla="*/ 173038 w 64"/>
                <a:gd name="T21" fmla="*/ 86431 h 54"/>
                <a:gd name="T22" fmla="*/ 173038 w 64"/>
                <a:gd name="T23" fmla="*/ 89312 h 54"/>
                <a:gd name="T24" fmla="*/ 173038 w 64"/>
                <a:gd name="T25" fmla="*/ 103717 h 54"/>
                <a:gd name="T26" fmla="*/ 173038 w 64"/>
                <a:gd name="T27" fmla="*/ 103717 h 54"/>
                <a:gd name="T28" fmla="*/ 164927 w 64"/>
                <a:gd name="T29" fmla="*/ 103717 h 54"/>
                <a:gd name="T30" fmla="*/ 154112 w 64"/>
                <a:gd name="T31" fmla="*/ 103717 h 54"/>
                <a:gd name="T32" fmla="*/ 143297 w 64"/>
                <a:gd name="T33" fmla="*/ 121003 h 54"/>
                <a:gd name="T34" fmla="*/ 124371 w 64"/>
                <a:gd name="T35" fmla="*/ 132527 h 54"/>
                <a:gd name="T36" fmla="*/ 100038 w 64"/>
                <a:gd name="T37" fmla="*/ 155575 h 54"/>
                <a:gd name="T38" fmla="*/ 67593 w 64"/>
                <a:gd name="T39" fmla="*/ 149813 h 54"/>
                <a:gd name="T40" fmla="*/ 62186 w 64"/>
                <a:gd name="T41" fmla="*/ 146932 h 54"/>
                <a:gd name="T42" fmla="*/ 24333 w 64"/>
                <a:gd name="T43" fmla="*/ 146932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4" h="54">
                  <a:moveTo>
                    <a:pt x="9" y="51"/>
                  </a:moveTo>
                  <a:cubicBezTo>
                    <a:pt x="0" y="40"/>
                    <a:pt x="0" y="40"/>
                    <a:pt x="0" y="40"/>
                  </a:cubicBezTo>
                  <a:cubicBezTo>
                    <a:pt x="0" y="16"/>
                    <a:pt x="0" y="16"/>
                    <a:pt x="0" y="16"/>
                  </a:cubicBezTo>
                  <a:cubicBezTo>
                    <a:pt x="16" y="16"/>
                    <a:pt x="16" y="16"/>
                    <a:pt x="16" y="16"/>
                  </a:cubicBezTo>
                  <a:cubicBezTo>
                    <a:pt x="15" y="0"/>
                    <a:pt x="15" y="0"/>
                    <a:pt x="15" y="0"/>
                  </a:cubicBezTo>
                  <a:cubicBezTo>
                    <a:pt x="17" y="0"/>
                    <a:pt x="26" y="2"/>
                    <a:pt x="26" y="2"/>
                  </a:cubicBezTo>
                  <a:cubicBezTo>
                    <a:pt x="26" y="2"/>
                    <a:pt x="32" y="7"/>
                    <a:pt x="34" y="7"/>
                  </a:cubicBezTo>
                  <a:cubicBezTo>
                    <a:pt x="37" y="7"/>
                    <a:pt x="40" y="2"/>
                    <a:pt x="40" y="4"/>
                  </a:cubicBezTo>
                  <a:cubicBezTo>
                    <a:pt x="42" y="6"/>
                    <a:pt x="47" y="11"/>
                    <a:pt x="50" y="13"/>
                  </a:cubicBezTo>
                  <a:cubicBezTo>
                    <a:pt x="52" y="16"/>
                    <a:pt x="55" y="19"/>
                    <a:pt x="58" y="19"/>
                  </a:cubicBezTo>
                  <a:cubicBezTo>
                    <a:pt x="64" y="30"/>
                    <a:pt x="64" y="30"/>
                    <a:pt x="64" y="30"/>
                  </a:cubicBezTo>
                  <a:cubicBezTo>
                    <a:pt x="64" y="30"/>
                    <a:pt x="64" y="30"/>
                    <a:pt x="64" y="31"/>
                  </a:cubicBezTo>
                  <a:cubicBezTo>
                    <a:pt x="64" y="31"/>
                    <a:pt x="64" y="34"/>
                    <a:pt x="64" y="36"/>
                  </a:cubicBezTo>
                  <a:cubicBezTo>
                    <a:pt x="64" y="36"/>
                    <a:pt x="64" y="36"/>
                    <a:pt x="64" y="36"/>
                  </a:cubicBezTo>
                  <a:cubicBezTo>
                    <a:pt x="61" y="36"/>
                    <a:pt x="61" y="36"/>
                    <a:pt x="61" y="36"/>
                  </a:cubicBezTo>
                  <a:cubicBezTo>
                    <a:pt x="61" y="36"/>
                    <a:pt x="59" y="36"/>
                    <a:pt x="57" y="36"/>
                  </a:cubicBezTo>
                  <a:cubicBezTo>
                    <a:pt x="55" y="36"/>
                    <a:pt x="53" y="42"/>
                    <a:pt x="53" y="42"/>
                  </a:cubicBezTo>
                  <a:cubicBezTo>
                    <a:pt x="53" y="42"/>
                    <a:pt x="49" y="45"/>
                    <a:pt x="46" y="46"/>
                  </a:cubicBezTo>
                  <a:cubicBezTo>
                    <a:pt x="44" y="47"/>
                    <a:pt x="39" y="54"/>
                    <a:pt x="37" y="54"/>
                  </a:cubicBezTo>
                  <a:cubicBezTo>
                    <a:pt x="36" y="54"/>
                    <a:pt x="29" y="53"/>
                    <a:pt x="25" y="52"/>
                  </a:cubicBezTo>
                  <a:cubicBezTo>
                    <a:pt x="24" y="52"/>
                    <a:pt x="23" y="52"/>
                    <a:pt x="23" y="51"/>
                  </a:cubicBezTo>
                  <a:cubicBezTo>
                    <a:pt x="22" y="50"/>
                    <a:pt x="15" y="51"/>
                    <a:pt x="9" y="5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 name="Freeform 307"/>
            <p:cNvSpPr>
              <a:spLocks/>
            </p:cNvSpPr>
            <p:nvPr>
              <p:custDataLst>
                <p:tags r:id="rId221"/>
              </p:custDataLst>
            </p:nvPr>
          </p:nvSpPr>
          <p:spPr bwMode="auto">
            <a:xfrm>
              <a:off x="2991" y="3005"/>
              <a:ext cx="126" cy="129"/>
            </a:xfrm>
            <a:custGeom>
              <a:avLst/>
              <a:gdLst>
                <a:gd name="T0" fmla="*/ 0 w 73"/>
                <a:gd name="T1" fmla="*/ 155054 h 70"/>
                <a:gd name="T2" fmla="*/ 0 w 73"/>
                <a:gd name="T3" fmla="*/ 87766 h 70"/>
                <a:gd name="T4" fmla="*/ 24661 w 73"/>
                <a:gd name="T5" fmla="*/ 87766 h 70"/>
                <a:gd name="T6" fmla="*/ 24661 w 73"/>
                <a:gd name="T7" fmla="*/ 11702 h 70"/>
                <a:gd name="T8" fmla="*/ 63022 w 73"/>
                <a:gd name="T9" fmla="*/ 2926 h 70"/>
                <a:gd name="T10" fmla="*/ 79462 w 73"/>
                <a:gd name="T11" fmla="*/ 8777 h 70"/>
                <a:gd name="T12" fmla="*/ 95902 w 73"/>
                <a:gd name="T13" fmla="*/ 5851 h 70"/>
                <a:gd name="T14" fmla="*/ 117823 w 73"/>
                <a:gd name="T15" fmla="*/ 0 h 70"/>
                <a:gd name="T16" fmla="*/ 117823 w 73"/>
                <a:gd name="T17" fmla="*/ 5851 h 70"/>
                <a:gd name="T18" fmla="*/ 142484 w 73"/>
                <a:gd name="T19" fmla="*/ 40958 h 70"/>
                <a:gd name="T20" fmla="*/ 156184 w 73"/>
                <a:gd name="T21" fmla="*/ 55585 h 70"/>
                <a:gd name="T22" fmla="*/ 164404 w 73"/>
                <a:gd name="T23" fmla="*/ 52660 h 70"/>
                <a:gd name="T24" fmla="*/ 167144 w 73"/>
                <a:gd name="T25" fmla="*/ 73139 h 70"/>
                <a:gd name="T26" fmla="*/ 194545 w 73"/>
                <a:gd name="T27" fmla="*/ 84841 h 70"/>
                <a:gd name="T28" fmla="*/ 200025 w 73"/>
                <a:gd name="T29" fmla="*/ 87766 h 70"/>
                <a:gd name="T30" fmla="*/ 183585 w 73"/>
                <a:gd name="T31" fmla="*/ 108245 h 70"/>
                <a:gd name="T32" fmla="*/ 164404 w 73"/>
                <a:gd name="T33" fmla="*/ 119947 h 70"/>
                <a:gd name="T34" fmla="*/ 147964 w 73"/>
                <a:gd name="T35" fmla="*/ 143352 h 70"/>
                <a:gd name="T36" fmla="*/ 126043 w 73"/>
                <a:gd name="T37" fmla="*/ 155054 h 70"/>
                <a:gd name="T38" fmla="*/ 115083 w 73"/>
                <a:gd name="T39" fmla="*/ 178458 h 70"/>
                <a:gd name="T40" fmla="*/ 68502 w 73"/>
                <a:gd name="T41" fmla="*/ 169681 h 70"/>
                <a:gd name="T42" fmla="*/ 52061 w 73"/>
                <a:gd name="T43" fmla="*/ 193086 h 70"/>
                <a:gd name="T44" fmla="*/ 21921 w 73"/>
                <a:gd name="T45" fmla="*/ 201862 h 70"/>
                <a:gd name="T46" fmla="*/ 13700 w 73"/>
                <a:gd name="T47" fmla="*/ 155054 h 70"/>
                <a:gd name="T48" fmla="*/ 0 w 73"/>
                <a:gd name="T49" fmla="*/ 155054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3" h="70">
                  <a:moveTo>
                    <a:pt x="0" y="53"/>
                  </a:moveTo>
                  <a:cubicBezTo>
                    <a:pt x="0" y="30"/>
                    <a:pt x="0" y="30"/>
                    <a:pt x="0" y="30"/>
                  </a:cubicBezTo>
                  <a:cubicBezTo>
                    <a:pt x="9" y="30"/>
                    <a:pt x="9" y="30"/>
                    <a:pt x="9" y="30"/>
                  </a:cubicBezTo>
                  <a:cubicBezTo>
                    <a:pt x="9" y="4"/>
                    <a:pt x="9" y="4"/>
                    <a:pt x="9" y="4"/>
                  </a:cubicBezTo>
                  <a:cubicBezTo>
                    <a:pt x="12" y="4"/>
                    <a:pt x="23" y="1"/>
                    <a:pt x="23" y="1"/>
                  </a:cubicBezTo>
                  <a:cubicBezTo>
                    <a:pt x="26" y="1"/>
                    <a:pt x="28" y="4"/>
                    <a:pt x="29" y="3"/>
                  </a:cubicBezTo>
                  <a:cubicBezTo>
                    <a:pt x="31" y="2"/>
                    <a:pt x="34" y="2"/>
                    <a:pt x="35" y="2"/>
                  </a:cubicBezTo>
                  <a:cubicBezTo>
                    <a:pt x="43" y="0"/>
                    <a:pt x="43" y="0"/>
                    <a:pt x="43" y="0"/>
                  </a:cubicBezTo>
                  <a:cubicBezTo>
                    <a:pt x="43" y="2"/>
                    <a:pt x="43" y="2"/>
                    <a:pt x="43" y="2"/>
                  </a:cubicBezTo>
                  <a:cubicBezTo>
                    <a:pt x="45" y="4"/>
                    <a:pt x="49" y="12"/>
                    <a:pt x="52" y="14"/>
                  </a:cubicBezTo>
                  <a:cubicBezTo>
                    <a:pt x="54" y="15"/>
                    <a:pt x="57" y="19"/>
                    <a:pt x="57" y="19"/>
                  </a:cubicBezTo>
                  <a:cubicBezTo>
                    <a:pt x="60" y="18"/>
                    <a:pt x="60" y="18"/>
                    <a:pt x="60" y="18"/>
                  </a:cubicBezTo>
                  <a:cubicBezTo>
                    <a:pt x="60" y="18"/>
                    <a:pt x="61" y="24"/>
                    <a:pt x="61" y="25"/>
                  </a:cubicBezTo>
                  <a:cubicBezTo>
                    <a:pt x="62" y="26"/>
                    <a:pt x="68" y="28"/>
                    <a:pt x="71" y="29"/>
                  </a:cubicBezTo>
                  <a:cubicBezTo>
                    <a:pt x="71" y="29"/>
                    <a:pt x="72" y="30"/>
                    <a:pt x="73" y="30"/>
                  </a:cubicBezTo>
                  <a:cubicBezTo>
                    <a:pt x="67" y="37"/>
                    <a:pt x="67" y="37"/>
                    <a:pt x="67" y="37"/>
                  </a:cubicBezTo>
                  <a:cubicBezTo>
                    <a:pt x="64" y="38"/>
                    <a:pt x="62" y="39"/>
                    <a:pt x="60" y="41"/>
                  </a:cubicBezTo>
                  <a:cubicBezTo>
                    <a:pt x="58" y="42"/>
                    <a:pt x="54" y="47"/>
                    <a:pt x="54" y="49"/>
                  </a:cubicBezTo>
                  <a:cubicBezTo>
                    <a:pt x="54" y="51"/>
                    <a:pt x="48" y="52"/>
                    <a:pt x="46" y="53"/>
                  </a:cubicBezTo>
                  <a:cubicBezTo>
                    <a:pt x="45" y="54"/>
                    <a:pt x="43" y="59"/>
                    <a:pt x="42" y="61"/>
                  </a:cubicBezTo>
                  <a:cubicBezTo>
                    <a:pt x="41" y="63"/>
                    <a:pt x="28" y="59"/>
                    <a:pt x="25" y="58"/>
                  </a:cubicBezTo>
                  <a:cubicBezTo>
                    <a:pt x="22" y="58"/>
                    <a:pt x="20" y="63"/>
                    <a:pt x="19" y="66"/>
                  </a:cubicBezTo>
                  <a:cubicBezTo>
                    <a:pt x="17" y="69"/>
                    <a:pt x="9" y="70"/>
                    <a:pt x="8" y="69"/>
                  </a:cubicBezTo>
                  <a:cubicBezTo>
                    <a:pt x="6" y="69"/>
                    <a:pt x="8" y="53"/>
                    <a:pt x="5" y="53"/>
                  </a:cubicBezTo>
                  <a:lnTo>
                    <a:pt x="0" y="53"/>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 name="Freeform 308"/>
            <p:cNvSpPr>
              <a:spLocks noEditPoints="1"/>
            </p:cNvSpPr>
            <p:nvPr>
              <p:custDataLst>
                <p:tags r:id="rId222"/>
              </p:custDataLst>
            </p:nvPr>
          </p:nvSpPr>
          <p:spPr bwMode="auto">
            <a:xfrm>
              <a:off x="2948" y="3060"/>
              <a:ext cx="215" cy="199"/>
            </a:xfrm>
            <a:custGeom>
              <a:avLst/>
              <a:gdLst>
                <a:gd name="T0" fmla="*/ 218440 w 125"/>
                <a:gd name="T1" fmla="*/ 179694 h 109"/>
                <a:gd name="T2" fmla="*/ 223901 w 125"/>
                <a:gd name="T3" fmla="*/ 191287 h 109"/>
                <a:gd name="T4" fmla="*/ 240284 w 125"/>
                <a:gd name="T5" fmla="*/ 208676 h 109"/>
                <a:gd name="T6" fmla="*/ 253937 w 125"/>
                <a:gd name="T7" fmla="*/ 194185 h 109"/>
                <a:gd name="T8" fmla="*/ 267589 w 125"/>
                <a:gd name="T9" fmla="*/ 173897 h 109"/>
                <a:gd name="T10" fmla="*/ 251206 w 125"/>
                <a:gd name="T11" fmla="*/ 156507 h 109"/>
                <a:gd name="T12" fmla="*/ 218440 w 125"/>
                <a:gd name="T13" fmla="*/ 179694 h 109"/>
                <a:gd name="T14" fmla="*/ 0 w 125"/>
                <a:gd name="T15" fmla="*/ 159406 h 109"/>
                <a:gd name="T16" fmla="*/ 13653 w 125"/>
                <a:gd name="T17" fmla="*/ 144914 h 109"/>
                <a:gd name="T18" fmla="*/ 27305 w 125"/>
                <a:gd name="T19" fmla="*/ 162304 h 109"/>
                <a:gd name="T20" fmla="*/ 68263 w 125"/>
                <a:gd name="T21" fmla="*/ 156507 h 109"/>
                <a:gd name="T22" fmla="*/ 68263 w 125"/>
                <a:gd name="T23" fmla="*/ 66661 h 109"/>
                <a:gd name="T24" fmla="*/ 81915 w 125"/>
                <a:gd name="T25" fmla="*/ 66661 h 109"/>
                <a:gd name="T26" fmla="*/ 90107 w 125"/>
                <a:gd name="T27" fmla="*/ 113033 h 109"/>
                <a:gd name="T28" fmla="*/ 120142 w 125"/>
                <a:gd name="T29" fmla="*/ 104338 h 109"/>
                <a:gd name="T30" fmla="*/ 136525 w 125"/>
                <a:gd name="T31" fmla="*/ 81152 h 109"/>
                <a:gd name="T32" fmla="*/ 182944 w 125"/>
                <a:gd name="T33" fmla="*/ 89847 h 109"/>
                <a:gd name="T34" fmla="*/ 193866 w 125"/>
                <a:gd name="T35" fmla="*/ 66661 h 109"/>
                <a:gd name="T36" fmla="*/ 215710 w 125"/>
                <a:gd name="T37" fmla="*/ 55067 h 109"/>
                <a:gd name="T38" fmla="*/ 232093 w 125"/>
                <a:gd name="T39" fmla="*/ 31881 h 109"/>
                <a:gd name="T40" fmla="*/ 251206 w 125"/>
                <a:gd name="T41" fmla="*/ 20288 h 109"/>
                <a:gd name="T42" fmla="*/ 267589 w 125"/>
                <a:gd name="T43" fmla="*/ 0 h 109"/>
                <a:gd name="T44" fmla="*/ 286703 w 125"/>
                <a:gd name="T45" fmla="*/ 5797 h 109"/>
                <a:gd name="T46" fmla="*/ 305816 w 125"/>
                <a:gd name="T47" fmla="*/ 8695 h 109"/>
                <a:gd name="T48" fmla="*/ 305816 w 125"/>
                <a:gd name="T49" fmla="*/ 8695 h 109"/>
                <a:gd name="T50" fmla="*/ 308547 w 125"/>
                <a:gd name="T51" fmla="*/ 14491 h 109"/>
                <a:gd name="T52" fmla="*/ 316738 w 125"/>
                <a:gd name="T53" fmla="*/ 46373 h 109"/>
                <a:gd name="T54" fmla="*/ 319469 w 125"/>
                <a:gd name="T55" fmla="*/ 86949 h 109"/>
                <a:gd name="T56" fmla="*/ 319469 w 125"/>
                <a:gd name="T57" fmla="*/ 92745 h 109"/>
                <a:gd name="T58" fmla="*/ 308547 w 125"/>
                <a:gd name="T59" fmla="*/ 86949 h 109"/>
                <a:gd name="T60" fmla="*/ 294894 w 125"/>
                <a:gd name="T61" fmla="*/ 113033 h 109"/>
                <a:gd name="T62" fmla="*/ 297625 w 125"/>
                <a:gd name="T63" fmla="*/ 127525 h 109"/>
                <a:gd name="T64" fmla="*/ 319469 w 125"/>
                <a:gd name="T65" fmla="*/ 113033 h 109"/>
                <a:gd name="T66" fmla="*/ 338582 w 125"/>
                <a:gd name="T67" fmla="*/ 115931 h 109"/>
                <a:gd name="T68" fmla="*/ 338582 w 125"/>
                <a:gd name="T69" fmla="*/ 124626 h 109"/>
                <a:gd name="T70" fmla="*/ 322199 w 125"/>
                <a:gd name="T71" fmla="*/ 165202 h 109"/>
                <a:gd name="T72" fmla="*/ 292164 w 125"/>
                <a:gd name="T73" fmla="*/ 205778 h 109"/>
                <a:gd name="T74" fmla="*/ 226632 w 125"/>
                <a:gd name="T75" fmla="*/ 272439 h 109"/>
                <a:gd name="T76" fmla="*/ 185674 w 125"/>
                <a:gd name="T77" fmla="*/ 289828 h 109"/>
                <a:gd name="T78" fmla="*/ 136525 w 125"/>
                <a:gd name="T79" fmla="*/ 289828 h 109"/>
                <a:gd name="T80" fmla="*/ 106490 w 125"/>
                <a:gd name="T81" fmla="*/ 298523 h 109"/>
                <a:gd name="T82" fmla="*/ 65532 w 125"/>
                <a:gd name="T83" fmla="*/ 313015 h 109"/>
                <a:gd name="T84" fmla="*/ 46419 w 125"/>
                <a:gd name="T85" fmla="*/ 295625 h 109"/>
                <a:gd name="T86" fmla="*/ 35497 w 125"/>
                <a:gd name="T87" fmla="*/ 284032 h 109"/>
                <a:gd name="T88" fmla="*/ 27305 w 125"/>
                <a:gd name="T89" fmla="*/ 263744 h 109"/>
                <a:gd name="T90" fmla="*/ 38227 w 125"/>
                <a:gd name="T91" fmla="*/ 240558 h 109"/>
                <a:gd name="T92" fmla="*/ 30036 w 125"/>
                <a:gd name="T93" fmla="*/ 223168 h 109"/>
                <a:gd name="T94" fmla="*/ 10922 w 125"/>
                <a:gd name="T95" fmla="*/ 188388 h 109"/>
                <a:gd name="T96" fmla="*/ 0 w 125"/>
                <a:gd name="T97" fmla="*/ 159406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25" h="109">
                  <a:moveTo>
                    <a:pt x="80" y="62"/>
                  </a:moveTo>
                  <a:cubicBezTo>
                    <a:pt x="79" y="64"/>
                    <a:pt x="81" y="65"/>
                    <a:pt x="82" y="66"/>
                  </a:cubicBezTo>
                  <a:cubicBezTo>
                    <a:pt x="82" y="66"/>
                    <a:pt x="87" y="73"/>
                    <a:pt x="88" y="72"/>
                  </a:cubicBezTo>
                  <a:cubicBezTo>
                    <a:pt x="90" y="70"/>
                    <a:pt x="92" y="67"/>
                    <a:pt x="93" y="67"/>
                  </a:cubicBezTo>
                  <a:cubicBezTo>
                    <a:pt x="94" y="67"/>
                    <a:pt x="98" y="62"/>
                    <a:pt x="98" y="60"/>
                  </a:cubicBezTo>
                  <a:cubicBezTo>
                    <a:pt x="98" y="58"/>
                    <a:pt x="95" y="54"/>
                    <a:pt x="92" y="54"/>
                  </a:cubicBezTo>
                  <a:cubicBezTo>
                    <a:pt x="88" y="53"/>
                    <a:pt x="81" y="61"/>
                    <a:pt x="80" y="62"/>
                  </a:cubicBezTo>
                  <a:close/>
                  <a:moveTo>
                    <a:pt x="0" y="55"/>
                  </a:moveTo>
                  <a:cubicBezTo>
                    <a:pt x="1" y="53"/>
                    <a:pt x="3" y="50"/>
                    <a:pt x="5" y="50"/>
                  </a:cubicBezTo>
                  <a:cubicBezTo>
                    <a:pt x="7" y="50"/>
                    <a:pt x="8" y="56"/>
                    <a:pt x="10" y="56"/>
                  </a:cubicBezTo>
                  <a:cubicBezTo>
                    <a:pt x="13" y="56"/>
                    <a:pt x="25" y="54"/>
                    <a:pt x="25" y="54"/>
                  </a:cubicBezTo>
                  <a:cubicBezTo>
                    <a:pt x="25" y="23"/>
                    <a:pt x="25" y="23"/>
                    <a:pt x="25" y="23"/>
                  </a:cubicBezTo>
                  <a:cubicBezTo>
                    <a:pt x="30" y="23"/>
                    <a:pt x="30" y="23"/>
                    <a:pt x="30" y="23"/>
                  </a:cubicBezTo>
                  <a:cubicBezTo>
                    <a:pt x="33" y="23"/>
                    <a:pt x="31" y="39"/>
                    <a:pt x="33" y="39"/>
                  </a:cubicBezTo>
                  <a:cubicBezTo>
                    <a:pt x="34" y="40"/>
                    <a:pt x="42" y="39"/>
                    <a:pt x="44" y="36"/>
                  </a:cubicBezTo>
                  <a:cubicBezTo>
                    <a:pt x="45" y="33"/>
                    <a:pt x="47" y="28"/>
                    <a:pt x="50" y="28"/>
                  </a:cubicBezTo>
                  <a:cubicBezTo>
                    <a:pt x="53" y="29"/>
                    <a:pt x="66" y="33"/>
                    <a:pt x="67" y="31"/>
                  </a:cubicBezTo>
                  <a:cubicBezTo>
                    <a:pt x="68" y="29"/>
                    <a:pt x="70" y="24"/>
                    <a:pt x="71" y="23"/>
                  </a:cubicBezTo>
                  <a:cubicBezTo>
                    <a:pt x="73" y="22"/>
                    <a:pt x="79" y="21"/>
                    <a:pt x="79" y="19"/>
                  </a:cubicBezTo>
                  <a:cubicBezTo>
                    <a:pt x="79" y="17"/>
                    <a:pt x="83" y="12"/>
                    <a:pt x="85" y="11"/>
                  </a:cubicBezTo>
                  <a:cubicBezTo>
                    <a:pt x="87" y="9"/>
                    <a:pt x="89" y="8"/>
                    <a:pt x="92" y="7"/>
                  </a:cubicBezTo>
                  <a:cubicBezTo>
                    <a:pt x="98" y="0"/>
                    <a:pt x="98" y="0"/>
                    <a:pt x="98" y="0"/>
                  </a:cubicBezTo>
                  <a:cubicBezTo>
                    <a:pt x="100" y="1"/>
                    <a:pt x="103" y="2"/>
                    <a:pt x="105" y="2"/>
                  </a:cubicBezTo>
                  <a:cubicBezTo>
                    <a:pt x="107" y="2"/>
                    <a:pt x="111" y="2"/>
                    <a:pt x="112" y="3"/>
                  </a:cubicBezTo>
                  <a:cubicBezTo>
                    <a:pt x="112" y="3"/>
                    <a:pt x="112" y="3"/>
                    <a:pt x="112" y="3"/>
                  </a:cubicBezTo>
                  <a:cubicBezTo>
                    <a:pt x="112" y="4"/>
                    <a:pt x="113" y="4"/>
                    <a:pt x="113" y="5"/>
                  </a:cubicBezTo>
                  <a:cubicBezTo>
                    <a:pt x="113" y="7"/>
                    <a:pt x="114" y="14"/>
                    <a:pt x="116" y="16"/>
                  </a:cubicBezTo>
                  <a:cubicBezTo>
                    <a:pt x="118" y="19"/>
                    <a:pt x="117" y="28"/>
                    <a:pt x="117" y="30"/>
                  </a:cubicBezTo>
                  <a:cubicBezTo>
                    <a:pt x="117" y="30"/>
                    <a:pt x="117" y="31"/>
                    <a:pt x="117" y="32"/>
                  </a:cubicBezTo>
                  <a:cubicBezTo>
                    <a:pt x="117" y="32"/>
                    <a:pt x="116" y="29"/>
                    <a:pt x="113" y="30"/>
                  </a:cubicBezTo>
                  <a:cubicBezTo>
                    <a:pt x="110" y="31"/>
                    <a:pt x="108" y="36"/>
                    <a:pt x="108" y="39"/>
                  </a:cubicBezTo>
                  <a:cubicBezTo>
                    <a:pt x="108" y="41"/>
                    <a:pt x="106" y="43"/>
                    <a:pt x="109" y="44"/>
                  </a:cubicBezTo>
                  <a:cubicBezTo>
                    <a:pt x="119" y="46"/>
                    <a:pt x="117" y="39"/>
                    <a:pt x="117" y="39"/>
                  </a:cubicBezTo>
                  <a:cubicBezTo>
                    <a:pt x="124" y="40"/>
                    <a:pt x="124" y="40"/>
                    <a:pt x="124" y="40"/>
                  </a:cubicBezTo>
                  <a:cubicBezTo>
                    <a:pt x="125" y="41"/>
                    <a:pt x="124" y="42"/>
                    <a:pt x="124" y="43"/>
                  </a:cubicBezTo>
                  <a:cubicBezTo>
                    <a:pt x="123" y="46"/>
                    <a:pt x="120" y="54"/>
                    <a:pt x="118" y="57"/>
                  </a:cubicBezTo>
                  <a:cubicBezTo>
                    <a:pt x="115" y="59"/>
                    <a:pt x="109" y="69"/>
                    <a:pt x="107" y="71"/>
                  </a:cubicBezTo>
                  <a:cubicBezTo>
                    <a:pt x="105" y="73"/>
                    <a:pt x="87" y="92"/>
                    <a:pt x="83" y="94"/>
                  </a:cubicBezTo>
                  <a:cubicBezTo>
                    <a:pt x="79" y="96"/>
                    <a:pt x="75" y="100"/>
                    <a:pt x="68" y="100"/>
                  </a:cubicBezTo>
                  <a:cubicBezTo>
                    <a:pt x="50" y="100"/>
                    <a:pt x="50" y="100"/>
                    <a:pt x="50" y="100"/>
                  </a:cubicBezTo>
                  <a:cubicBezTo>
                    <a:pt x="45" y="100"/>
                    <a:pt x="42" y="102"/>
                    <a:pt x="39" y="103"/>
                  </a:cubicBezTo>
                  <a:cubicBezTo>
                    <a:pt x="36" y="103"/>
                    <a:pt x="27" y="109"/>
                    <a:pt x="24" y="108"/>
                  </a:cubicBezTo>
                  <a:cubicBezTo>
                    <a:pt x="21" y="106"/>
                    <a:pt x="20" y="102"/>
                    <a:pt x="17" y="102"/>
                  </a:cubicBezTo>
                  <a:cubicBezTo>
                    <a:pt x="14" y="102"/>
                    <a:pt x="13" y="101"/>
                    <a:pt x="13" y="98"/>
                  </a:cubicBezTo>
                  <a:cubicBezTo>
                    <a:pt x="12" y="95"/>
                    <a:pt x="10" y="92"/>
                    <a:pt x="10" y="91"/>
                  </a:cubicBezTo>
                  <a:cubicBezTo>
                    <a:pt x="10" y="89"/>
                    <a:pt x="14" y="85"/>
                    <a:pt x="14" y="83"/>
                  </a:cubicBezTo>
                  <a:cubicBezTo>
                    <a:pt x="14" y="82"/>
                    <a:pt x="13" y="79"/>
                    <a:pt x="11" y="77"/>
                  </a:cubicBezTo>
                  <a:cubicBezTo>
                    <a:pt x="8" y="74"/>
                    <a:pt x="6" y="70"/>
                    <a:pt x="4" y="65"/>
                  </a:cubicBezTo>
                  <a:cubicBezTo>
                    <a:pt x="3" y="61"/>
                    <a:pt x="2" y="58"/>
                    <a:pt x="0" y="55"/>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 name="Freeform 309"/>
            <p:cNvSpPr>
              <a:spLocks/>
            </p:cNvSpPr>
            <p:nvPr>
              <p:custDataLst>
                <p:tags r:id="rId223"/>
              </p:custDataLst>
            </p:nvPr>
          </p:nvSpPr>
          <p:spPr bwMode="auto">
            <a:xfrm>
              <a:off x="2923" y="2590"/>
              <a:ext cx="167" cy="121"/>
            </a:xfrm>
            <a:custGeom>
              <a:avLst/>
              <a:gdLst>
                <a:gd name="T0" fmla="*/ 30064 w 97"/>
                <a:gd name="T1" fmla="*/ 183357 h 66"/>
                <a:gd name="T2" fmla="*/ 0 w 97"/>
                <a:gd name="T3" fmla="*/ 136790 h 66"/>
                <a:gd name="T4" fmla="*/ 8199 w 97"/>
                <a:gd name="T5" fmla="*/ 96044 h 66"/>
                <a:gd name="T6" fmla="*/ 16399 w 97"/>
                <a:gd name="T7" fmla="*/ 81492 h 66"/>
                <a:gd name="T8" fmla="*/ 35531 w 97"/>
                <a:gd name="T9" fmla="*/ 81492 h 66"/>
                <a:gd name="T10" fmla="*/ 84727 w 97"/>
                <a:gd name="T11" fmla="*/ 66940 h 66"/>
                <a:gd name="T12" fmla="*/ 98392 w 97"/>
                <a:gd name="T13" fmla="*/ 46567 h 66"/>
                <a:gd name="T14" fmla="*/ 125724 w 97"/>
                <a:gd name="T15" fmla="*/ 40746 h 66"/>
                <a:gd name="T16" fmla="*/ 147589 w 97"/>
                <a:gd name="T17" fmla="*/ 8731 h 66"/>
                <a:gd name="T18" fmla="*/ 172187 w 97"/>
                <a:gd name="T19" fmla="*/ 5821 h 66"/>
                <a:gd name="T20" fmla="*/ 188586 w 97"/>
                <a:gd name="T21" fmla="*/ 32015 h 66"/>
                <a:gd name="T22" fmla="*/ 185852 w 97"/>
                <a:gd name="T23" fmla="*/ 55298 h 66"/>
                <a:gd name="T24" fmla="*/ 210451 w 97"/>
                <a:gd name="T25" fmla="*/ 66940 h 66"/>
                <a:gd name="T26" fmla="*/ 224116 w 97"/>
                <a:gd name="T27" fmla="*/ 84402 h 66"/>
                <a:gd name="T28" fmla="*/ 245981 w 97"/>
                <a:gd name="T29" fmla="*/ 101865 h 66"/>
                <a:gd name="T30" fmla="*/ 265113 w 97"/>
                <a:gd name="T31" fmla="*/ 119327 h 66"/>
                <a:gd name="T32" fmla="*/ 262380 w 97"/>
                <a:gd name="T33" fmla="*/ 133880 h 66"/>
                <a:gd name="T34" fmla="*/ 251447 w 97"/>
                <a:gd name="T35" fmla="*/ 130969 h 66"/>
                <a:gd name="T36" fmla="*/ 215917 w 97"/>
                <a:gd name="T37" fmla="*/ 136790 h 66"/>
                <a:gd name="T38" fmla="*/ 174920 w 97"/>
                <a:gd name="T39" fmla="*/ 142611 h 66"/>
                <a:gd name="T40" fmla="*/ 163987 w 97"/>
                <a:gd name="T41" fmla="*/ 157163 h 66"/>
                <a:gd name="T42" fmla="*/ 125724 w 97"/>
                <a:gd name="T43" fmla="*/ 151342 h 66"/>
                <a:gd name="T44" fmla="*/ 98392 w 97"/>
                <a:gd name="T45" fmla="*/ 136790 h 66"/>
                <a:gd name="T46" fmla="*/ 84727 w 97"/>
                <a:gd name="T47" fmla="*/ 157163 h 66"/>
                <a:gd name="T48" fmla="*/ 84727 w 97"/>
                <a:gd name="T49" fmla="*/ 168805 h 66"/>
                <a:gd name="T50" fmla="*/ 46463 w 97"/>
                <a:gd name="T51" fmla="*/ 168805 h 66"/>
                <a:gd name="T52" fmla="*/ 43730 w 97"/>
                <a:gd name="T53" fmla="*/ 186267 h 66"/>
                <a:gd name="T54" fmla="*/ 32797 w 97"/>
                <a:gd name="T55" fmla="*/ 192088 h 66"/>
                <a:gd name="T56" fmla="*/ 30064 w 97"/>
                <a:gd name="T57" fmla="*/ 183357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7" h="66">
                  <a:moveTo>
                    <a:pt x="11" y="63"/>
                  </a:moveTo>
                  <a:cubicBezTo>
                    <a:pt x="9" y="61"/>
                    <a:pt x="1" y="51"/>
                    <a:pt x="0" y="47"/>
                  </a:cubicBezTo>
                  <a:cubicBezTo>
                    <a:pt x="0" y="44"/>
                    <a:pt x="1" y="36"/>
                    <a:pt x="3" y="33"/>
                  </a:cubicBezTo>
                  <a:cubicBezTo>
                    <a:pt x="4" y="31"/>
                    <a:pt x="6" y="30"/>
                    <a:pt x="6" y="28"/>
                  </a:cubicBezTo>
                  <a:cubicBezTo>
                    <a:pt x="6" y="28"/>
                    <a:pt x="10" y="29"/>
                    <a:pt x="13" y="28"/>
                  </a:cubicBezTo>
                  <a:cubicBezTo>
                    <a:pt x="15" y="27"/>
                    <a:pt x="28" y="24"/>
                    <a:pt x="31" y="23"/>
                  </a:cubicBezTo>
                  <a:cubicBezTo>
                    <a:pt x="33" y="23"/>
                    <a:pt x="35" y="17"/>
                    <a:pt x="36" y="16"/>
                  </a:cubicBezTo>
                  <a:cubicBezTo>
                    <a:pt x="38" y="16"/>
                    <a:pt x="44" y="16"/>
                    <a:pt x="46" y="14"/>
                  </a:cubicBezTo>
                  <a:cubicBezTo>
                    <a:pt x="48" y="12"/>
                    <a:pt x="53" y="3"/>
                    <a:pt x="54" y="3"/>
                  </a:cubicBezTo>
                  <a:cubicBezTo>
                    <a:pt x="56" y="2"/>
                    <a:pt x="61" y="0"/>
                    <a:pt x="63" y="2"/>
                  </a:cubicBezTo>
                  <a:cubicBezTo>
                    <a:pt x="64" y="4"/>
                    <a:pt x="69" y="8"/>
                    <a:pt x="69" y="11"/>
                  </a:cubicBezTo>
                  <a:cubicBezTo>
                    <a:pt x="69" y="14"/>
                    <a:pt x="68" y="19"/>
                    <a:pt x="68" y="19"/>
                  </a:cubicBezTo>
                  <a:cubicBezTo>
                    <a:pt x="68" y="19"/>
                    <a:pt x="77" y="21"/>
                    <a:pt x="77" y="23"/>
                  </a:cubicBezTo>
                  <a:cubicBezTo>
                    <a:pt x="78" y="25"/>
                    <a:pt x="80" y="28"/>
                    <a:pt x="82" y="29"/>
                  </a:cubicBezTo>
                  <a:cubicBezTo>
                    <a:pt x="84" y="30"/>
                    <a:pt x="89" y="34"/>
                    <a:pt x="90" y="35"/>
                  </a:cubicBezTo>
                  <a:cubicBezTo>
                    <a:pt x="91" y="36"/>
                    <a:pt x="97" y="41"/>
                    <a:pt x="97" y="41"/>
                  </a:cubicBezTo>
                  <a:cubicBezTo>
                    <a:pt x="96" y="46"/>
                    <a:pt x="96" y="46"/>
                    <a:pt x="96" y="46"/>
                  </a:cubicBezTo>
                  <a:cubicBezTo>
                    <a:pt x="95" y="46"/>
                    <a:pt x="93" y="45"/>
                    <a:pt x="92" y="45"/>
                  </a:cubicBezTo>
                  <a:cubicBezTo>
                    <a:pt x="89" y="45"/>
                    <a:pt x="81" y="46"/>
                    <a:pt x="79" y="47"/>
                  </a:cubicBezTo>
                  <a:cubicBezTo>
                    <a:pt x="77" y="48"/>
                    <a:pt x="67" y="49"/>
                    <a:pt x="64" y="49"/>
                  </a:cubicBezTo>
                  <a:cubicBezTo>
                    <a:pt x="62" y="49"/>
                    <a:pt x="62" y="53"/>
                    <a:pt x="60" y="54"/>
                  </a:cubicBezTo>
                  <a:cubicBezTo>
                    <a:pt x="57" y="55"/>
                    <a:pt x="49" y="52"/>
                    <a:pt x="46" y="52"/>
                  </a:cubicBezTo>
                  <a:cubicBezTo>
                    <a:pt x="43" y="52"/>
                    <a:pt x="39" y="47"/>
                    <a:pt x="36" y="47"/>
                  </a:cubicBezTo>
                  <a:cubicBezTo>
                    <a:pt x="33" y="47"/>
                    <a:pt x="32" y="53"/>
                    <a:pt x="31" y="54"/>
                  </a:cubicBezTo>
                  <a:cubicBezTo>
                    <a:pt x="31" y="54"/>
                    <a:pt x="31" y="56"/>
                    <a:pt x="31" y="58"/>
                  </a:cubicBezTo>
                  <a:cubicBezTo>
                    <a:pt x="17" y="58"/>
                    <a:pt x="17" y="58"/>
                    <a:pt x="17" y="58"/>
                  </a:cubicBezTo>
                  <a:cubicBezTo>
                    <a:pt x="16" y="64"/>
                    <a:pt x="16" y="64"/>
                    <a:pt x="16" y="64"/>
                  </a:cubicBezTo>
                  <a:cubicBezTo>
                    <a:pt x="12" y="66"/>
                    <a:pt x="12" y="66"/>
                    <a:pt x="12" y="66"/>
                  </a:cubicBezTo>
                  <a:cubicBezTo>
                    <a:pt x="12" y="65"/>
                    <a:pt x="11" y="63"/>
                    <a:pt x="11" y="6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 name="Freeform 310"/>
            <p:cNvSpPr>
              <a:spLocks/>
            </p:cNvSpPr>
            <p:nvPr>
              <p:custDataLst>
                <p:tags r:id="rId224"/>
              </p:custDataLst>
            </p:nvPr>
          </p:nvSpPr>
          <p:spPr bwMode="auto">
            <a:xfrm>
              <a:off x="2908" y="2412"/>
              <a:ext cx="137" cy="232"/>
            </a:xfrm>
            <a:custGeom>
              <a:avLst/>
              <a:gdLst>
                <a:gd name="T0" fmla="*/ 38060 w 80"/>
                <a:gd name="T1" fmla="*/ 350762 h 126"/>
                <a:gd name="T2" fmla="*/ 10874 w 80"/>
                <a:gd name="T3" fmla="*/ 315686 h 126"/>
                <a:gd name="T4" fmla="*/ 19030 w 80"/>
                <a:gd name="T5" fmla="*/ 309840 h 126"/>
                <a:gd name="T6" fmla="*/ 46216 w 80"/>
                <a:gd name="T7" fmla="*/ 309840 h 126"/>
                <a:gd name="T8" fmla="*/ 38060 w 80"/>
                <a:gd name="T9" fmla="*/ 263071 h 126"/>
                <a:gd name="T10" fmla="*/ 27186 w 80"/>
                <a:gd name="T11" fmla="*/ 245533 h 126"/>
                <a:gd name="T12" fmla="*/ 19030 w 80"/>
                <a:gd name="T13" fmla="*/ 236764 h 126"/>
                <a:gd name="T14" fmla="*/ 8156 w 80"/>
                <a:gd name="T15" fmla="*/ 239687 h 126"/>
                <a:gd name="T16" fmla="*/ 0 w 80"/>
                <a:gd name="T17" fmla="*/ 225072 h 126"/>
                <a:gd name="T18" fmla="*/ 2719 w 80"/>
                <a:gd name="T19" fmla="*/ 207534 h 126"/>
                <a:gd name="T20" fmla="*/ 40779 w 80"/>
                <a:gd name="T21" fmla="*/ 151997 h 126"/>
                <a:gd name="T22" fmla="*/ 46216 w 80"/>
                <a:gd name="T23" fmla="*/ 87690 h 126"/>
                <a:gd name="T24" fmla="*/ 54372 w 80"/>
                <a:gd name="T25" fmla="*/ 73075 h 126"/>
                <a:gd name="T26" fmla="*/ 35342 w 80"/>
                <a:gd name="T27" fmla="*/ 46768 h 126"/>
                <a:gd name="T28" fmla="*/ 32623 w 80"/>
                <a:gd name="T29" fmla="*/ 20461 h 126"/>
                <a:gd name="T30" fmla="*/ 32623 w 80"/>
                <a:gd name="T31" fmla="*/ 8769 h 126"/>
                <a:gd name="T32" fmla="*/ 51653 w 80"/>
                <a:gd name="T33" fmla="*/ 0 h 126"/>
                <a:gd name="T34" fmla="*/ 217488 w 80"/>
                <a:gd name="T35" fmla="*/ 90613 h 126"/>
                <a:gd name="T36" fmla="*/ 217488 w 80"/>
                <a:gd name="T37" fmla="*/ 178304 h 126"/>
                <a:gd name="T38" fmla="*/ 195739 w 80"/>
                <a:gd name="T39" fmla="*/ 184150 h 126"/>
                <a:gd name="T40" fmla="*/ 184865 w 80"/>
                <a:gd name="T41" fmla="*/ 219226 h 126"/>
                <a:gd name="T42" fmla="*/ 173990 w 80"/>
                <a:gd name="T43" fmla="*/ 242610 h 126"/>
                <a:gd name="T44" fmla="*/ 184865 w 80"/>
                <a:gd name="T45" fmla="*/ 251379 h 126"/>
                <a:gd name="T46" fmla="*/ 198458 w 80"/>
                <a:gd name="T47" fmla="*/ 268917 h 126"/>
                <a:gd name="T48" fmla="*/ 195739 w 80"/>
                <a:gd name="T49" fmla="*/ 289379 h 126"/>
                <a:gd name="T50" fmla="*/ 171272 w 80"/>
                <a:gd name="T51" fmla="*/ 292302 h 126"/>
                <a:gd name="T52" fmla="*/ 149523 w 80"/>
                <a:gd name="T53" fmla="*/ 324455 h 126"/>
                <a:gd name="T54" fmla="*/ 122337 w 80"/>
                <a:gd name="T55" fmla="*/ 330301 h 126"/>
                <a:gd name="T56" fmla="*/ 108744 w 80"/>
                <a:gd name="T57" fmla="*/ 350762 h 126"/>
                <a:gd name="T58" fmla="*/ 59809 w 80"/>
                <a:gd name="T59" fmla="*/ 365377 h 126"/>
                <a:gd name="T60" fmla="*/ 40779 w 80"/>
                <a:gd name="T61" fmla="*/ 365377 h 126"/>
                <a:gd name="T62" fmla="*/ 38060 w 80"/>
                <a:gd name="T63" fmla="*/ 350762 h 1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 h="126">
                  <a:moveTo>
                    <a:pt x="14" y="120"/>
                  </a:moveTo>
                  <a:cubicBezTo>
                    <a:pt x="12" y="116"/>
                    <a:pt x="4" y="108"/>
                    <a:pt x="4" y="108"/>
                  </a:cubicBezTo>
                  <a:cubicBezTo>
                    <a:pt x="7" y="106"/>
                    <a:pt x="7" y="106"/>
                    <a:pt x="7" y="106"/>
                  </a:cubicBezTo>
                  <a:cubicBezTo>
                    <a:pt x="7" y="106"/>
                    <a:pt x="16" y="108"/>
                    <a:pt x="17" y="106"/>
                  </a:cubicBezTo>
                  <a:cubicBezTo>
                    <a:pt x="17" y="104"/>
                    <a:pt x="13" y="95"/>
                    <a:pt x="14" y="90"/>
                  </a:cubicBezTo>
                  <a:cubicBezTo>
                    <a:pt x="15" y="86"/>
                    <a:pt x="12" y="87"/>
                    <a:pt x="10" y="84"/>
                  </a:cubicBezTo>
                  <a:cubicBezTo>
                    <a:pt x="9" y="82"/>
                    <a:pt x="8" y="81"/>
                    <a:pt x="7" y="81"/>
                  </a:cubicBezTo>
                  <a:cubicBezTo>
                    <a:pt x="6" y="81"/>
                    <a:pt x="3" y="82"/>
                    <a:pt x="3" y="82"/>
                  </a:cubicBezTo>
                  <a:cubicBezTo>
                    <a:pt x="0" y="77"/>
                    <a:pt x="0" y="77"/>
                    <a:pt x="0" y="77"/>
                  </a:cubicBezTo>
                  <a:cubicBezTo>
                    <a:pt x="1" y="76"/>
                    <a:pt x="0" y="72"/>
                    <a:pt x="1" y="71"/>
                  </a:cubicBezTo>
                  <a:cubicBezTo>
                    <a:pt x="1" y="70"/>
                    <a:pt x="15" y="53"/>
                    <a:pt x="15" y="52"/>
                  </a:cubicBezTo>
                  <a:cubicBezTo>
                    <a:pt x="16" y="51"/>
                    <a:pt x="16" y="32"/>
                    <a:pt x="17" y="30"/>
                  </a:cubicBezTo>
                  <a:cubicBezTo>
                    <a:pt x="18" y="28"/>
                    <a:pt x="20" y="25"/>
                    <a:pt x="20" y="25"/>
                  </a:cubicBezTo>
                  <a:cubicBezTo>
                    <a:pt x="13" y="16"/>
                    <a:pt x="13" y="16"/>
                    <a:pt x="13" y="16"/>
                  </a:cubicBezTo>
                  <a:cubicBezTo>
                    <a:pt x="12" y="7"/>
                    <a:pt x="12" y="7"/>
                    <a:pt x="12" y="7"/>
                  </a:cubicBezTo>
                  <a:cubicBezTo>
                    <a:pt x="12" y="3"/>
                    <a:pt x="12" y="3"/>
                    <a:pt x="12" y="3"/>
                  </a:cubicBezTo>
                  <a:cubicBezTo>
                    <a:pt x="19" y="0"/>
                    <a:pt x="19" y="0"/>
                    <a:pt x="19" y="0"/>
                  </a:cubicBezTo>
                  <a:cubicBezTo>
                    <a:pt x="80" y="31"/>
                    <a:pt x="80" y="31"/>
                    <a:pt x="80" y="31"/>
                  </a:cubicBezTo>
                  <a:cubicBezTo>
                    <a:pt x="80" y="61"/>
                    <a:pt x="80" y="61"/>
                    <a:pt x="80" y="61"/>
                  </a:cubicBezTo>
                  <a:cubicBezTo>
                    <a:pt x="80" y="61"/>
                    <a:pt x="73" y="62"/>
                    <a:pt x="72" y="63"/>
                  </a:cubicBezTo>
                  <a:cubicBezTo>
                    <a:pt x="70" y="65"/>
                    <a:pt x="69" y="72"/>
                    <a:pt x="68" y="75"/>
                  </a:cubicBezTo>
                  <a:cubicBezTo>
                    <a:pt x="68" y="78"/>
                    <a:pt x="65" y="80"/>
                    <a:pt x="64" y="83"/>
                  </a:cubicBezTo>
                  <a:cubicBezTo>
                    <a:pt x="64" y="87"/>
                    <a:pt x="68" y="85"/>
                    <a:pt x="68" y="86"/>
                  </a:cubicBezTo>
                  <a:cubicBezTo>
                    <a:pt x="68" y="88"/>
                    <a:pt x="71" y="90"/>
                    <a:pt x="73" y="92"/>
                  </a:cubicBezTo>
                  <a:cubicBezTo>
                    <a:pt x="72" y="99"/>
                    <a:pt x="72" y="99"/>
                    <a:pt x="72" y="99"/>
                  </a:cubicBezTo>
                  <a:cubicBezTo>
                    <a:pt x="70" y="97"/>
                    <a:pt x="65" y="99"/>
                    <a:pt x="63" y="100"/>
                  </a:cubicBezTo>
                  <a:cubicBezTo>
                    <a:pt x="62" y="100"/>
                    <a:pt x="57" y="109"/>
                    <a:pt x="55" y="111"/>
                  </a:cubicBezTo>
                  <a:cubicBezTo>
                    <a:pt x="53" y="113"/>
                    <a:pt x="47" y="113"/>
                    <a:pt x="45" y="113"/>
                  </a:cubicBezTo>
                  <a:cubicBezTo>
                    <a:pt x="44" y="114"/>
                    <a:pt x="42" y="120"/>
                    <a:pt x="40" y="120"/>
                  </a:cubicBezTo>
                  <a:cubicBezTo>
                    <a:pt x="37" y="121"/>
                    <a:pt x="24" y="124"/>
                    <a:pt x="22" y="125"/>
                  </a:cubicBezTo>
                  <a:cubicBezTo>
                    <a:pt x="19" y="126"/>
                    <a:pt x="15" y="125"/>
                    <a:pt x="15" y="125"/>
                  </a:cubicBezTo>
                  <a:cubicBezTo>
                    <a:pt x="16" y="124"/>
                    <a:pt x="16" y="122"/>
                    <a:pt x="14" y="12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 name="Freeform 311"/>
            <p:cNvSpPr>
              <a:spLocks/>
            </p:cNvSpPr>
            <p:nvPr>
              <p:custDataLst>
                <p:tags r:id="rId225"/>
              </p:custDataLst>
            </p:nvPr>
          </p:nvSpPr>
          <p:spPr bwMode="auto">
            <a:xfrm>
              <a:off x="2888" y="2673"/>
              <a:ext cx="256" cy="265"/>
            </a:xfrm>
            <a:custGeom>
              <a:avLst/>
              <a:gdLst>
                <a:gd name="T0" fmla="*/ 0 w 149"/>
                <a:gd name="T1" fmla="*/ 227873 h 144"/>
                <a:gd name="T2" fmla="*/ 19093 w 149"/>
                <a:gd name="T3" fmla="*/ 219108 h 144"/>
                <a:gd name="T4" fmla="*/ 38185 w 149"/>
                <a:gd name="T5" fmla="*/ 222030 h 144"/>
                <a:gd name="T6" fmla="*/ 51823 w 149"/>
                <a:gd name="T7" fmla="*/ 216187 h 144"/>
                <a:gd name="T8" fmla="*/ 68188 w 149"/>
                <a:gd name="T9" fmla="*/ 224951 h 144"/>
                <a:gd name="T10" fmla="*/ 90008 w 149"/>
                <a:gd name="T11" fmla="*/ 186972 h 144"/>
                <a:gd name="T12" fmla="*/ 106373 w 149"/>
                <a:gd name="T13" fmla="*/ 143151 h 144"/>
                <a:gd name="T14" fmla="*/ 125466 w 149"/>
                <a:gd name="T15" fmla="*/ 116858 h 144"/>
                <a:gd name="T16" fmla="*/ 133648 w 149"/>
                <a:gd name="T17" fmla="*/ 67193 h 144"/>
                <a:gd name="T18" fmla="*/ 141831 w 149"/>
                <a:gd name="T19" fmla="*/ 37979 h 144"/>
                <a:gd name="T20" fmla="*/ 141831 w 149"/>
                <a:gd name="T21" fmla="*/ 26293 h 144"/>
                <a:gd name="T22" fmla="*/ 155468 w 149"/>
                <a:gd name="T23" fmla="*/ 5843 h 144"/>
                <a:gd name="T24" fmla="*/ 182744 w 149"/>
                <a:gd name="T25" fmla="*/ 20450 h 144"/>
                <a:gd name="T26" fmla="*/ 220929 w 149"/>
                <a:gd name="T27" fmla="*/ 26293 h 144"/>
                <a:gd name="T28" fmla="*/ 231839 w 149"/>
                <a:gd name="T29" fmla="*/ 11686 h 144"/>
                <a:gd name="T30" fmla="*/ 272752 w 149"/>
                <a:gd name="T31" fmla="*/ 5843 h 144"/>
                <a:gd name="T32" fmla="*/ 308209 w 149"/>
                <a:gd name="T33" fmla="*/ 0 h 144"/>
                <a:gd name="T34" fmla="*/ 319119 w 149"/>
                <a:gd name="T35" fmla="*/ 2921 h 144"/>
                <a:gd name="T36" fmla="*/ 330030 w 149"/>
                <a:gd name="T37" fmla="*/ 11686 h 144"/>
                <a:gd name="T38" fmla="*/ 351850 w 149"/>
                <a:gd name="T39" fmla="*/ 23372 h 144"/>
                <a:gd name="T40" fmla="*/ 368215 w 149"/>
                <a:gd name="T41" fmla="*/ 14607 h 144"/>
                <a:gd name="T42" fmla="*/ 379125 w 149"/>
                <a:gd name="T43" fmla="*/ 26293 h 144"/>
                <a:gd name="T44" fmla="*/ 398217 w 149"/>
                <a:gd name="T45" fmla="*/ 37979 h 144"/>
                <a:gd name="T46" fmla="*/ 392762 w 149"/>
                <a:gd name="T47" fmla="*/ 61350 h 144"/>
                <a:gd name="T48" fmla="*/ 406400 w 149"/>
                <a:gd name="T49" fmla="*/ 73036 h 144"/>
                <a:gd name="T50" fmla="*/ 387307 w 149"/>
                <a:gd name="T51" fmla="*/ 96408 h 144"/>
                <a:gd name="T52" fmla="*/ 370942 w 149"/>
                <a:gd name="T53" fmla="*/ 119779 h 144"/>
                <a:gd name="T54" fmla="*/ 362760 w 149"/>
                <a:gd name="T55" fmla="*/ 148994 h 144"/>
                <a:gd name="T56" fmla="*/ 351850 w 149"/>
                <a:gd name="T57" fmla="*/ 175287 h 144"/>
                <a:gd name="T58" fmla="*/ 354577 w 149"/>
                <a:gd name="T59" fmla="*/ 184051 h 144"/>
                <a:gd name="T60" fmla="*/ 357305 w 149"/>
                <a:gd name="T61" fmla="*/ 201580 h 144"/>
                <a:gd name="T62" fmla="*/ 362760 w 149"/>
                <a:gd name="T63" fmla="*/ 219108 h 144"/>
                <a:gd name="T64" fmla="*/ 365487 w 149"/>
                <a:gd name="T65" fmla="*/ 251244 h 144"/>
                <a:gd name="T66" fmla="*/ 381852 w 149"/>
                <a:gd name="T67" fmla="*/ 274616 h 144"/>
                <a:gd name="T68" fmla="*/ 392762 w 149"/>
                <a:gd name="T69" fmla="*/ 297987 h 144"/>
                <a:gd name="T70" fmla="*/ 357305 w 149"/>
                <a:gd name="T71" fmla="*/ 306752 h 144"/>
                <a:gd name="T72" fmla="*/ 346395 w 149"/>
                <a:gd name="T73" fmla="*/ 327202 h 144"/>
                <a:gd name="T74" fmla="*/ 349122 w 149"/>
                <a:gd name="T75" fmla="*/ 373945 h 144"/>
                <a:gd name="T76" fmla="*/ 373670 w 149"/>
                <a:gd name="T77" fmla="*/ 391474 h 144"/>
                <a:gd name="T78" fmla="*/ 368215 w 149"/>
                <a:gd name="T79" fmla="*/ 420688 h 144"/>
                <a:gd name="T80" fmla="*/ 368215 w 149"/>
                <a:gd name="T81" fmla="*/ 420688 h 144"/>
                <a:gd name="T82" fmla="*/ 346395 w 149"/>
                <a:gd name="T83" fmla="*/ 403159 h 144"/>
                <a:gd name="T84" fmla="*/ 319119 w 149"/>
                <a:gd name="T85" fmla="*/ 376866 h 144"/>
                <a:gd name="T86" fmla="*/ 302754 w 149"/>
                <a:gd name="T87" fmla="*/ 385631 h 144"/>
                <a:gd name="T88" fmla="*/ 280934 w 149"/>
                <a:gd name="T89" fmla="*/ 371023 h 144"/>
                <a:gd name="T90" fmla="*/ 250932 w 149"/>
                <a:gd name="T91" fmla="*/ 365181 h 144"/>
                <a:gd name="T92" fmla="*/ 220929 w 149"/>
                <a:gd name="T93" fmla="*/ 362259 h 144"/>
                <a:gd name="T94" fmla="*/ 210019 w 149"/>
                <a:gd name="T95" fmla="*/ 330123 h 144"/>
                <a:gd name="T96" fmla="*/ 204564 w 149"/>
                <a:gd name="T97" fmla="*/ 280459 h 144"/>
                <a:gd name="T98" fmla="*/ 160923 w 149"/>
                <a:gd name="T99" fmla="*/ 271694 h 144"/>
                <a:gd name="T100" fmla="*/ 152741 w 149"/>
                <a:gd name="T101" fmla="*/ 295066 h 144"/>
                <a:gd name="T102" fmla="*/ 117283 w 149"/>
                <a:gd name="T103" fmla="*/ 300909 h 144"/>
                <a:gd name="T104" fmla="*/ 95463 w 149"/>
                <a:gd name="T105" fmla="*/ 251244 h 144"/>
                <a:gd name="T106" fmla="*/ 35458 w 149"/>
                <a:gd name="T107" fmla="*/ 248323 h 144"/>
                <a:gd name="T108" fmla="*/ 10910 w 149"/>
                <a:gd name="T109" fmla="*/ 260009 h 144"/>
                <a:gd name="T110" fmla="*/ 10910 w 149"/>
                <a:gd name="T111" fmla="*/ 257087 h 144"/>
                <a:gd name="T112" fmla="*/ 0 w 149"/>
                <a:gd name="T113" fmla="*/ 227873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 h="144">
                  <a:moveTo>
                    <a:pt x="0" y="78"/>
                  </a:moveTo>
                  <a:cubicBezTo>
                    <a:pt x="1" y="77"/>
                    <a:pt x="5" y="75"/>
                    <a:pt x="7" y="75"/>
                  </a:cubicBezTo>
                  <a:cubicBezTo>
                    <a:pt x="9" y="75"/>
                    <a:pt x="11" y="77"/>
                    <a:pt x="14" y="76"/>
                  </a:cubicBezTo>
                  <a:cubicBezTo>
                    <a:pt x="16" y="75"/>
                    <a:pt x="18" y="75"/>
                    <a:pt x="19" y="74"/>
                  </a:cubicBezTo>
                  <a:cubicBezTo>
                    <a:pt x="21" y="74"/>
                    <a:pt x="22" y="79"/>
                    <a:pt x="25" y="77"/>
                  </a:cubicBezTo>
                  <a:cubicBezTo>
                    <a:pt x="27" y="75"/>
                    <a:pt x="33" y="69"/>
                    <a:pt x="33" y="64"/>
                  </a:cubicBezTo>
                  <a:cubicBezTo>
                    <a:pt x="33" y="59"/>
                    <a:pt x="35" y="52"/>
                    <a:pt x="39" y="49"/>
                  </a:cubicBezTo>
                  <a:cubicBezTo>
                    <a:pt x="42" y="47"/>
                    <a:pt x="46" y="43"/>
                    <a:pt x="46" y="40"/>
                  </a:cubicBezTo>
                  <a:cubicBezTo>
                    <a:pt x="46" y="36"/>
                    <a:pt x="48" y="25"/>
                    <a:pt x="49" y="23"/>
                  </a:cubicBezTo>
                  <a:cubicBezTo>
                    <a:pt x="50" y="21"/>
                    <a:pt x="51" y="16"/>
                    <a:pt x="52" y="13"/>
                  </a:cubicBezTo>
                  <a:cubicBezTo>
                    <a:pt x="52" y="11"/>
                    <a:pt x="52" y="9"/>
                    <a:pt x="52" y="9"/>
                  </a:cubicBezTo>
                  <a:cubicBezTo>
                    <a:pt x="53" y="8"/>
                    <a:pt x="54" y="2"/>
                    <a:pt x="57" y="2"/>
                  </a:cubicBezTo>
                  <a:cubicBezTo>
                    <a:pt x="60" y="2"/>
                    <a:pt x="64" y="7"/>
                    <a:pt x="67" y="7"/>
                  </a:cubicBezTo>
                  <a:cubicBezTo>
                    <a:pt x="70" y="7"/>
                    <a:pt x="78" y="10"/>
                    <a:pt x="81" y="9"/>
                  </a:cubicBezTo>
                  <a:cubicBezTo>
                    <a:pt x="83" y="8"/>
                    <a:pt x="83" y="4"/>
                    <a:pt x="85" y="4"/>
                  </a:cubicBezTo>
                  <a:cubicBezTo>
                    <a:pt x="88" y="4"/>
                    <a:pt x="98" y="3"/>
                    <a:pt x="100" y="2"/>
                  </a:cubicBezTo>
                  <a:cubicBezTo>
                    <a:pt x="102" y="1"/>
                    <a:pt x="110" y="0"/>
                    <a:pt x="113" y="0"/>
                  </a:cubicBezTo>
                  <a:cubicBezTo>
                    <a:pt x="114" y="0"/>
                    <a:pt x="116" y="1"/>
                    <a:pt x="117" y="1"/>
                  </a:cubicBezTo>
                  <a:cubicBezTo>
                    <a:pt x="119" y="2"/>
                    <a:pt x="120" y="3"/>
                    <a:pt x="121" y="4"/>
                  </a:cubicBezTo>
                  <a:cubicBezTo>
                    <a:pt x="123" y="6"/>
                    <a:pt x="124" y="8"/>
                    <a:pt x="129" y="8"/>
                  </a:cubicBezTo>
                  <a:cubicBezTo>
                    <a:pt x="134" y="8"/>
                    <a:pt x="133" y="4"/>
                    <a:pt x="135" y="5"/>
                  </a:cubicBezTo>
                  <a:cubicBezTo>
                    <a:pt x="137" y="6"/>
                    <a:pt x="139" y="9"/>
                    <a:pt x="139" y="9"/>
                  </a:cubicBezTo>
                  <a:cubicBezTo>
                    <a:pt x="146" y="13"/>
                    <a:pt x="146" y="13"/>
                    <a:pt x="146" y="13"/>
                  </a:cubicBezTo>
                  <a:cubicBezTo>
                    <a:pt x="145" y="13"/>
                    <a:pt x="144" y="19"/>
                    <a:pt x="144" y="21"/>
                  </a:cubicBezTo>
                  <a:cubicBezTo>
                    <a:pt x="144" y="22"/>
                    <a:pt x="149" y="25"/>
                    <a:pt x="149" y="25"/>
                  </a:cubicBezTo>
                  <a:cubicBezTo>
                    <a:pt x="149" y="25"/>
                    <a:pt x="144" y="31"/>
                    <a:pt x="142" y="33"/>
                  </a:cubicBezTo>
                  <a:cubicBezTo>
                    <a:pt x="139" y="35"/>
                    <a:pt x="137" y="39"/>
                    <a:pt x="136" y="41"/>
                  </a:cubicBezTo>
                  <a:cubicBezTo>
                    <a:pt x="136" y="43"/>
                    <a:pt x="135" y="49"/>
                    <a:pt x="133" y="51"/>
                  </a:cubicBezTo>
                  <a:cubicBezTo>
                    <a:pt x="132" y="52"/>
                    <a:pt x="129" y="57"/>
                    <a:pt x="129" y="60"/>
                  </a:cubicBezTo>
                  <a:cubicBezTo>
                    <a:pt x="129" y="61"/>
                    <a:pt x="130" y="62"/>
                    <a:pt x="130" y="63"/>
                  </a:cubicBezTo>
                  <a:cubicBezTo>
                    <a:pt x="130" y="65"/>
                    <a:pt x="131" y="67"/>
                    <a:pt x="131" y="69"/>
                  </a:cubicBezTo>
                  <a:cubicBezTo>
                    <a:pt x="132" y="70"/>
                    <a:pt x="132" y="72"/>
                    <a:pt x="133" y="75"/>
                  </a:cubicBezTo>
                  <a:cubicBezTo>
                    <a:pt x="134" y="79"/>
                    <a:pt x="134" y="84"/>
                    <a:pt x="134" y="86"/>
                  </a:cubicBezTo>
                  <a:cubicBezTo>
                    <a:pt x="134" y="88"/>
                    <a:pt x="138" y="92"/>
                    <a:pt x="140" y="94"/>
                  </a:cubicBezTo>
                  <a:cubicBezTo>
                    <a:pt x="142" y="95"/>
                    <a:pt x="143" y="99"/>
                    <a:pt x="144" y="102"/>
                  </a:cubicBezTo>
                  <a:cubicBezTo>
                    <a:pt x="131" y="105"/>
                    <a:pt x="131" y="105"/>
                    <a:pt x="131" y="105"/>
                  </a:cubicBezTo>
                  <a:cubicBezTo>
                    <a:pt x="131" y="105"/>
                    <a:pt x="125" y="110"/>
                    <a:pt x="127" y="112"/>
                  </a:cubicBezTo>
                  <a:cubicBezTo>
                    <a:pt x="128" y="115"/>
                    <a:pt x="127" y="125"/>
                    <a:pt x="128" y="128"/>
                  </a:cubicBezTo>
                  <a:cubicBezTo>
                    <a:pt x="129" y="131"/>
                    <a:pt x="137" y="132"/>
                    <a:pt x="137" y="134"/>
                  </a:cubicBezTo>
                  <a:cubicBezTo>
                    <a:pt x="137" y="136"/>
                    <a:pt x="137" y="143"/>
                    <a:pt x="135" y="144"/>
                  </a:cubicBezTo>
                  <a:cubicBezTo>
                    <a:pt x="135" y="144"/>
                    <a:pt x="135" y="144"/>
                    <a:pt x="135" y="144"/>
                  </a:cubicBezTo>
                  <a:cubicBezTo>
                    <a:pt x="132" y="144"/>
                    <a:pt x="129" y="141"/>
                    <a:pt x="127" y="138"/>
                  </a:cubicBezTo>
                  <a:cubicBezTo>
                    <a:pt x="124" y="136"/>
                    <a:pt x="119" y="131"/>
                    <a:pt x="117" y="129"/>
                  </a:cubicBezTo>
                  <a:cubicBezTo>
                    <a:pt x="117" y="127"/>
                    <a:pt x="114" y="132"/>
                    <a:pt x="111" y="132"/>
                  </a:cubicBezTo>
                  <a:cubicBezTo>
                    <a:pt x="109" y="132"/>
                    <a:pt x="103" y="127"/>
                    <a:pt x="103" y="127"/>
                  </a:cubicBezTo>
                  <a:cubicBezTo>
                    <a:pt x="103" y="127"/>
                    <a:pt x="94" y="125"/>
                    <a:pt x="92" y="125"/>
                  </a:cubicBezTo>
                  <a:cubicBezTo>
                    <a:pt x="90" y="125"/>
                    <a:pt x="80" y="126"/>
                    <a:pt x="81" y="124"/>
                  </a:cubicBezTo>
                  <a:cubicBezTo>
                    <a:pt x="81" y="122"/>
                    <a:pt x="79" y="115"/>
                    <a:pt x="77" y="113"/>
                  </a:cubicBezTo>
                  <a:cubicBezTo>
                    <a:pt x="75" y="111"/>
                    <a:pt x="75" y="96"/>
                    <a:pt x="75" y="96"/>
                  </a:cubicBezTo>
                  <a:cubicBezTo>
                    <a:pt x="59" y="93"/>
                    <a:pt x="59" y="93"/>
                    <a:pt x="59" y="93"/>
                  </a:cubicBezTo>
                  <a:cubicBezTo>
                    <a:pt x="59" y="93"/>
                    <a:pt x="58" y="101"/>
                    <a:pt x="56" y="101"/>
                  </a:cubicBezTo>
                  <a:cubicBezTo>
                    <a:pt x="54" y="101"/>
                    <a:pt x="45" y="103"/>
                    <a:pt x="43" y="103"/>
                  </a:cubicBezTo>
                  <a:cubicBezTo>
                    <a:pt x="41" y="103"/>
                    <a:pt x="37" y="86"/>
                    <a:pt x="35" y="86"/>
                  </a:cubicBezTo>
                  <a:cubicBezTo>
                    <a:pt x="34" y="86"/>
                    <a:pt x="17" y="85"/>
                    <a:pt x="13" y="85"/>
                  </a:cubicBezTo>
                  <a:cubicBezTo>
                    <a:pt x="10" y="85"/>
                    <a:pt x="7" y="87"/>
                    <a:pt x="4" y="89"/>
                  </a:cubicBezTo>
                  <a:cubicBezTo>
                    <a:pt x="4" y="88"/>
                    <a:pt x="4" y="88"/>
                    <a:pt x="4" y="88"/>
                  </a:cubicBezTo>
                  <a:cubicBezTo>
                    <a:pt x="2" y="84"/>
                    <a:pt x="2" y="81"/>
                    <a:pt x="0" y="7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 name="Freeform 312"/>
            <p:cNvSpPr>
              <a:spLocks/>
            </p:cNvSpPr>
            <p:nvPr>
              <p:custDataLst>
                <p:tags r:id="rId226"/>
              </p:custDataLst>
            </p:nvPr>
          </p:nvSpPr>
          <p:spPr bwMode="auto">
            <a:xfrm>
              <a:off x="2886" y="2988"/>
              <a:ext cx="179" cy="174"/>
            </a:xfrm>
            <a:custGeom>
              <a:avLst/>
              <a:gdLst>
                <a:gd name="T0" fmla="*/ 2706 w 105"/>
                <a:gd name="T1" fmla="*/ 20353 h 95"/>
                <a:gd name="T2" fmla="*/ 0 w 105"/>
                <a:gd name="T3" fmla="*/ 2908 h 95"/>
                <a:gd name="T4" fmla="*/ 18944 w 105"/>
                <a:gd name="T5" fmla="*/ 5815 h 95"/>
                <a:gd name="T6" fmla="*/ 35182 w 105"/>
                <a:gd name="T7" fmla="*/ 0 h 95"/>
                <a:gd name="T8" fmla="*/ 51420 w 105"/>
                <a:gd name="T9" fmla="*/ 8723 h 95"/>
                <a:gd name="T10" fmla="*/ 138022 w 105"/>
                <a:gd name="T11" fmla="*/ 8723 h 95"/>
                <a:gd name="T12" fmla="*/ 151554 w 105"/>
                <a:gd name="T13" fmla="*/ 20353 h 95"/>
                <a:gd name="T14" fmla="*/ 178617 w 105"/>
                <a:gd name="T15" fmla="*/ 20353 h 95"/>
                <a:gd name="T16" fmla="*/ 192148 w 105"/>
                <a:gd name="T17" fmla="*/ 20353 h 95"/>
                <a:gd name="T18" fmla="*/ 221918 w 105"/>
                <a:gd name="T19" fmla="*/ 14538 h 95"/>
                <a:gd name="T20" fmla="*/ 235449 w 105"/>
                <a:gd name="T21" fmla="*/ 11631 h 95"/>
                <a:gd name="T22" fmla="*/ 273338 w 105"/>
                <a:gd name="T23" fmla="*/ 11631 h 95"/>
                <a:gd name="T24" fmla="*/ 278750 w 105"/>
                <a:gd name="T25" fmla="*/ 14538 h 95"/>
                <a:gd name="T26" fmla="*/ 284163 w 105"/>
                <a:gd name="T27" fmla="*/ 26169 h 95"/>
                <a:gd name="T28" fmla="*/ 262512 w 105"/>
                <a:gd name="T29" fmla="*/ 31984 h 95"/>
                <a:gd name="T30" fmla="*/ 246275 w 105"/>
                <a:gd name="T31" fmla="*/ 34892 h 95"/>
                <a:gd name="T32" fmla="*/ 230037 w 105"/>
                <a:gd name="T33" fmla="*/ 29076 h 95"/>
                <a:gd name="T34" fmla="*/ 192148 w 105"/>
                <a:gd name="T35" fmla="*/ 37799 h 95"/>
                <a:gd name="T36" fmla="*/ 192148 w 105"/>
                <a:gd name="T37" fmla="*/ 113398 h 95"/>
                <a:gd name="T38" fmla="*/ 167791 w 105"/>
                <a:gd name="T39" fmla="*/ 113398 h 95"/>
                <a:gd name="T40" fmla="*/ 167791 w 105"/>
                <a:gd name="T41" fmla="*/ 180273 h 95"/>
                <a:gd name="T42" fmla="*/ 167791 w 105"/>
                <a:gd name="T43" fmla="*/ 270410 h 95"/>
                <a:gd name="T44" fmla="*/ 127197 w 105"/>
                <a:gd name="T45" fmla="*/ 276225 h 95"/>
                <a:gd name="T46" fmla="*/ 113665 w 105"/>
                <a:gd name="T47" fmla="*/ 258779 h 95"/>
                <a:gd name="T48" fmla="*/ 100134 w 105"/>
                <a:gd name="T49" fmla="*/ 273317 h 95"/>
                <a:gd name="T50" fmla="*/ 100134 w 105"/>
                <a:gd name="T51" fmla="*/ 273317 h 95"/>
                <a:gd name="T52" fmla="*/ 94721 w 105"/>
                <a:gd name="T53" fmla="*/ 267502 h 95"/>
                <a:gd name="T54" fmla="*/ 67658 w 105"/>
                <a:gd name="T55" fmla="*/ 226795 h 95"/>
                <a:gd name="T56" fmla="*/ 59539 w 105"/>
                <a:gd name="T57" fmla="*/ 180273 h 95"/>
                <a:gd name="T58" fmla="*/ 56833 w 105"/>
                <a:gd name="T59" fmla="*/ 151197 h 95"/>
                <a:gd name="T60" fmla="*/ 51420 w 105"/>
                <a:gd name="T61" fmla="*/ 119213 h 95"/>
                <a:gd name="T62" fmla="*/ 24357 w 105"/>
                <a:gd name="T63" fmla="*/ 66876 h 95"/>
                <a:gd name="T64" fmla="*/ 2706 w 105"/>
                <a:gd name="T65" fmla="*/ 20353 h 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5" h="95">
                  <a:moveTo>
                    <a:pt x="1" y="7"/>
                  </a:moveTo>
                  <a:cubicBezTo>
                    <a:pt x="0" y="6"/>
                    <a:pt x="0" y="3"/>
                    <a:pt x="0" y="1"/>
                  </a:cubicBezTo>
                  <a:cubicBezTo>
                    <a:pt x="0" y="1"/>
                    <a:pt x="4" y="2"/>
                    <a:pt x="7" y="2"/>
                  </a:cubicBezTo>
                  <a:cubicBezTo>
                    <a:pt x="9" y="2"/>
                    <a:pt x="11" y="0"/>
                    <a:pt x="13" y="0"/>
                  </a:cubicBezTo>
                  <a:cubicBezTo>
                    <a:pt x="16" y="0"/>
                    <a:pt x="18" y="3"/>
                    <a:pt x="19" y="3"/>
                  </a:cubicBezTo>
                  <a:cubicBezTo>
                    <a:pt x="20" y="3"/>
                    <a:pt x="51" y="3"/>
                    <a:pt x="51" y="3"/>
                  </a:cubicBezTo>
                  <a:cubicBezTo>
                    <a:pt x="51" y="3"/>
                    <a:pt x="54" y="7"/>
                    <a:pt x="56" y="7"/>
                  </a:cubicBezTo>
                  <a:cubicBezTo>
                    <a:pt x="57" y="7"/>
                    <a:pt x="62" y="7"/>
                    <a:pt x="66" y="7"/>
                  </a:cubicBezTo>
                  <a:cubicBezTo>
                    <a:pt x="71" y="7"/>
                    <a:pt x="71" y="7"/>
                    <a:pt x="71" y="7"/>
                  </a:cubicBezTo>
                  <a:cubicBezTo>
                    <a:pt x="82" y="5"/>
                    <a:pt x="82" y="5"/>
                    <a:pt x="82" y="5"/>
                  </a:cubicBezTo>
                  <a:cubicBezTo>
                    <a:pt x="83" y="5"/>
                    <a:pt x="85" y="5"/>
                    <a:pt x="87" y="4"/>
                  </a:cubicBezTo>
                  <a:cubicBezTo>
                    <a:pt x="93" y="4"/>
                    <a:pt x="100" y="3"/>
                    <a:pt x="101" y="4"/>
                  </a:cubicBezTo>
                  <a:cubicBezTo>
                    <a:pt x="101" y="5"/>
                    <a:pt x="102" y="5"/>
                    <a:pt x="103" y="5"/>
                  </a:cubicBezTo>
                  <a:cubicBezTo>
                    <a:pt x="105" y="9"/>
                    <a:pt x="105" y="9"/>
                    <a:pt x="105" y="9"/>
                  </a:cubicBezTo>
                  <a:cubicBezTo>
                    <a:pt x="97" y="11"/>
                    <a:pt x="97" y="11"/>
                    <a:pt x="97" y="11"/>
                  </a:cubicBezTo>
                  <a:cubicBezTo>
                    <a:pt x="96" y="11"/>
                    <a:pt x="93" y="11"/>
                    <a:pt x="91" y="12"/>
                  </a:cubicBezTo>
                  <a:cubicBezTo>
                    <a:pt x="90" y="13"/>
                    <a:pt x="88" y="10"/>
                    <a:pt x="85" y="10"/>
                  </a:cubicBezTo>
                  <a:cubicBezTo>
                    <a:pt x="85" y="10"/>
                    <a:pt x="74" y="13"/>
                    <a:pt x="71" y="13"/>
                  </a:cubicBezTo>
                  <a:cubicBezTo>
                    <a:pt x="71" y="39"/>
                    <a:pt x="71" y="39"/>
                    <a:pt x="71" y="39"/>
                  </a:cubicBezTo>
                  <a:cubicBezTo>
                    <a:pt x="62" y="39"/>
                    <a:pt x="62" y="39"/>
                    <a:pt x="62" y="39"/>
                  </a:cubicBezTo>
                  <a:cubicBezTo>
                    <a:pt x="62" y="62"/>
                    <a:pt x="62" y="62"/>
                    <a:pt x="62" y="62"/>
                  </a:cubicBezTo>
                  <a:cubicBezTo>
                    <a:pt x="62" y="93"/>
                    <a:pt x="62" y="93"/>
                    <a:pt x="62" y="93"/>
                  </a:cubicBezTo>
                  <a:cubicBezTo>
                    <a:pt x="62" y="93"/>
                    <a:pt x="50" y="95"/>
                    <a:pt x="47" y="95"/>
                  </a:cubicBezTo>
                  <a:cubicBezTo>
                    <a:pt x="45" y="95"/>
                    <a:pt x="44" y="89"/>
                    <a:pt x="42" y="89"/>
                  </a:cubicBezTo>
                  <a:cubicBezTo>
                    <a:pt x="40" y="89"/>
                    <a:pt x="38" y="92"/>
                    <a:pt x="37" y="94"/>
                  </a:cubicBezTo>
                  <a:cubicBezTo>
                    <a:pt x="37" y="94"/>
                    <a:pt x="37" y="94"/>
                    <a:pt x="37" y="94"/>
                  </a:cubicBezTo>
                  <a:cubicBezTo>
                    <a:pt x="37" y="93"/>
                    <a:pt x="36" y="92"/>
                    <a:pt x="35" y="92"/>
                  </a:cubicBezTo>
                  <a:cubicBezTo>
                    <a:pt x="31" y="88"/>
                    <a:pt x="26" y="84"/>
                    <a:pt x="25" y="78"/>
                  </a:cubicBezTo>
                  <a:cubicBezTo>
                    <a:pt x="25" y="72"/>
                    <a:pt x="24" y="66"/>
                    <a:pt x="22" y="62"/>
                  </a:cubicBezTo>
                  <a:cubicBezTo>
                    <a:pt x="21" y="58"/>
                    <a:pt x="21" y="56"/>
                    <a:pt x="21" y="52"/>
                  </a:cubicBezTo>
                  <a:cubicBezTo>
                    <a:pt x="21" y="49"/>
                    <a:pt x="22" y="46"/>
                    <a:pt x="19" y="41"/>
                  </a:cubicBezTo>
                  <a:cubicBezTo>
                    <a:pt x="17" y="36"/>
                    <a:pt x="12" y="27"/>
                    <a:pt x="9" y="23"/>
                  </a:cubicBezTo>
                  <a:cubicBezTo>
                    <a:pt x="6" y="19"/>
                    <a:pt x="1" y="12"/>
                    <a:pt x="1"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 name="Freeform 313"/>
            <p:cNvSpPr>
              <a:spLocks/>
            </p:cNvSpPr>
            <p:nvPr>
              <p:custDataLst>
                <p:tags r:id="rId227"/>
              </p:custDataLst>
            </p:nvPr>
          </p:nvSpPr>
          <p:spPr bwMode="auto">
            <a:xfrm>
              <a:off x="2886" y="2829"/>
              <a:ext cx="161" cy="172"/>
            </a:xfrm>
            <a:custGeom>
              <a:avLst/>
              <a:gdLst>
                <a:gd name="T0" fmla="*/ 0 w 94"/>
                <a:gd name="T1" fmla="*/ 255621 h 94"/>
                <a:gd name="T2" fmla="*/ 2719 w 94"/>
                <a:gd name="T3" fmla="*/ 229478 h 94"/>
                <a:gd name="T4" fmla="*/ 13595 w 94"/>
                <a:gd name="T5" fmla="*/ 194621 h 94"/>
                <a:gd name="T6" fmla="*/ 16314 w 94"/>
                <a:gd name="T7" fmla="*/ 168478 h 94"/>
                <a:gd name="T8" fmla="*/ 35347 w 94"/>
                <a:gd name="T9" fmla="*/ 148144 h 94"/>
                <a:gd name="T10" fmla="*/ 43504 w 94"/>
                <a:gd name="T11" fmla="*/ 113287 h 94"/>
                <a:gd name="T12" fmla="*/ 24471 w 94"/>
                <a:gd name="T13" fmla="*/ 75524 h 94"/>
                <a:gd name="T14" fmla="*/ 35347 w 94"/>
                <a:gd name="T15" fmla="*/ 58096 h 94"/>
                <a:gd name="T16" fmla="*/ 13595 w 94"/>
                <a:gd name="T17" fmla="*/ 11619 h 94"/>
                <a:gd name="T18" fmla="*/ 38066 w 94"/>
                <a:gd name="T19" fmla="*/ 0 h 94"/>
                <a:gd name="T20" fmla="*/ 97885 w 94"/>
                <a:gd name="T21" fmla="*/ 2905 h 94"/>
                <a:gd name="T22" fmla="*/ 119637 w 94"/>
                <a:gd name="T23" fmla="*/ 52286 h 94"/>
                <a:gd name="T24" fmla="*/ 154984 w 94"/>
                <a:gd name="T25" fmla="*/ 46477 h 94"/>
                <a:gd name="T26" fmla="*/ 163141 w 94"/>
                <a:gd name="T27" fmla="*/ 23238 h 94"/>
                <a:gd name="T28" fmla="*/ 206646 w 94"/>
                <a:gd name="T29" fmla="*/ 31953 h 94"/>
                <a:gd name="T30" fmla="*/ 212084 w 94"/>
                <a:gd name="T31" fmla="*/ 81334 h 94"/>
                <a:gd name="T32" fmla="*/ 222960 w 94"/>
                <a:gd name="T33" fmla="*/ 113287 h 94"/>
                <a:gd name="T34" fmla="*/ 252869 w 94"/>
                <a:gd name="T35" fmla="*/ 116191 h 94"/>
                <a:gd name="T36" fmla="*/ 255588 w 94"/>
                <a:gd name="T37" fmla="*/ 162668 h 94"/>
                <a:gd name="T38" fmla="*/ 212084 w 94"/>
                <a:gd name="T39" fmla="*/ 162668 h 94"/>
                <a:gd name="T40" fmla="*/ 212084 w 94"/>
                <a:gd name="T41" fmla="*/ 232383 h 94"/>
                <a:gd name="T42" fmla="*/ 236555 w 94"/>
                <a:gd name="T43" fmla="*/ 264336 h 94"/>
                <a:gd name="T44" fmla="*/ 222960 w 94"/>
                <a:gd name="T45" fmla="*/ 267240 h 94"/>
                <a:gd name="T46" fmla="*/ 193051 w 94"/>
                <a:gd name="T47" fmla="*/ 273050 h 94"/>
                <a:gd name="T48" fmla="*/ 179455 w 94"/>
                <a:gd name="T49" fmla="*/ 273050 h 94"/>
                <a:gd name="T50" fmla="*/ 152265 w 94"/>
                <a:gd name="T51" fmla="*/ 273050 h 94"/>
                <a:gd name="T52" fmla="*/ 138670 w 94"/>
                <a:gd name="T53" fmla="*/ 261431 h 94"/>
                <a:gd name="T54" fmla="*/ 51661 w 94"/>
                <a:gd name="T55" fmla="*/ 261431 h 94"/>
                <a:gd name="T56" fmla="*/ 35347 w 94"/>
                <a:gd name="T57" fmla="*/ 252716 h 94"/>
                <a:gd name="T58" fmla="*/ 19033 w 94"/>
                <a:gd name="T59" fmla="*/ 258526 h 94"/>
                <a:gd name="T60" fmla="*/ 0 w 94"/>
                <a:gd name="T61" fmla="*/ 255621 h 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4" h="94">
                  <a:moveTo>
                    <a:pt x="0" y="88"/>
                  </a:moveTo>
                  <a:cubicBezTo>
                    <a:pt x="0" y="85"/>
                    <a:pt x="0" y="81"/>
                    <a:pt x="1" y="79"/>
                  </a:cubicBezTo>
                  <a:cubicBezTo>
                    <a:pt x="2" y="75"/>
                    <a:pt x="4" y="70"/>
                    <a:pt x="5" y="67"/>
                  </a:cubicBezTo>
                  <a:cubicBezTo>
                    <a:pt x="5" y="64"/>
                    <a:pt x="6" y="59"/>
                    <a:pt x="6" y="58"/>
                  </a:cubicBezTo>
                  <a:cubicBezTo>
                    <a:pt x="6" y="57"/>
                    <a:pt x="12" y="53"/>
                    <a:pt x="13" y="51"/>
                  </a:cubicBezTo>
                  <a:cubicBezTo>
                    <a:pt x="15" y="48"/>
                    <a:pt x="18" y="43"/>
                    <a:pt x="16" y="39"/>
                  </a:cubicBezTo>
                  <a:cubicBezTo>
                    <a:pt x="14" y="34"/>
                    <a:pt x="10" y="29"/>
                    <a:pt x="9" y="26"/>
                  </a:cubicBezTo>
                  <a:cubicBezTo>
                    <a:pt x="9" y="24"/>
                    <a:pt x="13" y="23"/>
                    <a:pt x="13" y="20"/>
                  </a:cubicBezTo>
                  <a:cubicBezTo>
                    <a:pt x="12" y="18"/>
                    <a:pt x="7" y="8"/>
                    <a:pt x="5" y="4"/>
                  </a:cubicBezTo>
                  <a:cubicBezTo>
                    <a:pt x="8" y="2"/>
                    <a:pt x="11" y="0"/>
                    <a:pt x="14" y="0"/>
                  </a:cubicBezTo>
                  <a:cubicBezTo>
                    <a:pt x="18" y="0"/>
                    <a:pt x="35" y="1"/>
                    <a:pt x="36" y="1"/>
                  </a:cubicBezTo>
                  <a:cubicBezTo>
                    <a:pt x="38" y="1"/>
                    <a:pt x="42" y="18"/>
                    <a:pt x="44" y="18"/>
                  </a:cubicBezTo>
                  <a:cubicBezTo>
                    <a:pt x="46" y="18"/>
                    <a:pt x="55" y="16"/>
                    <a:pt x="57" y="16"/>
                  </a:cubicBezTo>
                  <a:cubicBezTo>
                    <a:pt x="59" y="16"/>
                    <a:pt x="60" y="8"/>
                    <a:pt x="60" y="8"/>
                  </a:cubicBezTo>
                  <a:cubicBezTo>
                    <a:pt x="76" y="11"/>
                    <a:pt x="76" y="11"/>
                    <a:pt x="76" y="11"/>
                  </a:cubicBezTo>
                  <a:cubicBezTo>
                    <a:pt x="76" y="11"/>
                    <a:pt x="76" y="26"/>
                    <a:pt x="78" y="28"/>
                  </a:cubicBezTo>
                  <a:cubicBezTo>
                    <a:pt x="80" y="30"/>
                    <a:pt x="82" y="37"/>
                    <a:pt x="82" y="39"/>
                  </a:cubicBezTo>
                  <a:cubicBezTo>
                    <a:pt x="81" y="41"/>
                    <a:pt x="91" y="40"/>
                    <a:pt x="93" y="40"/>
                  </a:cubicBezTo>
                  <a:cubicBezTo>
                    <a:pt x="94" y="56"/>
                    <a:pt x="94" y="56"/>
                    <a:pt x="94" y="56"/>
                  </a:cubicBezTo>
                  <a:cubicBezTo>
                    <a:pt x="78" y="56"/>
                    <a:pt x="78" y="56"/>
                    <a:pt x="78" y="56"/>
                  </a:cubicBezTo>
                  <a:cubicBezTo>
                    <a:pt x="78" y="80"/>
                    <a:pt x="78" y="80"/>
                    <a:pt x="78" y="80"/>
                  </a:cubicBezTo>
                  <a:cubicBezTo>
                    <a:pt x="87" y="91"/>
                    <a:pt x="87" y="91"/>
                    <a:pt x="87" y="91"/>
                  </a:cubicBezTo>
                  <a:cubicBezTo>
                    <a:pt x="85" y="92"/>
                    <a:pt x="83" y="92"/>
                    <a:pt x="82" y="92"/>
                  </a:cubicBezTo>
                  <a:cubicBezTo>
                    <a:pt x="71" y="94"/>
                    <a:pt x="71" y="94"/>
                    <a:pt x="71" y="94"/>
                  </a:cubicBezTo>
                  <a:cubicBezTo>
                    <a:pt x="66" y="94"/>
                    <a:pt x="66" y="94"/>
                    <a:pt x="66" y="94"/>
                  </a:cubicBezTo>
                  <a:cubicBezTo>
                    <a:pt x="62" y="94"/>
                    <a:pt x="57" y="94"/>
                    <a:pt x="56" y="94"/>
                  </a:cubicBezTo>
                  <a:cubicBezTo>
                    <a:pt x="54" y="94"/>
                    <a:pt x="51" y="90"/>
                    <a:pt x="51" y="90"/>
                  </a:cubicBezTo>
                  <a:cubicBezTo>
                    <a:pt x="51" y="90"/>
                    <a:pt x="20" y="90"/>
                    <a:pt x="19" y="90"/>
                  </a:cubicBezTo>
                  <a:cubicBezTo>
                    <a:pt x="18" y="90"/>
                    <a:pt x="16" y="87"/>
                    <a:pt x="13" y="87"/>
                  </a:cubicBezTo>
                  <a:cubicBezTo>
                    <a:pt x="11" y="87"/>
                    <a:pt x="9" y="89"/>
                    <a:pt x="7" y="89"/>
                  </a:cubicBezTo>
                  <a:cubicBezTo>
                    <a:pt x="4" y="89"/>
                    <a:pt x="0" y="88"/>
                    <a:pt x="0" y="8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 name="Freeform 314"/>
            <p:cNvSpPr>
              <a:spLocks/>
            </p:cNvSpPr>
            <p:nvPr>
              <p:custDataLst>
                <p:tags r:id="rId228"/>
              </p:custDataLst>
            </p:nvPr>
          </p:nvSpPr>
          <p:spPr bwMode="auto">
            <a:xfrm>
              <a:off x="2876" y="2697"/>
              <a:ext cx="101" cy="120"/>
            </a:xfrm>
            <a:custGeom>
              <a:avLst/>
              <a:gdLst>
                <a:gd name="T0" fmla="*/ 19023 w 59"/>
                <a:gd name="T1" fmla="*/ 184727 h 66"/>
                <a:gd name="T2" fmla="*/ 0 w 59"/>
                <a:gd name="T3" fmla="*/ 164523 h 66"/>
                <a:gd name="T4" fmla="*/ 13588 w 59"/>
                <a:gd name="T5" fmla="*/ 158750 h 66"/>
                <a:gd name="T6" fmla="*/ 21741 w 59"/>
                <a:gd name="T7" fmla="*/ 161636 h 66"/>
                <a:gd name="T8" fmla="*/ 27176 w 59"/>
                <a:gd name="T9" fmla="*/ 144318 h 66"/>
                <a:gd name="T10" fmla="*/ 13588 w 59"/>
                <a:gd name="T11" fmla="*/ 138545 h 66"/>
                <a:gd name="T12" fmla="*/ 16306 w 59"/>
                <a:gd name="T13" fmla="*/ 121227 h 66"/>
                <a:gd name="T14" fmla="*/ 62505 w 59"/>
                <a:gd name="T15" fmla="*/ 132773 h 66"/>
                <a:gd name="T16" fmla="*/ 73375 w 59"/>
                <a:gd name="T17" fmla="*/ 98136 h 66"/>
                <a:gd name="T18" fmla="*/ 59787 w 59"/>
                <a:gd name="T19" fmla="*/ 77932 h 66"/>
                <a:gd name="T20" fmla="*/ 73375 w 59"/>
                <a:gd name="T21" fmla="*/ 57727 h 66"/>
                <a:gd name="T22" fmla="*/ 48917 w 59"/>
                <a:gd name="T23" fmla="*/ 51955 h 66"/>
                <a:gd name="T24" fmla="*/ 46199 w 59"/>
                <a:gd name="T25" fmla="*/ 40409 h 66"/>
                <a:gd name="T26" fmla="*/ 48917 w 59"/>
                <a:gd name="T27" fmla="*/ 28864 h 66"/>
                <a:gd name="T28" fmla="*/ 48917 w 59"/>
                <a:gd name="T29" fmla="*/ 28864 h 66"/>
                <a:gd name="T30" fmla="*/ 70657 w 59"/>
                <a:gd name="T31" fmla="*/ 31750 h 66"/>
                <a:gd name="T32" fmla="*/ 108704 w 59"/>
                <a:gd name="T33" fmla="*/ 43295 h 66"/>
                <a:gd name="T34" fmla="*/ 108704 w 59"/>
                <a:gd name="T35" fmla="*/ 23091 h 66"/>
                <a:gd name="T36" fmla="*/ 119574 w 59"/>
                <a:gd name="T37" fmla="*/ 17318 h 66"/>
                <a:gd name="T38" fmla="*/ 122292 w 59"/>
                <a:gd name="T39" fmla="*/ 0 h 66"/>
                <a:gd name="T40" fmla="*/ 160338 w 59"/>
                <a:gd name="T41" fmla="*/ 0 h 66"/>
                <a:gd name="T42" fmla="*/ 152185 w 59"/>
                <a:gd name="T43" fmla="*/ 28864 h 66"/>
                <a:gd name="T44" fmla="*/ 144032 w 59"/>
                <a:gd name="T45" fmla="*/ 77932 h 66"/>
                <a:gd name="T46" fmla="*/ 125009 w 59"/>
                <a:gd name="T47" fmla="*/ 103909 h 66"/>
                <a:gd name="T48" fmla="*/ 108704 w 59"/>
                <a:gd name="T49" fmla="*/ 147205 h 66"/>
                <a:gd name="T50" fmla="*/ 86963 w 59"/>
                <a:gd name="T51" fmla="*/ 184727 h 66"/>
                <a:gd name="T52" fmla="*/ 70657 w 59"/>
                <a:gd name="T53" fmla="*/ 176068 h 66"/>
                <a:gd name="T54" fmla="*/ 57069 w 59"/>
                <a:gd name="T55" fmla="*/ 181841 h 66"/>
                <a:gd name="T56" fmla="*/ 38046 w 59"/>
                <a:gd name="T57" fmla="*/ 178955 h 66"/>
                <a:gd name="T58" fmla="*/ 19023 w 59"/>
                <a:gd name="T59" fmla="*/ 187614 h 66"/>
                <a:gd name="T60" fmla="*/ 19023 w 59"/>
                <a:gd name="T61" fmla="*/ 184727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9" h="66">
                  <a:moveTo>
                    <a:pt x="7" y="64"/>
                  </a:moveTo>
                  <a:cubicBezTo>
                    <a:pt x="5" y="62"/>
                    <a:pt x="3" y="60"/>
                    <a:pt x="0" y="57"/>
                  </a:cubicBezTo>
                  <a:cubicBezTo>
                    <a:pt x="2" y="56"/>
                    <a:pt x="4" y="54"/>
                    <a:pt x="5" y="55"/>
                  </a:cubicBezTo>
                  <a:cubicBezTo>
                    <a:pt x="7" y="56"/>
                    <a:pt x="8" y="56"/>
                    <a:pt x="8" y="56"/>
                  </a:cubicBezTo>
                  <a:cubicBezTo>
                    <a:pt x="10" y="50"/>
                    <a:pt x="10" y="50"/>
                    <a:pt x="10" y="50"/>
                  </a:cubicBezTo>
                  <a:cubicBezTo>
                    <a:pt x="5" y="48"/>
                    <a:pt x="5" y="48"/>
                    <a:pt x="5" y="48"/>
                  </a:cubicBezTo>
                  <a:cubicBezTo>
                    <a:pt x="6" y="42"/>
                    <a:pt x="6" y="42"/>
                    <a:pt x="6" y="42"/>
                  </a:cubicBezTo>
                  <a:cubicBezTo>
                    <a:pt x="6" y="42"/>
                    <a:pt x="21" y="46"/>
                    <a:pt x="23" y="46"/>
                  </a:cubicBezTo>
                  <a:cubicBezTo>
                    <a:pt x="26" y="46"/>
                    <a:pt x="29" y="37"/>
                    <a:pt x="27" y="34"/>
                  </a:cubicBezTo>
                  <a:cubicBezTo>
                    <a:pt x="25" y="31"/>
                    <a:pt x="21" y="29"/>
                    <a:pt x="22" y="27"/>
                  </a:cubicBezTo>
                  <a:cubicBezTo>
                    <a:pt x="23" y="24"/>
                    <a:pt x="30" y="22"/>
                    <a:pt x="27" y="20"/>
                  </a:cubicBezTo>
                  <a:cubicBezTo>
                    <a:pt x="24" y="18"/>
                    <a:pt x="19" y="21"/>
                    <a:pt x="18" y="18"/>
                  </a:cubicBezTo>
                  <a:cubicBezTo>
                    <a:pt x="17" y="15"/>
                    <a:pt x="17" y="14"/>
                    <a:pt x="17" y="14"/>
                  </a:cubicBezTo>
                  <a:cubicBezTo>
                    <a:pt x="18" y="10"/>
                    <a:pt x="18" y="10"/>
                    <a:pt x="18" y="10"/>
                  </a:cubicBezTo>
                  <a:cubicBezTo>
                    <a:pt x="18" y="10"/>
                    <a:pt x="18" y="10"/>
                    <a:pt x="18" y="10"/>
                  </a:cubicBezTo>
                  <a:cubicBezTo>
                    <a:pt x="22" y="11"/>
                    <a:pt x="25" y="11"/>
                    <a:pt x="26" y="11"/>
                  </a:cubicBezTo>
                  <a:cubicBezTo>
                    <a:pt x="29" y="11"/>
                    <a:pt x="38" y="16"/>
                    <a:pt x="40" y="15"/>
                  </a:cubicBezTo>
                  <a:cubicBezTo>
                    <a:pt x="41" y="15"/>
                    <a:pt x="41" y="11"/>
                    <a:pt x="40" y="8"/>
                  </a:cubicBezTo>
                  <a:cubicBezTo>
                    <a:pt x="44" y="6"/>
                    <a:pt x="44" y="6"/>
                    <a:pt x="44" y="6"/>
                  </a:cubicBezTo>
                  <a:cubicBezTo>
                    <a:pt x="45" y="0"/>
                    <a:pt x="45" y="0"/>
                    <a:pt x="45" y="0"/>
                  </a:cubicBezTo>
                  <a:cubicBezTo>
                    <a:pt x="59" y="0"/>
                    <a:pt x="59" y="0"/>
                    <a:pt x="59" y="0"/>
                  </a:cubicBezTo>
                  <a:cubicBezTo>
                    <a:pt x="58" y="3"/>
                    <a:pt x="57" y="8"/>
                    <a:pt x="56" y="10"/>
                  </a:cubicBezTo>
                  <a:cubicBezTo>
                    <a:pt x="55" y="12"/>
                    <a:pt x="53" y="23"/>
                    <a:pt x="53" y="27"/>
                  </a:cubicBezTo>
                  <a:cubicBezTo>
                    <a:pt x="53" y="30"/>
                    <a:pt x="49" y="34"/>
                    <a:pt x="46" y="36"/>
                  </a:cubicBezTo>
                  <a:cubicBezTo>
                    <a:pt x="42" y="39"/>
                    <a:pt x="40" y="46"/>
                    <a:pt x="40" y="51"/>
                  </a:cubicBezTo>
                  <a:cubicBezTo>
                    <a:pt x="40" y="56"/>
                    <a:pt x="34" y="62"/>
                    <a:pt x="32" y="64"/>
                  </a:cubicBezTo>
                  <a:cubicBezTo>
                    <a:pt x="29" y="66"/>
                    <a:pt x="28" y="61"/>
                    <a:pt x="26" y="61"/>
                  </a:cubicBezTo>
                  <a:cubicBezTo>
                    <a:pt x="25" y="62"/>
                    <a:pt x="23" y="62"/>
                    <a:pt x="21" y="63"/>
                  </a:cubicBezTo>
                  <a:cubicBezTo>
                    <a:pt x="18" y="64"/>
                    <a:pt x="16" y="62"/>
                    <a:pt x="14" y="62"/>
                  </a:cubicBezTo>
                  <a:cubicBezTo>
                    <a:pt x="12" y="62"/>
                    <a:pt x="8" y="64"/>
                    <a:pt x="7" y="65"/>
                  </a:cubicBezTo>
                  <a:cubicBezTo>
                    <a:pt x="7" y="64"/>
                    <a:pt x="7" y="64"/>
                    <a:pt x="7" y="64"/>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0" name="Freeform 315"/>
            <p:cNvSpPr>
              <a:spLocks/>
            </p:cNvSpPr>
            <p:nvPr>
              <p:custDataLst>
                <p:tags r:id="rId229"/>
              </p:custDataLst>
            </p:nvPr>
          </p:nvSpPr>
          <p:spPr bwMode="auto">
            <a:xfrm>
              <a:off x="2846" y="2715"/>
              <a:ext cx="81" cy="86"/>
            </a:xfrm>
            <a:custGeom>
              <a:avLst/>
              <a:gdLst>
                <a:gd name="T0" fmla="*/ 8208 w 47"/>
                <a:gd name="T1" fmla="*/ 87144 h 47"/>
                <a:gd name="T2" fmla="*/ 0 w 47"/>
                <a:gd name="T3" fmla="*/ 66810 h 47"/>
                <a:gd name="T4" fmla="*/ 13680 w 47"/>
                <a:gd name="T5" fmla="*/ 58096 h 47"/>
                <a:gd name="T6" fmla="*/ 13680 w 47"/>
                <a:gd name="T7" fmla="*/ 43572 h 47"/>
                <a:gd name="T8" fmla="*/ 21887 w 47"/>
                <a:gd name="T9" fmla="*/ 31953 h 47"/>
                <a:gd name="T10" fmla="*/ 16415 w 47"/>
                <a:gd name="T11" fmla="*/ 17429 h 47"/>
                <a:gd name="T12" fmla="*/ 27359 w 47"/>
                <a:gd name="T13" fmla="*/ 0 h 47"/>
                <a:gd name="T14" fmla="*/ 95757 w 47"/>
                <a:gd name="T15" fmla="*/ 0 h 47"/>
                <a:gd name="T16" fmla="*/ 95757 w 47"/>
                <a:gd name="T17" fmla="*/ 0 h 47"/>
                <a:gd name="T18" fmla="*/ 93021 w 47"/>
                <a:gd name="T19" fmla="*/ 11619 h 47"/>
                <a:gd name="T20" fmla="*/ 95757 w 47"/>
                <a:gd name="T21" fmla="*/ 23238 h 47"/>
                <a:gd name="T22" fmla="*/ 120380 w 47"/>
                <a:gd name="T23" fmla="*/ 29048 h 47"/>
                <a:gd name="T24" fmla="*/ 106701 w 47"/>
                <a:gd name="T25" fmla="*/ 49381 h 47"/>
                <a:gd name="T26" fmla="*/ 120380 w 47"/>
                <a:gd name="T27" fmla="*/ 69715 h 47"/>
                <a:gd name="T28" fmla="*/ 109437 w 47"/>
                <a:gd name="T29" fmla="*/ 104572 h 47"/>
                <a:gd name="T30" fmla="*/ 62926 w 47"/>
                <a:gd name="T31" fmla="*/ 92953 h 47"/>
                <a:gd name="T32" fmla="*/ 60190 w 47"/>
                <a:gd name="T33" fmla="*/ 110382 h 47"/>
                <a:gd name="T34" fmla="*/ 73870 w 47"/>
                <a:gd name="T35" fmla="*/ 116191 h 47"/>
                <a:gd name="T36" fmla="*/ 68398 w 47"/>
                <a:gd name="T37" fmla="*/ 133620 h 47"/>
                <a:gd name="T38" fmla="*/ 60190 w 47"/>
                <a:gd name="T39" fmla="*/ 130715 h 47"/>
                <a:gd name="T40" fmla="*/ 46511 w 47"/>
                <a:gd name="T41" fmla="*/ 136525 h 47"/>
                <a:gd name="T42" fmla="*/ 32831 w 47"/>
                <a:gd name="T43" fmla="*/ 122001 h 47"/>
                <a:gd name="T44" fmla="*/ 8208 w 47"/>
                <a:gd name="T45" fmla="*/ 87144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7">
                  <a:moveTo>
                    <a:pt x="3" y="30"/>
                  </a:moveTo>
                  <a:cubicBezTo>
                    <a:pt x="2" y="28"/>
                    <a:pt x="0" y="24"/>
                    <a:pt x="0" y="23"/>
                  </a:cubicBezTo>
                  <a:cubicBezTo>
                    <a:pt x="0" y="22"/>
                    <a:pt x="5" y="22"/>
                    <a:pt x="5" y="20"/>
                  </a:cubicBezTo>
                  <a:cubicBezTo>
                    <a:pt x="5" y="19"/>
                    <a:pt x="4" y="16"/>
                    <a:pt x="5" y="15"/>
                  </a:cubicBezTo>
                  <a:cubicBezTo>
                    <a:pt x="6" y="13"/>
                    <a:pt x="8" y="12"/>
                    <a:pt x="8" y="11"/>
                  </a:cubicBezTo>
                  <a:cubicBezTo>
                    <a:pt x="8" y="9"/>
                    <a:pt x="5" y="8"/>
                    <a:pt x="6" y="6"/>
                  </a:cubicBezTo>
                  <a:cubicBezTo>
                    <a:pt x="7" y="5"/>
                    <a:pt x="9" y="2"/>
                    <a:pt x="10" y="0"/>
                  </a:cubicBezTo>
                  <a:cubicBezTo>
                    <a:pt x="11" y="0"/>
                    <a:pt x="26" y="0"/>
                    <a:pt x="35" y="0"/>
                  </a:cubicBezTo>
                  <a:cubicBezTo>
                    <a:pt x="35" y="0"/>
                    <a:pt x="35" y="0"/>
                    <a:pt x="35" y="0"/>
                  </a:cubicBezTo>
                  <a:cubicBezTo>
                    <a:pt x="34" y="4"/>
                    <a:pt x="34" y="4"/>
                    <a:pt x="34" y="4"/>
                  </a:cubicBezTo>
                  <a:cubicBezTo>
                    <a:pt x="34" y="4"/>
                    <a:pt x="34" y="5"/>
                    <a:pt x="35" y="8"/>
                  </a:cubicBezTo>
                  <a:cubicBezTo>
                    <a:pt x="36" y="11"/>
                    <a:pt x="41" y="8"/>
                    <a:pt x="44" y="10"/>
                  </a:cubicBezTo>
                  <a:cubicBezTo>
                    <a:pt x="47" y="12"/>
                    <a:pt x="40" y="14"/>
                    <a:pt x="39" y="17"/>
                  </a:cubicBezTo>
                  <a:cubicBezTo>
                    <a:pt x="38" y="19"/>
                    <a:pt x="42" y="21"/>
                    <a:pt x="44" y="24"/>
                  </a:cubicBezTo>
                  <a:cubicBezTo>
                    <a:pt x="46" y="27"/>
                    <a:pt x="43" y="36"/>
                    <a:pt x="40" y="36"/>
                  </a:cubicBezTo>
                  <a:cubicBezTo>
                    <a:pt x="38" y="36"/>
                    <a:pt x="23" y="32"/>
                    <a:pt x="23" y="32"/>
                  </a:cubicBezTo>
                  <a:cubicBezTo>
                    <a:pt x="22" y="38"/>
                    <a:pt x="22" y="38"/>
                    <a:pt x="22" y="38"/>
                  </a:cubicBezTo>
                  <a:cubicBezTo>
                    <a:pt x="27" y="40"/>
                    <a:pt x="27" y="40"/>
                    <a:pt x="27" y="40"/>
                  </a:cubicBezTo>
                  <a:cubicBezTo>
                    <a:pt x="25" y="46"/>
                    <a:pt x="25" y="46"/>
                    <a:pt x="25" y="46"/>
                  </a:cubicBezTo>
                  <a:cubicBezTo>
                    <a:pt x="25" y="46"/>
                    <a:pt x="24" y="46"/>
                    <a:pt x="22" y="45"/>
                  </a:cubicBezTo>
                  <a:cubicBezTo>
                    <a:pt x="21" y="44"/>
                    <a:pt x="19" y="46"/>
                    <a:pt x="17" y="47"/>
                  </a:cubicBezTo>
                  <a:cubicBezTo>
                    <a:pt x="15" y="45"/>
                    <a:pt x="14" y="43"/>
                    <a:pt x="12" y="42"/>
                  </a:cubicBezTo>
                  <a:cubicBezTo>
                    <a:pt x="9" y="39"/>
                    <a:pt x="5" y="33"/>
                    <a:pt x="3" y="3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1" name="Freeform 316"/>
            <p:cNvSpPr>
              <a:spLocks/>
            </p:cNvSpPr>
            <p:nvPr>
              <p:custDataLst>
                <p:tags r:id="rId230"/>
              </p:custDataLst>
            </p:nvPr>
          </p:nvSpPr>
          <p:spPr bwMode="auto">
            <a:xfrm>
              <a:off x="2843" y="2561"/>
              <a:ext cx="103" cy="165"/>
            </a:xfrm>
            <a:custGeom>
              <a:avLst/>
              <a:gdLst>
                <a:gd name="T0" fmla="*/ 0 w 60"/>
                <a:gd name="T1" fmla="*/ 192088 h 90"/>
                <a:gd name="T2" fmla="*/ 8176 w 60"/>
                <a:gd name="T3" fmla="*/ 165894 h 90"/>
                <a:gd name="T4" fmla="*/ 35428 w 60"/>
                <a:gd name="T5" fmla="*/ 139700 h 90"/>
                <a:gd name="T6" fmla="*/ 49054 w 60"/>
                <a:gd name="T7" fmla="*/ 139700 h 90"/>
                <a:gd name="T8" fmla="*/ 59955 w 60"/>
                <a:gd name="T9" fmla="*/ 151342 h 90"/>
                <a:gd name="T10" fmla="*/ 79031 w 60"/>
                <a:gd name="T11" fmla="*/ 113506 h 90"/>
                <a:gd name="T12" fmla="*/ 98108 w 60"/>
                <a:gd name="T13" fmla="*/ 78581 h 90"/>
                <a:gd name="T14" fmla="*/ 109009 w 60"/>
                <a:gd name="T15" fmla="*/ 43656 h 90"/>
                <a:gd name="T16" fmla="*/ 122635 w 60"/>
                <a:gd name="T17" fmla="*/ 29104 h 90"/>
                <a:gd name="T18" fmla="*/ 114459 w 60"/>
                <a:gd name="T19" fmla="*/ 17463 h 90"/>
                <a:gd name="T20" fmla="*/ 111734 w 60"/>
                <a:gd name="T21" fmla="*/ 2910 h 90"/>
                <a:gd name="T22" fmla="*/ 122635 w 60"/>
                <a:gd name="T23" fmla="*/ 0 h 90"/>
                <a:gd name="T24" fmla="*/ 130810 w 60"/>
                <a:gd name="T25" fmla="*/ 8731 h 90"/>
                <a:gd name="T26" fmla="*/ 141711 w 60"/>
                <a:gd name="T27" fmla="*/ 26194 h 90"/>
                <a:gd name="T28" fmla="*/ 149887 w 60"/>
                <a:gd name="T29" fmla="*/ 72761 h 90"/>
                <a:gd name="T30" fmla="*/ 122635 w 60"/>
                <a:gd name="T31" fmla="*/ 72761 h 90"/>
                <a:gd name="T32" fmla="*/ 114459 w 60"/>
                <a:gd name="T33" fmla="*/ 78581 h 90"/>
                <a:gd name="T34" fmla="*/ 141711 w 60"/>
                <a:gd name="T35" fmla="*/ 113506 h 90"/>
                <a:gd name="T36" fmla="*/ 144436 w 60"/>
                <a:gd name="T37" fmla="*/ 128059 h 90"/>
                <a:gd name="T38" fmla="*/ 136261 w 60"/>
                <a:gd name="T39" fmla="*/ 142611 h 90"/>
                <a:gd name="T40" fmla="*/ 128085 w 60"/>
                <a:gd name="T41" fmla="*/ 183357 h 90"/>
                <a:gd name="T42" fmla="*/ 158063 w 60"/>
                <a:gd name="T43" fmla="*/ 229923 h 90"/>
                <a:gd name="T44" fmla="*/ 160788 w 60"/>
                <a:gd name="T45" fmla="*/ 238655 h 90"/>
                <a:gd name="T46" fmla="*/ 160788 w 60"/>
                <a:gd name="T47" fmla="*/ 259028 h 90"/>
                <a:gd name="T48" fmla="*/ 122635 w 60"/>
                <a:gd name="T49" fmla="*/ 247386 h 90"/>
                <a:gd name="T50" fmla="*/ 100833 w 60"/>
                <a:gd name="T51" fmla="*/ 244475 h 90"/>
                <a:gd name="T52" fmla="*/ 32703 w 60"/>
                <a:gd name="T53" fmla="*/ 244475 h 90"/>
                <a:gd name="T54" fmla="*/ 32703 w 60"/>
                <a:gd name="T55" fmla="*/ 241565 h 90"/>
                <a:gd name="T56" fmla="*/ 27252 w 60"/>
                <a:gd name="T57" fmla="*/ 215371 h 90"/>
                <a:gd name="T58" fmla="*/ 5450 w 60"/>
                <a:gd name="T59" fmla="*/ 192088 h 90"/>
                <a:gd name="T60" fmla="*/ 0 w 60"/>
                <a:gd name="T61" fmla="*/ 192088 h 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0" h="90">
                  <a:moveTo>
                    <a:pt x="0" y="66"/>
                  </a:moveTo>
                  <a:cubicBezTo>
                    <a:pt x="0" y="66"/>
                    <a:pt x="1" y="60"/>
                    <a:pt x="3" y="57"/>
                  </a:cubicBezTo>
                  <a:cubicBezTo>
                    <a:pt x="4" y="55"/>
                    <a:pt x="11" y="48"/>
                    <a:pt x="13" y="48"/>
                  </a:cubicBezTo>
                  <a:cubicBezTo>
                    <a:pt x="15" y="48"/>
                    <a:pt x="16" y="48"/>
                    <a:pt x="18" y="48"/>
                  </a:cubicBezTo>
                  <a:cubicBezTo>
                    <a:pt x="19" y="49"/>
                    <a:pt x="20" y="53"/>
                    <a:pt x="22" y="52"/>
                  </a:cubicBezTo>
                  <a:cubicBezTo>
                    <a:pt x="24" y="51"/>
                    <a:pt x="26" y="43"/>
                    <a:pt x="29" y="39"/>
                  </a:cubicBezTo>
                  <a:cubicBezTo>
                    <a:pt x="32" y="35"/>
                    <a:pt x="36" y="30"/>
                    <a:pt x="36" y="27"/>
                  </a:cubicBezTo>
                  <a:cubicBezTo>
                    <a:pt x="36" y="25"/>
                    <a:pt x="38" y="17"/>
                    <a:pt x="40" y="15"/>
                  </a:cubicBezTo>
                  <a:cubicBezTo>
                    <a:pt x="42" y="14"/>
                    <a:pt x="47" y="13"/>
                    <a:pt x="45" y="10"/>
                  </a:cubicBezTo>
                  <a:cubicBezTo>
                    <a:pt x="44" y="7"/>
                    <a:pt x="42" y="6"/>
                    <a:pt x="42" y="6"/>
                  </a:cubicBezTo>
                  <a:cubicBezTo>
                    <a:pt x="41" y="1"/>
                    <a:pt x="41" y="1"/>
                    <a:pt x="41" y="1"/>
                  </a:cubicBezTo>
                  <a:cubicBezTo>
                    <a:pt x="41" y="1"/>
                    <a:pt x="44" y="0"/>
                    <a:pt x="45" y="0"/>
                  </a:cubicBezTo>
                  <a:cubicBezTo>
                    <a:pt x="46" y="0"/>
                    <a:pt x="47" y="1"/>
                    <a:pt x="48" y="3"/>
                  </a:cubicBezTo>
                  <a:cubicBezTo>
                    <a:pt x="50" y="6"/>
                    <a:pt x="53" y="5"/>
                    <a:pt x="52" y="9"/>
                  </a:cubicBezTo>
                  <a:cubicBezTo>
                    <a:pt x="51" y="14"/>
                    <a:pt x="55" y="23"/>
                    <a:pt x="55" y="25"/>
                  </a:cubicBezTo>
                  <a:cubicBezTo>
                    <a:pt x="54" y="27"/>
                    <a:pt x="45" y="25"/>
                    <a:pt x="45" y="25"/>
                  </a:cubicBezTo>
                  <a:cubicBezTo>
                    <a:pt x="42" y="27"/>
                    <a:pt x="42" y="27"/>
                    <a:pt x="42" y="27"/>
                  </a:cubicBezTo>
                  <a:cubicBezTo>
                    <a:pt x="42" y="27"/>
                    <a:pt x="50" y="35"/>
                    <a:pt x="52" y="39"/>
                  </a:cubicBezTo>
                  <a:cubicBezTo>
                    <a:pt x="54" y="41"/>
                    <a:pt x="54" y="43"/>
                    <a:pt x="53" y="44"/>
                  </a:cubicBezTo>
                  <a:cubicBezTo>
                    <a:pt x="53" y="46"/>
                    <a:pt x="51" y="47"/>
                    <a:pt x="50" y="49"/>
                  </a:cubicBezTo>
                  <a:cubicBezTo>
                    <a:pt x="48" y="52"/>
                    <a:pt x="47" y="60"/>
                    <a:pt x="47" y="63"/>
                  </a:cubicBezTo>
                  <a:cubicBezTo>
                    <a:pt x="48" y="67"/>
                    <a:pt x="56" y="77"/>
                    <a:pt x="58" y="79"/>
                  </a:cubicBezTo>
                  <a:cubicBezTo>
                    <a:pt x="58" y="79"/>
                    <a:pt x="59" y="81"/>
                    <a:pt x="59" y="82"/>
                  </a:cubicBezTo>
                  <a:cubicBezTo>
                    <a:pt x="60" y="85"/>
                    <a:pt x="60" y="89"/>
                    <a:pt x="59" y="89"/>
                  </a:cubicBezTo>
                  <a:cubicBezTo>
                    <a:pt x="57" y="90"/>
                    <a:pt x="48" y="85"/>
                    <a:pt x="45" y="85"/>
                  </a:cubicBezTo>
                  <a:cubicBezTo>
                    <a:pt x="44" y="85"/>
                    <a:pt x="41" y="85"/>
                    <a:pt x="37" y="84"/>
                  </a:cubicBezTo>
                  <a:cubicBezTo>
                    <a:pt x="28" y="84"/>
                    <a:pt x="13" y="84"/>
                    <a:pt x="12" y="84"/>
                  </a:cubicBezTo>
                  <a:cubicBezTo>
                    <a:pt x="12" y="84"/>
                    <a:pt x="12" y="83"/>
                    <a:pt x="12" y="83"/>
                  </a:cubicBezTo>
                  <a:cubicBezTo>
                    <a:pt x="12" y="81"/>
                    <a:pt x="13" y="76"/>
                    <a:pt x="10" y="74"/>
                  </a:cubicBezTo>
                  <a:cubicBezTo>
                    <a:pt x="7" y="72"/>
                    <a:pt x="2" y="66"/>
                    <a:pt x="2" y="66"/>
                  </a:cubicBezTo>
                  <a:cubicBezTo>
                    <a:pt x="2" y="66"/>
                    <a:pt x="1" y="66"/>
                    <a:pt x="0" y="6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2" name="Freeform 317"/>
            <p:cNvSpPr>
              <a:spLocks/>
            </p:cNvSpPr>
            <p:nvPr>
              <p:custDataLst>
                <p:tags r:id="rId231"/>
              </p:custDataLst>
            </p:nvPr>
          </p:nvSpPr>
          <p:spPr bwMode="auto">
            <a:xfrm>
              <a:off x="2826" y="2198"/>
              <a:ext cx="58" cy="112"/>
            </a:xfrm>
            <a:custGeom>
              <a:avLst/>
              <a:gdLst>
                <a:gd name="T0" fmla="*/ 21665 w 34"/>
                <a:gd name="T1" fmla="*/ 116590 h 61"/>
                <a:gd name="T2" fmla="*/ 5416 w 34"/>
                <a:gd name="T3" fmla="*/ 99102 h 61"/>
                <a:gd name="T4" fmla="*/ 18957 w 34"/>
                <a:gd name="T5" fmla="*/ 72869 h 61"/>
                <a:gd name="T6" fmla="*/ 24373 w 34"/>
                <a:gd name="T7" fmla="*/ 34977 h 61"/>
                <a:gd name="T8" fmla="*/ 27081 w 34"/>
                <a:gd name="T9" fmla="*/ 8744 h 61"/>
                <a:gd name="T10" fmla="*/ 27081 w 34"/>
                <a:gd name="T11" fmla="*/ 8744 h 61"/>
                <a:gd name="T12" fmla="*/ 40621 w 34"/>
                <a:gd name="T13" fmla="*/ 5830 h 61"/>
                <a:gd name="T14" fmla="*/ 59578 w 34"/>
                <a:gd name="T15" fmla="*/ 2915 h 61"/>
                <a:gd name="T16" fmla="*/ 64994 w 34"/>
                <a:gd name="T17" fmla="*/ 17489 h 61"/>
                <a:gd name="T18" fmla="*/ 81243 w 34"/>
                <a:gd name="T19" fmla="*/ 8744 h 61"/>
                <a:gd name="T20" fmla="*/ 86659 w 34"/>
                <a:gd name="T21" fmla="*/ 14574 h 61"/>
                <a:gd name="T22" fmla="*/ 67702 w 34"/>
                <a:gd name="T23" fmla="*/ 32062 h 61"/>
                <a:gd name="T24" fmla="*/ 81243 w 34"/>
                <a:gd name="T25" fmla="*/ 49551 h 61"/>
                <a:gd name="T26" fmla="*/ 67702 w 34"/>
                <a:gd name="T27" fmla="*/ 72869 h 61"/>
                <a:gd name="T28" fmla="*/ 59578 w 34"/>
                <a:gd name="T29" fmla="*/ 87443 h 61"/>
                <a:gd name="T30" fmla="*/ 78535 w 34"/>
                <a:gd name="T31" fmla="*/ 93272 h 61"/>
                <a:gd name="T32" fmla="*/ 92075 w 34"/>
                <a:gd name="T33" fmla="*/ 104931 h 61"/>
                <a:gd name="T34" fmla="*/ 92075 w 34"/>
                <a:gd name="T35" fmla="*/ 104931 h 61"/>
                <a:gd name="T36" fmla="*/ 86659 w 34"/>
                <a:gd name="T37" fmla="*/ 128249 h 61"/>
                <a:gd name="T38" fmla="*/ 70410 w 34"/>
                <a:gd name="T39" fmla="*/ 148652 h 61"/>
                <a:gd name="T40" fmla="*/ 67702 w 34"/>
                <a:gd name="T41" fmla="*/ 177800 h 61"/>
                <a:gd name="T42" fmla="*/ 48746 w 34"/>
                <a:gd name="T43" fmla="*/ 177800 h 61"/>
                <a:gd name="T44" fmla="*/ 35205 w 34"/>
                <a:gd name="T45" fmla="*/ 136993 h 61"/>
                <a:gd name="T46" fmla="*/ 21665 w 34"/>
                <a:gd name="T47" fmla="*/ 116590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4" h="61">
                  <a:moveTo>
                    <a:pt x="8" y="40"/>
                  </a:moveTo>
                  <a:cubicBezTo>
                    <a:pt x="7" y="39"/>
                    <a:pt x="4" y="36"/>
                    <a:pt x="2" y="34"/>
                  </a:cubicBezTo>
                  <a:cubicBezTo>
                    <a:pt x="0" y="31"/>
                    <a:pt x="5" y="27"/>
                    <a:pt x="7" y="25"/>
                  </a:cubicBezTo>
                  <a:cubicBezTo>
                    <a:pt x="8" y="24"/>
                    <a:pt x="9" y="14"/>
                    <a:pt x="9" y="12"/>
                  </a:cubicBezTo>
                  <a:cubicBezTo>
                    <a:pt x="9" y="10"/>
                    <a:pt x="10" y="3"/>
                    <a:pt x="10" y="3"/>
                  </a:cubicBezTo>
                  <a:cubicBezTo>
                    <a:pt x="10" y="3"/>
                    <a:pt x="10" y="3"/>
                    <a:pt x="10" y="3"/>
                  </a:cubicBezTo>
                  <a:cubicBezTo>
                    <a:pt x="10" y="3"/>
                    <a:pt x="12" y="3"/>
                    <a:pt x="15" y="2"/>
                  </a:cubicBezTo>
                  <a:cubicBezTo>
                    <a:pt x="17" y="1"/>
                    <a:pt x="20" y="0"/>
                    <a:pt x="22" y="1"/>
                  </a:cubicBezTo>
                  <a:cubicBezTo>
                    <a:pt x="23" y="1"/>
                    <a:pt x="22" y="6"/>
                    <a:pt x="24" y="6"/>
                  </a:cubicBezTo>
                  <a:cubicBezTo>
                    <a:pt x="25" y="6"/>
                    <a:pt x="29" y="2"/>
                    <a:pt x="30" y="3"/>
                  </a:cubicBezTo>
                  <a:cubicBezTo>
                    <a:pt x="31" y="4"/>
                    <a:pt x="32" y="4"/>
                    <a:pt x="32" y="5"/>
                  </a:cubicBezTo>
                  <a:cubicBezTo>
                    <a:pt x="32" y="6"/>
                    <a:pt x="24" y="10"/>
                    <a:pt x="25" y="11"/>
                  </a:cubicBezTo>
                  <a:cubicBezTo>
                    <a:pt x="27" y="12"/>
                    <a:pt x="30" y="15"/>
                    <a:pt x="30" y="17"/>
                  </a:cubicBezTo>
                  <a:cubicBezTo>
                    <a:pt x="30" y="18"/>
                    <a:pt x="28" y="25"/>
                    <a:pt x="25" y="25"/>
                  </a:cubicBezTo>
                  <a:cubicBezTo>
                    <a:pt x="23" y="26"/>
                    <a:pt x="20" y="28"/>
                    <a:pt x="22" y="30"/>
                  </a:cubicBezTo>
                  <a:cubicBezTo>
                    <a:pt x="23" y="32"/>
                    <a:pt x="28" y="30"/>
                    <a:pt x="29" y="32"/>
                  </a:cubicBezTo>
                  <a:cubicBezTo>
                    <a:pt x="30" y="33"/>
                    <a:pt x="32" y="35"/>
                    <a:pt x="34" y="36"/>
                  </a:cubicBezTo>
                  <a:cubicBezTo>
                    <a:pt x="34" y="36"/>
                    <a:pt x="34" y="36"/>
                    <a:pt x="34" y="36"/>
                  </a:cubicBezTo>
                  <a:cubicBezTo>
                    <a:pt x="33" y="37"/>
                    <a:pt x="34" y="42"/>
                    <a:pt x="32" y="44"/>
                  </a:cubicBezTo>
                  <a:cubicBezTo>
                    <a:pt x="31" y="45"/>
                    <a:pt x="27" y="50"/>
                    <a:pt x="26" y="51"/>
                  </a:cubicBezTo>
                  <a:cubicBezTo>
                    <a:pt x="24" y="53"/>
                    <a:pt x="26" y="60"/>
                    <a:pt x="25" y="61"/>
                  </a:cubicBezTo>
                  <a:cubicBezTo>
                    <a:pt x="25" y="61"/>
                    <a:pt x="21" y="61"/>
                    <a:pt x="18" y="61"/>
                  </a:cubicBezTo>
                  <a:cubicBezTo>
                    <a:pt x="16" y="56"/>
                    <a:pt x="14" y="48"/>
                    <a:pt x="13" y="47"/>
                  </a:cubicBezTo>
                  <a:cubicBezTo>
                    <a:pt x="13" y="45"/>
                    <a:pt x="8" y="41"/>
                    <a:pt x="8" y="4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3" name="Freeform 318"/>
            <p:cNvSpPr>
              <a:spLocks/>
            </p:cNvSpPr>
            <p:nvPr>
              <p:custDataLst>
                <p:tags r:id="rId232"/>
              </p:custDataLst>
            </p:nvPr>
          </p:nvSpPr>
          <p:spPr bwMode="auto">
            <a:xfrm>
              <a:off x="2735" y="2410"/>
              <a:ext cx="208" cy="173"/>
            </a:xfrm>
            <a:custGeom>
              <a:avLst/>
              <a:gdLst>
                <a:gd name="T0" fmla="*/ 30018 w 121"/>
                <a:gd name="T1" fmla="*/ 251265 h 94"/>
                <a:gd name="T2" fmla="*/ 10916 w 121"/>
                <a:gd name="T3" fmla="*/ 230813 h 94"/>
                <a:gd name="T4" fmla="*/ 0 w 121"/>
                <a:gd name="T5" fmla="*/ 213283 h 94"/>
                <a:gd name="T6" fmla="*/ 2729 w 121"/>
                <a:gd name="T7" fmla="*/ 195753 h 94"/>
                <a:gd name="T8" fmla="*/ 19102 w 121"/>
                <a:gd name="T9" fmla="*/ 198674 h 94"/>
                <a:gd name="T10" fmla="*/ 70952 w 121"/>
                <a:gd name="T11" fmla="*/ 189909 h 94"/>
                <a:gd name="T12" fmla="*/ 81868 w 121"/>
                <a:gd name="T13" fmla="*/ 154849 h 94"/>
                <a:gd name="T14" fmla="*/ 84597 w 121"/>
                <a:gd name="T15" fmla="*/ 102259 h 94"/>
                <a:gd name="T16" fmla="*/ 117344 w 121"/>
                <a:gd name="T17" fmla="*/ 96415 h 94"/>
                <a:gd name="T18" fmla="*/ 147362 w 121"/>
                <a:gd name="T19" fmla="*/ 64277 h 94"/>
                <a:gd name="T20" fmla="*/ 240145 w 121"/>
                <a:gd name="T21" fmla="*/ 2922 h 94"/>
                <a:gd name="T22" fmla="*/ 245603 w 121"/>
                <a:gd name="T23" fmla="*/ 0 h 94"/>
                <a:gd name="T24" fmla="*/ 267435 w 121"/>
                <a:gd name="T25" fmla="*/ 8765 h 94"/>
                <a:gd name="T26" fmla="*/ 289266 w 121"/>
                <a:gd name="T27" fmla="*/ 23373 h 94"/>
                <a:gd name="T28" fmla="*/ 308369 w 121"/>
                <a:gd name="T29" fmla="*/ 11687 h 94"/>
                <a:gd name="T30" fmla="*/ 308369 w 121"/>
                <a:gd name="T31" fmla="*/ 23373 h 94"/>
                <a:gd name="T32" fmla="*/ 311098 w 121"/>
                <a:gd name="T33" fmla="*/ 49669 h 94"/>
                <a:gd name="T34" fmla="*/ 330200 w 121"/>
                <a:gd name="T35" fmla="*/ 75964 h 94"/>
                <a:gd name="T36" fmla="*/ 322013 w 121"/>
                <a:gd name="T37" fmla="*/ 90572 h 94"/>
                <a:gd name="T38" fmla="*/ 316555 w 121"/>
                <a:gd name="T39" fmla="*/ 154849 h 94"/>
                <a:gd name="T40" fmla="*/ 278350 w 121"/>
                <a:gd name="T41" fmla="*/ 210361 h 94"/>
                <a:gd name="T42" fmla="*/ 275621 w 121"/>
                <a:gd name="T43" fmla="*/ 227891 h 94"/>
                <a:gd name="T44" fmla="*/ 248332 w 121"/>
                <a:gd name="T45" fmla="*/ 242500 h 94"/>
                <a:gd name="T46" fmla="*/ 218314 w 121"/>
                <a:gd name="T47" fmla="*/ 236656 h 94"/>
                <a:gd name="T48" fmla="*/ 196483 w 121"/>
                <a:gd name="T49" fmla="*/ 251265 h 94"/>
                <a:gd name="T50" fmla="*/ 161007 w 121"/>
                <a:gd name="T51" fmla="*/ 236656 h 94"/>
                <a:gd name="T52" fmla="*/ 139175 w 121"/>
                <a:gd name="T53" fmla="*/ 242500 h 94"/>
                <a:gd name="T54" fmla="*/ 111886 w 121"/>
                <a:gd name="T55" fmla="*/ 227891 h 94"/>
                <a:gd name="T56" fmla="*/ 81868 w 121"/>
                <a:gd name="T57" fmla="*/ 236656 h 94"/>
                <a:gd name="T58" fmla="*/ 70952 w 121"/>
                <a:gd name="T59" fmla="*/ 274638 h 94"/>
                <a:gd name="T60" fmla="*/ 54579 w 121"/>
                <a:gd name="T61" fmla="*/ 257108 h 94"/>
                <a:gd name="T62" fmla="*/ 40934 w 121"/>
                <a:gd name="T63" fmla="*/ 262951 h 94"/>
                <a:gd name="T64" fmla="*/ 30018 w 121"/>
                <a:gd name="T65" fmla="*/ 251265 h 9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1" h="94">
                  <a:moveTo>
                    <a:pt x="11" y="86"/>
                  </a:moveTo>
                  <a:cubicBezTo>
                    <a:pt x="9" y="84"/>
                    <a:pt x="5" y="81"/>
                    <a:pt x="4" y="79"/>
                  </a:cubicBezTo>
                  <a:cubicBezTo>
                    <a:pt x="2" y="77"/>
                    <a:pt x="0" y="75"/>
                    <a:pt x="0" y="73"/>
                  </a:cubicBezTo>
                  <a:cubicBezTo>
                    <a:pt x="1" y="67"/>
                    <a:pt x="1" y="67"/>
                    <a:pt x="1" y="67"/>
                  </a:cubicBezTo>
                  <a:cubicBezTo>
                    <a:pt x="3" y="67"/>
                    <a:pt x="6" y="68"/>
                    <a:pt x="7" y="68"/>
                  </a:cubicBezTo>
                  <a:cubicBezTo>
                    <a:pt x="8" y="68"/>
                    <a:pt x="24" y="65"/>
                    <a:pt x="26" y="65"/>
                  </a:cubicBezTo>
                  <a:cubicBezTo>
                    <a:pt x="28" y="65"/>
                    <a:pt x="30" y="55"/>
                    <a:pt x="30" y="53"/>
                  </a:cubicBezTo>
                  <a:cubicBezTo>
                    <a:pt x="31" y="35"/>
                    <a:pt x="31" y="35"/>
                    <a:pt x="31" y="35"/>
                  </a:cubicBezTo>
                  <a:cubicBezTo>
                    <a:pt x="43" y="33"/>
                    <a:pt x="43" y="33"/>
                    <a:pt x="43" y="33"/>
                  </a:cubicBezTo>
                  <a:cubicBezTo>
                    <a:pt x="43" y="33"/>
                    <a:pt x="52" y="24"/>
                    <a:pt x="54" y="22"/>
                  </a:cubicBezTo>
                  <a:cubicBezTo>
                    <a:pt x="55" y="20"/>
                    <a:pt x="81" y="5"/>
                    <a:pt x="88" y="1"/>
                  </a:cubicBezTo>
                  <a:cubicBezTo>
                    <a:pt x="89" y="0"/>
                    <a:pt x="90" y="0"/>
                    <a:pt x="90" y="0"/>
                  </a:cubicBezTo>
                  <a:cubicBezTo>
                    <a:pt x="98" y="3"/>
                    <a:pt x="98" y="3"/>
                    <a:pt x="98" y="3"/>
                  </a:cubicBezTo>
                  <a:cubicBezTo>
                    <a:pt x="106" y="8"/>
                    <a:pt x="106" y="8"/>
                    <a:pt x="106" y="8"/>
                  </a:cubicBezTo>
                  <a:cubicBezTo>
                    <a:pt x="113" y="4"/>
                    <a:pt x="113" y="4"/>
                    <a:pt x="113" y="4"/>
                  </a:cubicBezTo>
                  <a:cubicBezTo>
                    <a:pt x="113" y="8"/>
                    <a:pt x="113" y="8"/>
                    <a:pt x="113" y="8"/>
                  </a:cubicBezTo>
                  <a:cubicBezTo>
                    <a:pt x="114" y="17"/>
                    <a:pt x="114" y="17"/>
                    <a:pt x="114" y="17"/>
                  </a:cubicBezTo>
                  <a:cubicBezTo>
                    <a:pt x="121" y="26"/>
                    <a:pt x="121" y="26"/>
                    <a:pt x="121" y="26"/>
                  </a:cubicBezTo>
                  <a:cubicBezTo>
                    <a:pt x="121" y="26"/>
                    <a:pt x="119" y="29"/>
                    <a:pt x="118" y="31"/>
                  </a:cubicBezTo>
                  <a:cubicBezTo>
                    <a:pt x="117" y="33"/>
                    <a:pt x="117" y="52"/>
                    <a:pt x="116" y="53"/>
                  </a:cubicBezTo>
                  <a:cubicBezTo>
                    <a:pt x="116" y="54"/>
                    <a:pt x="102" y="71"/>
                    <a:pt x="102" y="72"/>
                  </a:cubicBezTo>
                  <a:cubicBezTo>
                    <a:pt x="101" y="73"/>
                    <a:pt x="102" y="77"/>
                    <a:pt x="101" y="78"/>
                  </a:cubicBezTo>
                  <a:cubicBezTo>
                    <a:pt x="100" y="79"/>
                    <a:pt x="94" y="83"/>
                    <a:pt x="91" y="83"/>
                  </a:cubicBezTo>
                  <a:cubicBezTo>
                    <a:pt x="88" y="83"/>
                    <a:pt x="82" y="81"/>
                    <a:pt x="80" y="81"/>
                  </a:cubicBezTo>
                  <a:cubicBezTo>
                    <a:pt x="78" y="81"/>
                    <a:pt x="74" y="85"/>
                    <a:pt x="72" y="86"/>
                  </a:cubicBezTo>
                  <a:cubicBezTo>
                    <a:pt x="70" y="87"/>
                    <a:pt x="61" y="82"/>
                    <a:pt x="59" y="81"/>
                  </a:cubicBezTo>
                  <a:cubicBezTo>
                    <a:pt x="57" y="80"/>
                    <a:pt x="51" y="85"/>
                    <a:pt x="51" y="83"/>
                  </a:cubicBezTo>
                  <a:cubicBezTo>
                    <a:pt x="51" y="82"/>
                    <a:pt x="44" y="77"/>
                    <a:pt x="41" y="78"/>
                  </a:cubicBezTo>
                  <a:cubicBezTo>
                    <a:pt x="38" y="78"/>
                    <a:pt x="31" y="78"/>
                    <a:pt x="30" y="81"/>
                  </a:cubicBezTo>
                  <a:cubicBezTo>
                    <a:pt x="28" y="84"/>
                    <a:pt x="27" y="90"/>
                    <a:pt x="26" y="94"/>
                  </a:cubicBezTo>
                  <a:cubicBezTo>
                    <a:pt x="20" y="88"/>
                    <a:pt x="20" y="88"/>
                    <a:pt x="20" y="88"/>
                  </a:cubicBezTo>
                  <a:cubicBezTo>
                    <a:pt x="15" y="90"/>
                    <a:pt x="15" y="90"/>
                    <a:pt x="15" y="90"/>
                  </a:cubicBezTo>
                  <a:cubicBezTo>
                    <a:pt x="14" y="89"/>
                    <a:pt x="13" y="88"/>
                    <a:pt x="11" y="8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4" name="Freeform 319"/>
            <p:cNvSpPr>
              <a:spLocks/>
            </p:cNvSpPr>
            <p:nvPr>
              <p:custDataLst>
                <p:tags r:id="rId233"/>
              </p:custDataLst>
            </p:nvPr>
          </p:nvSpPr>
          <p:spPr bwMode="auto">
            <a:xfrm>
              <a:off x="2769" y="2552"/>
              <a:ext cx="154" cy="137"/>
            </a:xfrm>
            <a:custGeom>
              <a:avLst/>
              <a:gdLst>
                <a:gd name="T0" fmla="*/ 16298 w 90"/>
                <a:gd name="T1" fmla="*/ 49297 h 75"/>
                <a:gd name="T2" fmla="*/ 27164 w 90"/>
                <a:gd name="T3" fmla="*/ 11599 h 75"/>
                <a:gd name="T4" fmla="*/ 57044 w 90"/>
                <a:gd name="T5" fmla="*/ 2900 h 75"/>
                <a:gd name="T6" fmla="*/ 84208 w 90"/>
                <a:gd name="T7" fmla="*/ 17399 h 75"/>
                <a:gd name="T8" fmla="*/ 105939 w 90"/>
                <a:gd name="T9" fmla="*/ 11599 h 75"/>
                <a:gd name="T10" fmla="*/ 141252 w 90"/>
                <a:gd name="T11" fmla="*/ 26099 h 75"/>
                <a:gd name="T12" fmla="*/ 162983 w 90"/>
                <a:gd name="T13" fmla="*/ 11599 h 75"/>
                <a:gd name="T14" fmla="*/ 192864 w 90"/>
                <a:gd name="T15" fmla="*/ 17399 h 75"/>
                <a:gd name="T16" fmla="*/ 220028 w 90"/>
                <a:gd name="T17" fmla="*/ 2900 h 75"/>
                <a:gd name="T18" fmla="*/ 228177 w 90"/>
                <a:gd name="T19" fmla="*/ 17399 h 75"/>
                <a:gd name="T20" fmla="*/ 230893 w 90"/>
                <a:gd name="T21" fmla="*/ 31898 h 75"/>
                <a:gd name="T22" fmla="*/ 239042 w 90"/>
                <a:gd name="T23" fmla="*/ 43498 h 75"/>
                <a:gd name="T24" fmla="*/ 225460 w 90"/>
                <a:gd name="T25" fmla="*/ 57997 h 75"/>
                <a:gd name="T26" fmla="*/ 214595 w 90"/>
                <a:gd name="T27" fmla="*/ 92795 h 75"/>
                <a:gd name="T28" fmla="*/ 195580 w 90"/>
                <a:gd name="T29" fmla="*/ 127593 h 75"/>
                <a:gd name="T30" fmla="*/ 176565 w 90"/>
                <a:gd name="T31" fmla="*/ 165291 h 75"/>
                <a:gd name="T32" fmla="*/ 165700 w 90"/>
                <a:gd name="T33" fmla="*/ 153692 h 75"/>
                <a:gd name="T34" fmla="*/ 152118 w 90"/>
                <a:gd name="T35" fmla="*/ 153692 h 75"/>
                <a:gd name="T36" fmla="*/ 124954 w 90"/>
                <a:gd name="T37" fmla="*/ 179790 h 75"/>
                <a:gd name="T38" fmla="*/ 116805 w 90"/>
                <a:gd name="T39" fmla="*/ 205889 h 75"/>
                <a:gd name="T40" fmla="*/ 92357 w 90"/>
                <a:gd name="T41" fmla="*/ 211688 h 75"/>
                <a:gd name="T42" fmla="*/ 62477 w 90"/>
                <a:gd name="T43" fmla="*/ 208788 h 75"/>
                <a:gd name="T44" fmla="*/ 35313 w 90"/>
                <a:gd name="T45" fmla="*/ 168191 h 75"/>
                <a:gd name="T46" fmla="*/ 2716 w 90"/>
                <a:gd name="T47" fmla="*/ 165291 h 75"/>
                <a:gd name="T48" fmla="*/ 0 w 90"/>
                <a:gd name="T49" fmla="*/ 110194 h 75"/>
                <a:gd name="T50" fmla="*/ 19015 w 90"/>
                <a:gd name="T51" fmla="*/ 81196 h 75"/>
                <a:gd name="T52" fmla="*/ 16298 w 90"/>
                <a:gd name="T53" fmla="*/ 4929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0" h="75">
                  <a:moveTo>
                    <a:pt x="6" y="17"/>
                  </a:moveTo>
                  <a:cubicBezTo>
                    <a:pt x="7" y="13"/>
                    <a:pt x="8" y="7"/>
                    <a:pt x="10" y="4"/>
                  </a:cubicBezTo>
                  <a:cubicBezTo>
                    <a:pt x="11" y="1"/>
                    <a:pt x="18" y="1"/>
                    <a:pt x="21" y="1"/>
                  </a:cubicBezTo>
                  <a:cubicBezTo>
                    <a:pt x="24" y="0"/>
                    <a:pt x="31" y="5"/>
                    <a:pt x="31" y="6"/>
                  </a:cubicBezTo>
                  <a:cubicBezTo>
                    <a:pt x="31" y="8"/>
                    <a:pt x="37" y="3"/>
                    <a:pt x="39" y="4"/>
                  </a:cubicBezTo>
                  <a:cubicBezTo>
                    <a:pt x="41" y="5"/>
                    <a:pt x="50" y="10"/>
                    <a:pt x="52" y="9"/>
                  </a:cubicBezTo>
                  <a:cubicBezTo>
                    <a:pt x="54" y="8"/>
                    <a:pt x="58" y="4"/>
                    <a:pt x="60" y="4"/>
                  </a:cubicBezTo>
                  <a:cubicBezTo>
                    <a:pt x="62" y="4"/>
                    <a:pt x="68" y="6"/>
                    <a:pt x="71" y="6"/>
                  </a:cubicBezTo>
                  <a:cubicBezTo>
                    <a:pt x="74" y="6"/>
                    <a:pt x="80" y="2"/>
                    <a:pt x="81" y="1"/>
                  </a:cubicBezTo>
                  <a:cubicBezTo>
                    <a:pt x="84" y="6"/>
                    <a:pt x="84" y="6"/>
                    <a:pt x="84" y="6"/>
                  </a:cubicBezTo>
                  <a:cubicBezTo>
                    <a:pt x="85" y="11"/>
                    <a:pt x="85" y="11"/>
                    <a:pt x="85" y="11"/>
                  </a:cubicBezTo>
                  <a:cubicBezTo>
                    <a:pt x="85" y="11"/>
                    <a:pt x="87" y="12"/>
                    <a:pt x="88" y="15"/>
                  </a:cubicBezTo>
                  <a:cubicBezTo>
                    <a:pt x="90" y="18"/>
                    <a:pt x="85" y="19"/>
                    <a:pt x="83" y="20"/>
                  </a:cubicBezTo>
                  <a:cubicBezTo>
                    <a:pt x="81" y="22"/>
                    <a:pt x="79" y="30"/>
                    <a:pt x="79" y="32"/>
                  </a:cubicBezTo>
                  <a:cubicBezTo>
                    <a:pt x="79" y="35"/>
                    <a:pt x="75" y="40"/>
                    <a:pt x="72" y="44"/>
                  </a:cubicBezTo>
                  <a:cubicBezTo>
                    <a:pt x="69" y="48"/>
                    <a:pt x="67" y="56"/>
                    <a:pt x="65" y="57"/>
                  </a:cubicBezTo>
                  <a:cubicBezTo>
                    <a:pt x="63" y="58"/>
                    <a:pt x="62" y="54"/>
                    <a:pt x="61" y="53"/>
                  </a:cubicBezTo>
                  <a:cubicBezTo>
                    <a:pt x="59" y="53"/>
                    <a:pt x="58" y="53"/>
                    <a:pt x="56" y="53"/>
                  </a:cubicBezTo>
                  <a:cubicBezTo>
                    <a:pt x="54" y="53"/>
                    <a:pt x="47" y="60"/>
                    <a:pt x="46" y="62"/>
                  </a:cubicBezTo>
                  <a:cubicBezTo>
                    <a:pt x="44" y="65"/>
                    <a:pt x="43" y="71"/>
                    <a:pt x="43" y="71"/>
                  </a:cubicBezTo>
                  <a:cubicBezTo>
                    <a:pt x="40" y="72"/>
                    <a:pt x="36" y="73"/>
                    <a:pt x="34" y="73"/>
                  </a:cubicBezTo>
                  <a:cubicBezTo>
                    <a:pt x="32" y="73"/>
                    <a:pt x="25" y="75"/>
                    <a:pt x="23" y="72"/>
                  </a:cubicBezTo>
                  <a:cubicBezTo>
                    <a:pt x="20" y="70"/>
                    <a:pt x="18" y="60"/>
                    <a:pt x="13" y="58"/>
                  </a:cubicBezTo>
                  <a:cubicBezTo>
                    <a:pt x="11" y="57"/>
                    <a:pt x="6" y="57"/>
                    <a:pt x="1" y="57"/>
                  </a:cubicBezTo>
                  <a:cubicBezTo>
                    <a:pt x="0" y="38"/>
                    <a:pt x="0" y="38"/>
                    <a:pt x="0" y="38"/>
                  </a:cubicBezTo>
                  <a:cubicBezTo>
                    <a:pt x="0" y="38"/>
                    <a:pt x="5" y="32"/>
                    <a:pt x="7" y="28"/>
                  </a:cubicBezTo>
                  <a:cubicBezTo>
                    <a:pt x="9" y="25"/>
                    <a:pt x="6" y="21"/>
                    <a:pt x="6" y="1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5" name="Freeform 320"/>
            <p:cNvSpPr>
              <a:spLocks/>
            </p:cNvSpPr>
            <p:nvPr>
              <p:custDataLst>
                <p:tags r:id="rId234"/>
              </p:custDataLst>
            </p:nvPr>
          </p:nvSpPr>
          <p:spPr bwMode="auto">
            <a:xfrm>
              <a:off x="2740" y="2572"/>
              <a:ext cx="44" cy="86"/>
            </a:xfrm>
            <a:custGeom>
              <a:avLst/>
              <a:gdLst>
                <a:gd name="T0" fmla="*/ 10746 w 26"/>
                <a:gd name="T1" fmla="*/ 52286 h 47"/>
                <a:gd name="T2" fmla="*/ 0 w 26"/>
                <a:gd name="T3" fmla="*/ 40667 h 47"/>
                <a:gd name="T4" fmla="*/ 2687 w 26"/>
                <a:gd name="T5" fmla="*/ 34857 h 47"/>
                <a:gd name="T6" fmla="*/ 13433 w 26"/>
                <a:gd name="T7" fmla="*/ 23238 h 47"/>
                <a:gd name="T8" fmla="*/ 32238 w 26"/>
                <a:gd name="T9" fmla="*/ 11619 h 47"/>
                <a:gd name="T10" fmla="*/ 32238 w 26"/>
                <a:gd name="T11" fmla="*/ 5810 h 47"/>
                <a:gd name="T12" fmla="*/ 45671 w 26"/>
                <a:gd name="T13" fmla="*/ 0 h 47"/>
                <a:gd name="T14" fmla="*/ 61790 w 26"/>
                <a:gd name="T15" fmla="*/ 17429 h 47"/>
                <a:gd name="T16" fmla="*/ 64477 w 26"/>
                <a:gd name="T17" fmla="*/ 49381 h 47"/>
                <a:gd name="T18" fmla="*/ 45671 w 26"/>
                <a:gd name="T19" fmla="*/ 78429 h 47"/>
                <a:gd name="T20" fmla="*/ 48358 w 26"/>
                <a:gd name="T21" fmla="*/ 133620 h 47"/>
                <a:gd name="T22" fmla="*/ 24179 w 26"/>
                <a:gd name="T23" fmla="*/ 136525 h 47"/>
                <a:gd name="T24" fmla="*/ 18806 w 26"/>
                <a:gd name="T25" fmla="*/ 122001 h 47"/>
                <a:gd name="T26" fmla="*/ 18806 w 26"/>
                <a:gd name="T27" fmla="*/ 75524 h 47"/>
                <a:gd name="T28" fmla="*/ 10746 w 26"/>
                <a:gd name="T29" fmla="*/ 52286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47">
                  <a:moveTo>
                    <a:pt x="4" y="18"/>
                  </a:moveTo>
                  <a:cubicBezTo>
                    <a:pt x="4" y="18"/>
                    <a:pt x="0" y="17"/>
                    <a:pt x="0" y="14"/>
                  </a:cubicBezTo>
                  <a:cubicBezTo>
                    <a:pt x="0" y="13"/>
                    <a:pt x="0" y="12"/>
                    <a:pt x="1" y="12"/>
                  </a:cubicBezTo>
                  <a:cubicBezTo>
                    <a:pt x="2" y="10"/>
                    <a:pt x="4" y="9"/>
                    <a:pt x="5" y="8"/>
                  </a:cubicBezTo>
                  <a:cubicBezTo>
                    <a:pt x="7" y="7"/>
                    <a:pt x="13" y="7"/>
                    <a:pt x="12" y="4"/>
                  </a:cubicBezTo>
                  <a:cubicBezTo>
                    <a:pt x="12" y="3"/>
                    <a:pt x="12" y="3"/>
                    <a:pt x="12" y="2"/>
                  </a:cubicBezTo>
                  <a:cubicBezTo>
                    <a:pt x="17" y="0"/>
                    <a:pt x="17" y="0"/>
                    <a:pt x="17" y="0"/>
                  </a:cubicBezTo>
                  <a:cubicBezTo>
                    <a:pt x="23" y="6"/>
                    <a:pt x="23" y="6"/>
                    <a:pt x="23" y="6"/>
                  </a:cubicBezTo>
                  <a:cubicBezTo>
                    <a:pt x="23" y="10"/>
                    <a:pt x="26" y="14"/>
                    <a:pt x="24" y="17"/>
                  </a:cubicBezTo>
                  <a:cubicBezTo>
                    <a:pt x="22" y="21"/>
                    <a:pt x="17" y="27"/>
                    <a:pt x="17" y="27"/>
                  </a:cubicBezTo>
                  <a:cubicBezTo>
                    <a:pt x="18" y="46"/>
                    <a:pt x="18" y="46"/>
                    <a:pt x="18" y="46"/>
                  </a:cubicBezTo>
                  <a:cubicBezTo>
                    <a:pt x="15" y="47"/>
                    <a:pt x="11" y="47"/>
                    <a:pt x="9" y="47"/>
                  </a:cubicBezTo>
                  <a:cubicBezTo>
                    <a:pt x="8" y="45"/>
                    <a:pt x="7" y="45"/>
                    <a:pt x="7" y="42"/>
                  </a:cubicBezTo>
                  <a:cubicBezTo>
                    <a:pt x="7" y="39"/>
                    <a:pt x="9" y="28"/>
                    <a:pt x="7" y="26"/>
                  </a:cubicBezTo>
                  <a:cubicBezTo>
                    <a:pt x="6" y="23"/>
                    <a:pt x="4" y="18"/>
                    <a:pt x="4"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6" name="Freeform 321"/>
            <p:cNvSpPr>
              <a:spLocks/>
            </p:cNvSpPr>
            <p:nvPr>
              <p:custDataLst>
                <p:tags r:id="rId235"/>
              </p:custDataLst>
            </p:nvPr>
          </p:nvSpPr>
          <p:spPr bwMode="auto">
            <a:xfrm>
              <a:off x="2725" y="2592"/>
              <a:ext cx="30" cy="72"/>
            </a:xfrm>
            <a:custGeom>
              <a:avLst/>
              <a:gdLst>
                <a:gd name="T0" fmla="*/ 8404 w 17"/>
                <a:gd name="T1" fmla="*/ 29308 h 39"/>
                <a:gd name="T2" fmla="*/ 2801 w 17"/>
                <a:gd name="T3" fmla="*/ 8792 h 39"/>
                <a:gd name="T4" fmla="*/ 2801 w 17"/>
                <a:gd name="T5" fmla="*/ 0 h 39"/>
                <a:gd name="T6" fmla="*/ 8404 w 17"/>
                <a:gd name="T7" fmla="*/ 0 h 39"/>
                <a:gd name="T8" fmla="*/ 25213 w 17"/>
                <a:gd name="T9" fmla="*/ 2931 h 39"/>
                <a:gd name="T10" fmla="*/ 22412 w 17"/>
                <a:gd name="T11" fmla="*/ 8792 h 39"/>
                <a:gd name="T12" fmla="*/ 33618 w 17"/>
                <a:gd name="T13" fmla="*/ 20515 h 39"/>
                <a:gd name="T14" fmla="*/ 42022 w 17"/>
                <a:gd name="T15" fmla="*/ 43962 h 39"/>
                <a:gd name="T16" fmla="*/ 42022 w 17"/>
                <a:gd name="T17" fmla="*/ 90854 h 39"/>
                <a:gd name="T18" fmla="*/ 47625 w 17"/>
                <a:gd name="T19" fmla="*/ 105508 h 39"/>
                <a:gd name="T20" fmla="*/ 28015 w 17"/>
                <a:gd name="T21" fmla="*/ 114300 h 39"/>
                <a:gd name="T22" fmla="*/ 28015 w 17"/>
                <a:gd name="T23" fmla="*/ 114300 h 39"/>
                <a:gd name="T24" fmla="*/ 19610 w 17"/>
                <a:gd name="T25" fmla="*/ 93785 h 39"/>
                <a:gd name="T26" fmla="*/ 19610 w 17"/>
                <a:gd name="T27" fmla="*/ 58615 h 39"/>
                <a:gd name="T28" fmla="*/ 8404 w 17"/>
                <a:gd name="T29" fmla="*/ 29308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 h="39">
                  <a:moveTo>
                    <a:pt x="3" y="10"/>
                  </a:moveTo>
                  <a:cubicBezTo>
                    <a:pt x="1" y="7"/>
                    <a:pt x="0" y="4"/>
                    <a:pt x="1" y="3"/>
                  </a:cubicBezTo>
                  <a:cubicBezTo>
                    <a:pt x="1" y="0"/>
                    <a:pt x="1" y="0"/>
                    <a:pt x="1" y="0"/>
                  </a:cubicBezTo>
                  <a:cubicBezTo>
                    <a:pt x="1" y="0"/>
                    <a:pt x="2" y="0"/>
                    <a:pt x="3" y="0"/>
                  </a:cubicBezTo>
                  <a:cubicBezTo>
                    <a:pt x="5" y="0"/>
                    <a:pt x="9" y="1"/>
                    <a:pt x="9" y="1"/>
                  </a:cubicBezTo>
                  <a:cubicBezTo>
                    <a:pt x="8" y="1"/>
                    <a:pt x="8" y="2"/>
                    <a:pt x="8" y="3"/>
                  </a:cubicBezTo>
                  <a:cubicBezTo>
                    <a:pt x="8" y="6"/>
                    <a:pt x="12" y="7"/>
                    <a:pt x="12" y="7"/>
                  </a:cubicBezTo>
                  <a:cubicBezTo>
                    <a:pt x="12" y="7"/>
                    <a:pt x="14" y="12"/>
                    <a:pt x="15" y="15"/>
                  </a:cubicBezTo>
                  <a:cubicBezTo>
                    <a:pt x="17" y="17"/>
                    <a:pt x="15" y="28"/>
                    <a:pt x="15" y="31"/>
                  </a:cubicBezTo>
                  <a:cubicBezTo>
                    <a:pt x="15" y="34"/>
                    <a:pt x="16" y="34"/>
                    <a:pt x="17" y="36"/>
                  </a:cubicBezTo>
                  <a:cubicBezTo>
                    <a:pt x="13" y="37"/>
                    <a:pt x="12" y="38"/>
                    <a:pt x="10" y="39"/>
                  </a:cubicBezTo>
                  <a:cubicBezTo>
                    <a:pt x="10" y="39"/>
                    <a:pt x="10" y="39"/>
                    <a:pt x="10" y="39"/>
                  </a:cubicBezTo>
                  <a:cubicBezTo>
                    <a:pt x="10" y="39"/>
                    <a:pt x="8" y="35"/>
                    <a:pt x="7" y="32"/>
                  </a:cubicBezTo>
                  <a:cubicBezTo>
                    <a:pt x="6" y="30"/>
                    <a:pt x="7" y="23"/>
                    <a:pt x="7" y="20"/>
                  </a:cubicBezTo>
                  <a:cubicBezTo>
                    <a:pt x="7" y="17"/>
                    <a:pt x="5" y="12"/>
                    <a:pt x="3" y="1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7" name="Freeform 322"/>
            <p:cNvSpPr>
              <a:spLocks/>
            </p:cNvSpPr>
            <p:nvPr>
              <p:custDataLst>
                <p:tags r:id="rId236"/>
              </p:custDataLst>
            </p:nvPr>
          </p:nvSpPr>
          <p:spPr bwMode="auto">
            <a:xfrm>
              <a:off x="2688" y="2592"/>
              <a:ext cx="56" cy="88"/>
            </a:xfrm>
            <a:custGeom>
              <a:avLst/>
              <a:gdLst>
                <a:gd name="T0" fmla="*/ 11113 w 32"/>
                <a:gd name="T1" fmla="*/ 0 h 48"/>
                <a:gd name="T2" fmla="*/ 55563 w 32"/>
                <a:gd name="T3" fmla="*/ 0 h 48"/>
                <a:gd name="T4" fmla="*/ 63897 w 32"/>
                <a:gd name="T5" fmla="*/ 0 h 48"/>
                <a:gd name="T6" fmla="*/ 63897 w 32"/>
                <a:gd name="T7" fmla="*/ 8731 h 48"/>
                <a:gd name="T8" fmla="*/ 69453 w 32"/>
                <a:gd name="T9" fmla="*/ 29104 h 48"/>
                <a:gd name="T10" fmla="*/ 80566 w 32"/>
                <a:gd name="T11" fmla="*/ 58208 h 48"/>
                <a:gd name="T12" fmla="*/ 80566 w 32"/>
                <a:gd name="T13" fmla="*/ 93133 h 48"/>
                <a:gd name="T14" fmla="*/ 88900 w 32"/>
                <a:gd name="T15" fmla="*/ 113506 h 48"/>
                <a:gd name="T16" fmla="*/ 88900 w 32"/>
                <a:gd name="T17" fmla="*/ 113506 h 48"/>
                <a:gd name="T18" fmla="*/ 83344 w 32"/>
                <a:gd name="T19" fmla="*/ 116417 h 48"/>
                <a:gd name="T20" fmla="*/ 27781 w 32"/>
                <a:gd name="T21" fmla="*/ 139700 h 48"/>
                <a:gd name="T22" fmla="*/ 8334 w 32"/>
                <a:gd name="T23" fmla="*/ 136790 h 48"/>
                <a:gd name="T24" fmla="*/ 11113 w 32"/>
                <a:gd name="T25" fmla="*/ 116417 h 48"/>
                <a:gd name="T26" fmla="*/ 2778 w 32"/>
                <a:gd name="T27" fmla="*/ 96044 h 48"/>
                <a:gd name="T28" fmla="*/ 16669 w 32"/>
                <a:gd name="T29" fmla="*/ 55298 h 48"/>
                <a:gd name="T30" fmla="*/ 8334 w 32"/>
                <a:gd name="T31" fmla="*/ 32015 h 48"/>
                <a:gd name="T32" fmla="*/ 8334 w 32"/>
                <a:gd name="T33" fmla="*/ 32015 h 48"/>
                <a:gd name="T34" fmla="*/ 11113 w 32"/>
                <a:gd name="T35" fmla="*/ 0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48">
                  <a:moveTo>
                    <a:pt x="4" y="0"/>
                  </a:moveTo>
                  <a:cubicBezTo>
                    <a:pt x="20" y="0"/>
                    <a:pt x="20" y="0"/>
                    <a:pt x="20" y="0"/>
                  </a:cubicBezTo>
                  <a:cubicBezTo>
                    <a:pt x="20" y="0"/>
                    <a:pt x="21" y="0"/>
                    <a:pt x="23" y="0"/>
                  </a:cubicBezTo>
                  <a:cubicBezTo>
                    <a:pt x="23" y="0"/>
                    <a:pt x="23" y="0"/>
                    <a:pt x="23" y="3"/>
                  </a:cubicBezTo>
                  <a:cubicBezTo>
                    <a:pt x="22" y="4"/>
                    <a:pt x="23" y="7"/>
                    <a:pt x="25" y="10"/>
                  </a:cubicBezTo>
                  <a:cubicBezTo>
                    <a:pt x="27" y="12"/>
                    <a:pt x="29" y="17"/>
                    <a:pt x="29" y="20"/>
                  </a:cubicBezTo>
                  <a:cubicBezTo>
                    <a:pt x="29" y="23"/>
                    <a:pt x="28" y="30"/>
                    <a:pt x="29" y="32"/>
                  </a:cubicBezTo>
                  <a:cubicBezTo>
                    <a:pt x="30" y="35"/>
                    <a:pt x="32" y="39"/>
                    <a:pt x="32" y="39"/>
                  </a:cubicBezTo>
                  <a:cubicBezTo>
                    <a:pt x="32" y="39"/>
                    <a:pt x="32" y="39"/>
                    <a:pt x="32" y="39"/>
                  </a:cubicBezTo>
                  <a:cubicBezTo>
                    <a:pt x="32" y="40"/>
                    <a:pt x="31" y="40"/>
                    <a:pt x="30" y="40"/>
                  </a:cubicBezTo>
                  <a:cubicBezTo>
                    <a:pt x="28" y="41"/>
                    <a:pt x="12" y="48"/>
                    <a:pt x="10" y="48"/>
                  </a:cubicBezTo>
                  <a:cubicBezTo>
                    <a:pt x="9" y="48"/>
                    <a:pt x="6" y="48"/>
                    <a:pt x="3" y="47"/>
                  </a:cubicBezTo>
                  <a:cubicBezTo>
                    <a:pt x="3" y="46"/>
                    <a:pt x="4" y="41"/>
                    <a:pt x="4" y="40"/>
                  </a:cubicBezTo>
                  <a:cubicBezTo>
                    <a:pt x="4" y="38"/>
                    <a:pt x="2" y="36"/>
                    <a:pt x="1" y="33"/>
                  </a:cubicBezTo>
                  <a:cubicBezTo>
                    <a:pt x="0" y="29"/>
                    <a:pt x="5" y="22"/>
                    <a:pt x="6" y="19"/>
                  </a:cubicBezTo>
                  <a:cubicBezTo>
                    <a:pt x="6" y="17"/>
                    <a:pt x="5" y="13"/>
                    <a:pt x="3" y="11"/>
                  </a:cubicBezTo>
                  <a:cubicBezTo>
                    <a:pt x="3" y="11"/>
                    <a:pt x="3" y="11"/>
                    <a:pt x="3" y="11"/>
                  </a:cubicBezTo>
                  <a:lnTo>
                    <a:pt x="4" y="0"/>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8" name="Freeform 323"/>
            <p:cNvSpPr>
              <a:spLocks/>
            </p:cNvSpPr>
            <p:nvPr>
              <p:custDataLst>
                <p:tags r:id="rId237"/>
              </p:custDataLst>
            </p:nvPr>
          </p:nvSpPr>
          <p:spPr bwMode="auto">
            <a:xfrm>
              <a:off x="2657" y="2534"/>
              <a:ext cx="105" cy="79"/>
            </a:xfrm>
            <a:custGeom>
              <a:avLst/>
              <a:gdLst>
                <a:gd name="T0" fmla="*/ 0 w 61"/>
                <a:gd name="T1" fmla="*/ 107914 h 43"/>
                <a:gd name="T2" fmla="*/ 8198 w 61"/>
                <a:gd name="T3" fmla="*/ 78748 h 43"/>
                <a:gd name="T4" fmla="*/ 24593 w 61"/>
                <a:gd name="T5" fmla="*/ 61248 h 43"/>
                <a:gd name="T6" fmla="*/ 21861 w 61"/>
                <a:gd name="T7" fmla="*/ 46665 h 43"/>
                <a:gd name="T8" fmla="*/ 38256 w 61"/>
                <a:gd name="T9" fmla="*/ 34999 h 43"/>
                <a:gd name="T10" fmla="*/ 49187 w 61"/>
                <a:gd name="T11" fmla="*/ 43749 h 43"/>
                <a:gd name="T12" fmla="*/ 68315 w 61"/>
                <a:gd name="T13" fmla="*/ 20416 h 43"/>
                <a:gd name="T14" fmla="*/ 106571 w 61"/>
                <a:gd name="T15" fmla="*/ 0 h 43"/>
                <a:gd name="T16" fmla="*/ 125699 w 61"/>
                <a:gd name="T17" fmla="*/ 0 h 43"/>
                <a:gd name="T18" fmla="*/ 122967 w 61"/>
                <a:gd name="T19" fmla="*/ 17499 h 43"/>
                <a:gd name="T20" fmla="*/ 133897 w 61"/>
                <a:gd name="T21" fmla="*/ 34999 h 43"/>
                <a:gd name="T22" fmla="*/ 153025 w 61"/>
                <a:gd name="T23" fmla="*/ 55415 h 43"/>
                <a:gd name="T24" fmla="*/ 163955 w 61"/>
                <a:gd name="T25" fmla="*/ 67081 h 43"/>
                <a:gd name="T26" fmla="*/ 163955 w 61"/>
                <a:gd name="T27" fmla="*/ 72915 h 43"/>
                <a:gd name="T28" fmla="*/ 144827 w 61"/>
                <a:gd name="T29" fmla="*/ 84581 h 43"/>
                <a:gd name="T30" fmla="*/ 133897 w 61"/>
                <a:gd name="T31" fmla="*/ 96247 h 43"/>
                <a:gd name="T32" fmla="*/ 117501 w 61"/>
                <a:gd name="T33" fmla="*/ 93331 h 43"/>
                <a:gd name="T34" fmla="*/ 112036 w 61"/>
                <a:gd name="T35" fmla="*/ 93331 h 43"/>
                <a:gd name="T36" fmla="*/ 103838 w 61"/>
                <a:gd name="T37" fmla="*/ 93331 h 43"/>
                <a:gd name="T38" fmla="*/ 60117 w 61"/>
                <a:gd name="T39" fmla="*/ 93331 h 43"/>
                <a:gd name="T40" fmla="*/ 57384 w 61"/>
                <a:gd name="T41" fmla="*/ 125413 h 43"/>
                <a:gd name="T42" fmla="*/ 57384 w 61"/>
                <a:gd name="T43" fmla="*/ 125413 h 43"/>
                <a:gd name="T44" fmla="*/ 49187 w 61"/>
                <a:gd name="T45" fmla="*/ 122496 h 43"/>
                <a:gd name="T46" fmla="*/ 24593 w 61"/>
                <a:gd name="T47" fmla="*/ 125413 h 43"/>
                <a:gd name="T48" fmla="*/ 0 w 61"/>
                <a:gd name="T49" fmla="*/ 107914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43">
                  <a:moveTo>
                    <a:pt x="0" y="37"/>
                  </a:moveTo>
                  <a:cubicBezTo>
                    <a:pt x="0" y="37"/>
                    <a:pt x="1" y="29"/>
                    <a:pt x="3" y="27"/>
                  </a:cubicBezTo>
                  <a:cubicBezTo>
                    <a:pt x="5" y="25"/>
                    <a:pt x="8" y="22"/>
                    <a:pt x="9" y="21"/>
                  </a:cubicBezTo>
                  <a:cubicBezTo>
                    <a:pt x="11" y="20"/>
                    <a:pt x="7" y="17"/>
                    <a:pt x="8" y="16"/>
                  </a:cubicBezTo>
                  <a:cubicBezTo>
                    <a:pt x="9" y="15"/>
                    <a:pt x="14" y="12"/>
                    <a:pt x="14" y="12"/>
                  </a:cubicBezTo>
                  <a:cubicBezTo>
                    <a:pt x="14" y="12"/>
                    <a:pt x="17" y="16"/>
                    <a:pt x="18" y="15"/>
                  </a:cubicBezTo>
                  <a:cubicBezTo>
                    <a:pt x="19" y="15"/>
                    <a:pt x="23" y="9"/>
                    <a:pt x="25" y="7"/>
                  </a:cubicBezTo>
                  <a:cubicBezTo>
                    <a:pt x="27" y="5"/>
                    <a:pt x="36" y="0"/>
                    <a:pt x="39" y="0"/>
                  </a:cubicBezTo>
                  <a:cubicBezTo>
                    <a:pt x="40" y="0"/>
                    <a:pt x="43" y="0"/>
                    <a:pt x="46" y="0"/>
                  </a:cubicBezTo>
                  <a:cubicBezTo>
                    <a:pt x="45" y="6"/>
                    <a:pt x="45" y="6"/>
                    <a:pt x="45" y="6"/>
                  </a:cubicBezTo>
                  <a:cubicBezTo>
                    <a:pt x="45" y="8"/>
                    <a:pt x="47" y="10"/>
                    <a:pt x="49" y="12"/>
                  </a:cubicBezTo>
                  <a:cubicBezTo>
                    <a:pt x="50" y="14"/>
                    <a:pt x="54" y="17"/>
                    <a:pt x="56" y="19"/>
                  </a:cubicBezTo>
                  <a:cubicBezTo>
                    <a:pt x="58" y="21"/>
                    <a:pt x="59" y="22"/>
                    <a:pt x="60" y="23"/>
                  </a:cubicBezTo>
                  <a:cubicBezTo>
                    <a:pt x="60" y="24"/>
                    <a:pt x="60" y="24"/>
                    <a:pt x="60" y="25"/>
                  </a:cubicBezTo>
                  <a:cubicBezTo>
                    <a:pt x="61" y="28"/>
                    <a:pt x="55" y="28"/>
                    <a:pt x="53" y="29"/>
                  </a:cubicBezTo>
                  <a:cubicBezTo>
                    <a:pt x="52" y="30"/>
                    <a:pt x="50" y="31"/>
                    <a:pt x="49" y="33"/>
                  </a:cubicBezTo>
                  <a:cubicBezTo>
                    <a:pt x="49" y="33"/>
                    <a:pt x="45" y="32"/>
                    <a:pt x="43" y="32"/>
                  </a:cubicBezTo>
                  <a:cubicBezTo>
                    <a:pt x="42" y="32"/>
                    <a:pt x="41" y="32"/>
                    <a:pt x="41" y="32"/>
                  </a:cubicBezTo>
                  <a:cubicBezTo>
                    <a:pt x="39" y="32"/>
                    <a:pt x="38" y="32"/>
                    <a:pt x="38" y="32"/>
                  </a:cubicBezTo>
                  <a:cubicBezTo>
                    <a:pt x="22" y="32"/>
                    <a:pt x="22" y="32"/>
                    <a:pt x="22" y="32"/>
                  </a:cubicBezTo>
                  <a:cubicBezTo>
                    <a:pt x="21" y="43"/>
                    <a:pt x="21" y="43"/>
                    <a:pt x="21" y="43"/>
                  </a:cubicBezTo>
                  <a:cubicBezTo>
                    <a:pt x="21" y="43"/>
                    <a:pt x="21" y="43"/>
                    <a:pt x="21" y="43"/>
                  </a:cubicBezTo>
                  <a:cubicBezTo>
                    <a:pt x="20" y="42"/>
                    <a:pt x="19" y="42"/>
                    <a:pt x="18" y="42"/>
                  </a:cubicBezTo>
                  <a:cubicBezTo>
                    <a:pt x="15" y="41"/>
                    <a:pt x="12" y="43"/>
                    <a:pt x="9" y="43"/>
                  </a:cubicBezTo>
                  <a:cubicBezTo>
                    <a:pt x="7" y="43"/>
                    <a:pt x="2" y="37"/>
                    <a:pt x="0" y="3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69" name="Freeform 324"/>
            <p:cNvSpPr>
              <a:spLocks/>
            </p:cNvSpPr>
            <p:nvPr>
              <p:custDataLst>
                <p:tags r:id="rId238"/>
              </p:custDataLst>
            </p:nvPr>
          </p:nvSpPr>
          <p:spPr bwMode="auto">
            <a:xfrm>
              <a:off x="2618" y="2203"/>
              <a:ext cx="268" cy="274"/>
            </a:xfrm>
            <a:custGeom>
              <a:avLst/>
              <a:gdLst>
                <a:gd name="T0" fmla="*/ 79090 w 156"/>
                <a:gd name="T1" fmla="*/ 300687 h 149"/>
                <a:gd name="T2" fmla="*/ 0 w 156"/>
                <a:gd name="T3" fmla="*/ 245221 h 149"/>
                <a:gd name="T4" fmla="*/ 0 w 156"/>
                <a:gd name="T5" fmla="*/ 236463 h 149"/>
                <a:gd name="T6" fmla="*/ 2727 w 156"/>
                <a:gd name="T7" fmla="*/ 207270 h 149"/>
                <a:gd name="T8" fmla="*/ 35454 w 156"/>
                <a:gd name="T9" fmla="*/ 183916 h 149"/>
                <a:gd name="T10" fmla="*/ 70908 w 156"/>
                <a:gd name="T11" fmla="*/ 178077 h 149"/>
                <a:gd name="T12" fmla="*/ 79090 w 156"/>
                <a:gd name="T13" fmla="*/ 160561 h 149"/>
                <a:gd name="T14" fmla="*/ 103635 w 156"/>
                <a:gd name="T15" fmla="*/ 151803 h 149"/>
                <a:gd name="T16" fmla="*/ 106363 w 156"/>
                <a:gd name="T17" fmla="*/ 131368 h 149"/>
                <a:gd name="T18" fmla="*/ 155453 w 156"/>
                <a:gd name="T19" fmla="*/ 122610 h 149"/>
                <a:gd name="T20" fmla="*/ 158180 w 156"/>
                <a:gd name="T21" fmla="*/ 108014 h 149"/>
                <a:gd name="T22" fmla="*/ 144544 w 156"/>
                <a:gd name="T23" fmla="*/ 81740 h 149"/>
                <a:gd name="T24" fmla="*/ 139089 w 156"/>
                <a:gd name="T25" fmla="*/ 49628 h 149"/>
                <a:gd name="T26" fmla="*/ 139089 w 156"/>
                <a:gd name="T27" fmla="*/ 49628 h 149"/>
                <a:gd name="T28" fmla="*/ 149998 w 156"/>
                <a:gd name="T29" fmla="*/ 46709 h 149"/>
                <a:gd name="T30" fmla="*/ 169089 w 156"/>
                <a:gd name="T31" fmla="*/ 32112 h 149"/>
                <a:gd name="T32" fmla="*/ 201816 w 156"/>
                <a:gd name="T33" fmla="*/ 14596 h 149"/>
                <a:gd name="T34" fmla="*/ 231816 w 156"/>
                <a:gd name="T35" fmla="*/ 11677 h 149"/>
                <a:gd name="T36" fmla="*/ 256361 w 156"/>
                <a:gd name="T37" fmla="*/ 2919 h 149"/>
                <a:gd name="T38" fmla="*/ 278179 w 156"/>
                <a:gd name="T39" fmla="*/ 2919 h 149"/>
                <a:gd name="T40" fmla="*/ 294542 w 156"/>
                <a:gd name="T41" fmla="*/ 11677 h 149"/>
                <a:gd name="T42" fmla="*/ 313633 w 156"/>
                <a:gd name="T43" fmla="*/ 0 h 149"/>
                <a:gd name="T44" fmla="*/ 335451 w 156"/>
                <a:gd name="T45" fmla="*/ 0 h 149"/>
                <a:gd name="T46" fmla="*/ 357269 w 156"/>
                <a:gd name="T47" fmla="*/ 0 h 149"/>
                <a:gd name="T48" fmla="*/ 354542 w 156"/>
                <a:gd name="T49" fmla="*/ 26274 h 149"/>
                <a:gd name="T50" fmla="*/ 349087 w 156"/>
                <a:gd name="T51" fmla="*/ 64224 h 149"/>
                <a:gd name="T52" fmla="*/ 335451 w 156"/>
                <a:gd name="T53" fmla="*/ 90498 h 149"/>
                <a:gd name="T54" fmla="*/ 351814 w 156"/>
                <a:gd name="T55" fmla="*/ 108014 h 149"/>
                <a:gd name="T56" fmla="*/ 365451 w 156"/>
                <a:gd name="T57" fmla="*/ 128449 h 149"/>
                <a:gd name="T58" fmla="*/ 379087 w 156"/>
                <a:gd name="T59" fmla="*/ 169319 h 149"/>
                <a:gd name="T60" fmla="*/ 381814 w 156"/>
                <a:gd name="T61" fmla="*/ 180996 h 149"/>
                <a:gd name="T62" fmla="*/ 387269 w 156"/>
                <a:gd name="T63" fmla="*/ 251059 h 149"/>
                <a:gd name="T64" fmla="*/ 376360 w 156"/>
                <a:gd name="T65" fmla="*/ 271494 h 149"/>
                <a:gd name="T66" fmla="*/ 392723 w 156"/>
                <a:gd name="T67" fmla="*/ 303607 h 149"/>
                <a:gd name="T68" fmla="*/ 417268 w 156"/>
                <a:gd name="T69" fmla="*/ 309445 h 149"/>
                <a:gd name="T70" fmla="*/ 425450 w 156"/>
                <a:gd name="T71" fmla="*/ 332800 h 149"/>
                <a:gd name="T72" fmla="*/ 332724 w 156"/>
                <a:gd name="T73" fmla="*/ 394105 h 149"/>
                <a:gd name="T74" fmla="*/ 302724 w 156"/>
                <a:gd name="T75" fmla="*/ 426217 h 149"/>
                <a:gd name="T76" fmla="*/ 269997 w 156"/>
                <a:gd name="T77" fmla="*/ 432056 h 149"/>
                <a:gd name="T78" fmla="*/ 248179 w 156"/>
                <a:gd name="T79" fmla="*/ 434975 h 149"/>
                <a:gd name="T80" fmla="*/ 239997 w 156"/>
                <a:gd name="T81" fmla="*/ 414540 h 149"/>
                <a:gd name="T82" fmla="*/ 207271 w 156"/>
                <a:gd name="T83" fmla="*/ 397024 h 149"/>
                <a:gd name="T84" fmla="*/ 201816 w 156"/>
                <a:gd name="T85" fmla="*/ 385347 h 149"/>
                <a:gd name="T86" fmla="*/ 79090 w 156"/>
                <a:gd name="T87" fmla="*/ 300687 h 1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6" h="149">
                  <a:moveTo>
                    <a:pt x="29" y="103"/>
                  </a:moveTo>
                  <a:cubicBezTo>
                    <a:pt x="0" y="84"/>
                    <a:pt x="0" y="84"/>
                    <a:pt x="0" y="84"/>
                  </a:cubicBezTo>
                  <a:cubicBezTo>
                    <a:pt x="0" y="81"/>
                    <a:pt x="0" y="81"/>
                    <a:pt x="0" y="81"/>
                  </a:cubicBezTo>
                  <a:cubicBezTo>
                    <a:pt x="1" y="71"/>
                    <a:pt x="1" y="71"/>
                    <a:pt x="1" y="71"/>
                  </a:cubicBezTo>
                  <a:cubicBezTo>
                    <a:pt x="1" y="71"/>
                    <a:pt x="10" y="64"/>
                    <a:pt x="13" y="63"/>
                  </a:cubicBezTo>
                  <a:cubicBezTo>
                    <a:pt x="16" y="63"/>
                    <a:pt x="25" y="63"/>
                    <a:pt x="26" y="61"/>
                  </a:cubicBezTo>
                  <a:cubicBezTo>
                    <a:pt x="28" y="60"/>
                    <a:pt x="27" y="55"/>
                    <a:pt x="29" y="55"/>
                  </a:cubicBezTo>
                  <a:cubicBezTo>
                    <a:pt x="32" y="55"/>
                    <a:pt x="36" y="53"/>
                    <a:pt x="38" y="52"/>
                  </a:cubicBezTo>
                  <a:cubicBezTo>
                    <a:pt x="40" y="52"/>
                    <a:pt x="37" y="47"/>
                    <a:pt x="39" y="45"/>
                  </a:cubicBezTo>
                  <a:cubicBezTo>
                    <a:pt x="41" y="44"/>
                    <a:pt x="57" y="42"/>
                    <a:pt x="57" y="42"/>
                  </a:cubicBezTo>
                  <a:cubicBezTo>
                    <a:pt x="57" y="42"/>
                    <a:pt x="58" y="38"/>
                    <a:pt x="58" y="37"/>
                  </a:cubicBezTo>
                  <a:cubicBezTo>
                    <a:pt x="58" y="35"/>
                    <a:pt x="53" y="32"/>
                    <a:pt x="53" y="28"/>
                  </a:cubicBezTo>
                  <a:cubicBezTo>
                    <a:pt x="53" y="25"/>
                    <a:pt x="51" y="17"/>
                    <a:pt x="51" y="17"/>
                  </a:cubicBezTo>
                  <a:cubicBezTo>
                    <a:pt x="51" y="17"/>
                    <a:pt x="51" y="17"/>
                    <a:pt x="51" y="17"/>
                  </a:cubicBezTo>
                  <a:cubicBezTo>
                    <a:pt x="52" y="17"/>
                    <a:pt x="53" y="16"/>
                    <a:pt x="55" y="16"/>
                  </a:cubicBezTo>
                  <a:cubicBezTo>
                    <a:pt x="58" y="16"/>
                    <a:pt x="59" y="13"/>
                    <a:pt x="62" y="11"/>
                  </a:cubicBezTo>
                  <a:cubicBezTo>
                    <a:pt x="65" y="9"/>
                    <a:pt x="70" y="6"/>
                    <a:pt x="74" y="5"/>
                  </a:cubicBezTo>
                  <a:cubicBezTo>
                    <a:pt x="78" y="5"/>
                    <a:pt x="82" y="4"/>
                    <a:pt x="85" y="4"/>
                  </a:cubicBezTo>
                  <a:cubicBezTo>
                    <a:pt x="89" y="4"/>
                    <a:pt x="93" y="1"/>
                    <a:pt x="94" y="1"/>
                  </a:cubicBezTo>
                  <a:cubicBezTo>
                    <a:pt x="96" y="1"/>
                    <a:pt x="101" y="1"/>
                    <a:pt x="102" y="1"/>
                  </a:cubicBezTo>
                  <a:cubicBezTo>
                    <a:pt x="103" y="1"/>
                    <a:pt x="103" y="4"/>
                    <a:pt x="108" y="4"/>
                  </a:cubicBezTo>
                  <a:cubicBezTo>
                    <a:pt x="112" y="4"/>
                    <a:pt x="113" y="1"/>
                    <a:pt x="115" y="0"/>
                  </a:cubicBezTo>
                  <a:cubicBezTo>
                    <a:pt x="117" y="0"/>
                    <a:pt x="121" y="0"/>
                    <a:pt x="123" y="0"/>
                  </a:cubicBezTo>
                  <a:cubicBezTo>
                    <a:pt x="125" y="1"/>
                    <a:pt x="130" y="1"/>
                    <a:pt x="131" y="0"/>
                  </a:cubicBezTo>
                  <a:cubicBezTo>
                    <a:pt x="131" y="0"/>
                    <a:pt x="130" y="7"/>
                    <a:pt x="130" y="9"/>
                  </a:cubicBezTo>
                  <a:cubicBezTo>
                    <a:pt x="130" y="11"/>
                    <a:pt x="129" y="21"/>
                    <a:pt x="128" y="22"/>
                  </a:cubicBezTo>
                  <a:cubicBezTo>
                    <a:pt x="126" y="24"/>
                    <a:pt x="121" y="28"/>
                    <a:pt x="123" y="31"/>
                  </a:cubicBezTo>
                  <a:cubicBezTo>
                    <a:pt x="125" y="33"/>
                    <a:pt x="128" y="36"/>
                    <a:pt x="129" y="37"/>
                  </a:cubicBezTo>
                  <a:cubicBezTo>
                    <a:pt x="129" y="38"/>
                    <a:pt x="134" y="42"/>
                    <a:pt x="134" y="44"/>
                  </a:cubicBezTo>
                  <a:cubicBezTo>
                    <a:pt x="135" y="45"/>
                    <a:pt x="137" y="53"/>
                    <a:pt x="139" y="58"/>
                  </a:cubicBezTo>
                  <a:cubicBezTo>
                    <a:pt x="139" y="60"/>
                    <a:pt x="140" y="61"/>
                    <a:pt x="140" y="62"/>
                  </a:cubicBezTo>
                  <a:cubicBezTo>
                    <a:pt x="141" y="67"/>
                    <a:pt x="142" y="84"/>
                    <a:pt x="142" y="86"/>
                  </a:cubicBezTo>
                  <a:cubicBezTo>
                    <a:pt x="142" y="88"/>
                    <a:pt x="136" y="91"/>
                    <a:pt x="138" y="93"/>
                  </a:cubicBezTo>
                  <a:cubicBezTo>
                    <a:pt x="141" y="96"/>
                    <a:pt x="143" y="103"/>
                    <a:pt x="144" y="104"/>
                  </a:cubicBezTo>
                  <a:cubicBezTo>
                    <a:pt x="146" y="104"/>
                    <a:pt x="152" y="105"/>
                    <a:pt x="153" y="106"/>
                  </a:cubicBezTo>
                  <a:cubicBezTo>
                    <a:pt x="156" y="114"/>
                    <a:pt x="156" y="114"/>
                    <a:pt x="156" y="114"/>
                  </a:cubicBezTo>
                  <a:cubicBezTo>
                    <a:pt x="149" y="118"/>
                    <a:pt x="123" y="133"/>
                    <a:pt x="122" y="135"/>
                  </a:cubicBezTo>
                  <a:cubicBezTo>
                    <a:pt x="120" y="137"/>
                    <a:pt x="111" y="146"/>
                    <a:pt x="111" y="146"/>
                  </a:cubicBezTo>
                  <a:cubicBezTo>
                    <a:pt x="99" y="148"/>
                    <a:pt x="99" y="148"/>
                    <a:pt x="99" y="148"/>
                  </a:cubicBezTo>
                  <a:cubicBezTo>
                    <a:pt x="91" y="149"/>
                    <a:pt x="91" y="149"/>
                    <a:pt x="91" y="149"/>
                  </a:cubicBezTo>
                  <a:cubicBezTo>
                    <a:pt x="91" y="149"/>
                    <a:pt x="91" y="143"/>
                    <a:pt x="88" y="142"/>
                  </a:cubicBezTo>
                  <a:cubicBezTo>
                    <a:pt x="86" y="141"/>
                    <a:pt x="77" y="138"/>
                    <a:pt x="76" y="136"/>
                  </a:cubicBezTo>
                  <a:cubicBezTo>
                    <a:pt x="75" y="135"/>
                    <a:pt x="74" y="132"/>
                    <a:pt x="74" y="132"/>
                  </a:cubicBezTo>
                  <a:cubicBezTo>
                    <a:pt x="29" y="103"/>
                    <a:pt x="29" y="103"/>
                    <a:pt x="29" y="10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0" name="Freeform 325"/>
            <p:cNvSpPr>
              <a:spLocks/>
            </p:cNvSpPr>
            <p:nvPr>
              <p:custDataLst>
                <p:tags r:id="rId239"/>
              </p:custDataLst>
            </p:nvPr>
          </p:nvSpPr>
          <p:spPr bwMode="auto">
            <a:xfrm>
              <a:off x="2618" y="2602"/>
              <a:ext cx="81" cy="84"/>
            </a:xfrm>
            <a:custGeom>
              <a:avLst/>
              <a:gdLst>
                <a:gd name="T0" fmla="*/ 10944 w 47"/>
                <a:gd name="T1" fmla="*/ 52180 h 46"/>
                <a:gd name="T2" fmla="*/ 16415 w 47"/>
                <a:gd name="T3" fmla="*/ 31888 h 46"/>
                <a:gd name="T4" fmla="*/ 10944 w 47"/>
                <a:gd name="T5" fmla="*/ 2899 h 46"/>
                <a:gd name="T6" fmla="*/ 35567 w 47"/>
                <a:gd name="T7" fmla="*/ 2899 h 46"/>
                <a:gd name="T8" fmla="*/ 62926 w 47"/>
                <a:gd name="T9" fmla="*/ 0 h 46"/>
                <a:gd name="T10" fmla="*/ 87549 w 47"/>
                <a:gd name="T11" fmla="*/ 17393 h 46"/>
                <a:gd name="T12" fmla="*/ 112173 w 47"/>
                <a:gd name="T13" fmla="*/ 14495 h 46"/>
                <a:gd name="T14" fmla="*/ 120380 w 47"/>
                <a:gd name="T15" fmla="*/ 17393 h 46"/>
                <a:gd name="T16" fmla="*/ 128588 w 47"/>
                <a:gd name="T17" fmla="*/ 40585 h 46"/>
                <a:gd name="T18" fmla="*/ 114908 w 47"/>
                <a:gd name="T19" fmla="*/ 81170 h 46"/>
                <a:gd name="T20" fmla="*/ 123116 w 47"/>
                <a:gd name="T21" fmla="*/ 101462 h 46"/>
                <a:gd name="T22" fmla="*/ 120380 w 47"/>
                <a:gd name="T23" fmla="*/ 121754 h 46"/>
                <a:gd name="T24" fmla="*/ 90285 w 47"/>
                <a:gd name="T25" fmla="*/ 115957 h 46"/>
                <a:gd name="T26" fmla="*/ 21887 w 47"/>
                <a:gd name="T27" fmla="*/ 133350 h 46"/>
                <a:gd name="T28" fmla="*/ 19151 w 47"/>
                <a:gd name="T29" fmla="*/ 133350 h 46"/>
                <a:gd name="T30" fmla="*/ 27359 w 47"/>
                <a:gd name="T31" fmla="*/ 104361 h 46"/>
                <a:gd name="T32" fmla="*/ 8208 w 47"/>
                <a:gd name="T33" fmla="*/ 86967 h 46"/>
                <a:gd name="T34" fmla="*/ 2736 w 47"/>
                <a:gd name="T35" fmla="*/ 63776 h 46"/>
                <a:gd name="T36" fmla="*/ 10944 w 47"/>
                <a:gd name="T37" fmla="*/ 5218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7" h="46">
                  <a:moveTo>
                    <a:pt x="4" y="18"/>
                  </a:moveTo>
                  <a:cubicBezTo>
                    <a:pt x="5" y="18"/>
                    <a:pt x="7" y="13"/>
                    <a:pt x="6" y="11"/>
                  </a:cubicBezTo>
                  <a:cubicBezTo>
                    <a:pt x="4" y="10"/>
                    <a:pt x="4" y="3"/>
                    <a:pt x="4" y="1"/>
                  </a:cubicBezTo>
                  <a:cubicBezTo>
                    <a:pt x="9" y="1"/>
                    <a:pt x="13" y="1"/>
                    <a:pt x="13" y="1"/>
                  </a:cubicBezTo>
                  <a:cubicBezTo>
                    <a:pt x="15" y="1"/>
                    <a:pt x="21" y="0"/>
                    <a:pt x="23" y="0"/>
                  </a:cubicBezTo>
                  <a:cubicBezTo>
                    <a:pt x="25" y="0"/>
                    <a:pt x="30" y="6"/>
                    <a:pt x="32" y="6"/>
                  </a:cubicBezTo>
                  <a:cubicBezTo>
                    <a:pt x="35" y="6"/>
                    <a:pt x="38" y="4"/>
                    <a:pt x="41" y="5"/>
                  </a:cubicBezTo>
                  <a:cubicBezTo>
                    <a:pt x="42" y="5"/>
                    <a:pt x="43" y="5"/>
                    <a:pt x="44" y="6"/>
                  </a:cubicBezTo>
                  <a:cubicBezTo>
                    <a:pt x="46" y="8"/>
                    <a:pt x="47" y="12"/>
                    <a:pt x="47" y="14"/>
                  </a:cubicBezTo>
                  <a:cubicBezTo>
                    <a:pt x="46" y="17"/>
                    <a:pt x="41" y="24"/>
                    <a:pt x="42" y="28"/>
                  </a:cubicBezTo>
                  <a:cubicBezTo>
                    <a:pt x="43" y="31"/>
                    <a:pt x="45" y="33"/>
                    <a:pt x="45" y="35"/>
                  </a:cubicBezTo>
                  <a:cubicBezTo>
                    <a:pt x="45" y="36"/>
                    <a:pt x="44" y="41"/>
                    <a:pt x="44" y="42"/>
                  </a:cubicBezTo>
                  <a:cubicBezTo>
                    <a:pt x="40" y="41"/>
                    <a:pt x="36" y="40"/>
                    <a:pt x="33" y="40"/>
                  </a:cubicBezTo>
                  <a:cubicBezTo>
                    <a:pt x="28" y="40"/>
                    <a:pt x="12" y="46"/>
                    <a:pt x="8" y="46"/>
                  </a:cubicBezTo>
                  <a:cubicBezTo>
                    <a:pt x="8" y="46"/>
                    <a:pt x="8" y="46"/>
                    <a:pt x="7" y="46"/>
                  </a:cubicBezTo>
                  <a:cubicBezTo>
                    <a:pt x="7" y="46"/>
                    <a:pt x="9" y="38"/>
                    <a:pt x="10" y="36"/>
                  </a:cubicBezTo>
                  <a:cubicBezTo>
                    <a:pt x="10" y="34"/>
                    <a:pt x="5" y="31"/>
                    <a:pt x="3" y="30"/>
                  </a:cubicBezTo>
                  <a:cubicBezTo>
                    <a:pt x="0" y="28"/>
                    <a:pt x="2" y="24"/>
                    <a:pt x="1" y="22"/>
                  </a:cubicBezTo>
                  <a:cubicBezTo>
                    <a:pt x="1" y="21"/>
                    <a:pt x="2" y="18"/>
                    <a:pt x="4"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1" name="Freeform 326"/>
            <p:cNvSpPr>
              <a:spLocks/>
            </p:cNvSpPr>
            <p:nvPr>
              <p:custDataLst>
                <p:tags r:id="rId240"/>
              </p:custDataLst>
            </p:nvPr>
          </p:nvSpPr>
          <p:spPr bwMode="auto">
            <a:xfrm>
              <a:off x="2580" y="2627"/>
              <a:ext cx="55" cy="59"/>
            </a:xfrm>
            <a:custGeom>
              <a:avLst/>
              <a:gdLst>
                <a:gd name="T0" fmla="*/ 19100 w 32"/>
                <a:gd name="T1" fmla="*/ 20489 h 32"/>
                <a:gd name="T2" fmla="*/ 21828 w 32"/>
                <a:gd name="T3" fmla="*/ 2927 h 32"/>
                <a:gd name="T4" fmla="*/ 38199 w 32"/>
                <a:gd name="T5" fmla="*/ 5854 h 32"/>
                <a:gd name="T6" fmla="*/ 40928 w 32"/>
                <a:gd name="T7" fmla="*/ 23416 h 32"/>
                <a:gd name="T8" fmla="*/ 62756 w 32"/>
                <a:gd name="T9" fmla="*/ 23416 h 32"/>
                <a:gd name="T10" fmla="*/ 68213 w 32"/>
                <a:gd name="T11" fmla="*/ 46832 h 32"/>
                <a:gd name="T12" fmla="*/ 87313 w 32"/>
                <a:gd name="T13" fmla="*/ 64393 h 32"/>
                <a:gd name="T14" fmla="*/ 79127 w 32"/>
                <a:gd name="T15" fmla="*/ 93663 h 32"/>
                <a:gd name="T16" fmla="*/ 27285 w 32"/>
                <a:gd name="T17" fmla="*/ 58539 h 32"/>
                <a:gd name="T18" fmla="*/ 0 w 32"/>
                <a:gd name="T19" fmla="*/ 38051 h 32"/>
                <a:gd name="T20" fmla="*/ 19100 w 32"/>
                <a:gd name="T21" fmla="*/ 20489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32">
                  <a:moveTo>
                    <a:pt x="7" y="7"/>
                  </a:moveTo>
                  <a:cubicBezTo>
                    <a:pt x="8" y="1"/>
                    <a:pt x="8" y="1"/>
                    <a:pt x="8" y="1"/>
                  </a:cubicBezTo>
                  <a:cubicBezTo>
                    <a:pt x="9" y="1"/>
                    <a:pt x="14" y="0"/>
                    <a:pt x="14" y="2"/>
                  </a:cubicBezTo>
                  <a:cubicBezTo>
                    <a:pt x="14" y="3"/>
                    <a:pt x="14" y="8"/>
                    <a:pt x="15" y="8"/>
                  </a:cubicBezTo>
                  <a:cubicBezTo>
                    <a:pt x="23" y="8"/>
                    <a:pt x="23" y="8"/>
                    <a:pt x="23" y="8"/>
                  </a:cubicBezTo>
                  <a:cubicBezTo>
                    <a:pt x="24" y="10"/>
                    <a:pt x="22" y="14"/>
                    <a:pt x="25" y="16"/>
                  </a:cubicBezTo>
                  <a:cubicBezTo>
                    <a:pt x="27" y="17"/>
                    <a:pt x="32" y="20"/>
                    <a:pt x="32" y="22"/>
                  </a:cubicBezTo>
                  <a:cubicBezTo>
                    <a:pt x="31" y="24"/>
                    <a:pt x="29" y="32"/>
                    <a:pt x="29" y="32"/>
                  </a:cubicBezTo>
                  <a:cubicBezTo>
                    <a:pt x="25" y="30"/>
                    <a:pt x="14" y="24"/>
                    <a:pt x="10" y="20"/>
                  </a:cubicBezTo>
                  <a:cubicBezTo>
                    <a:pt x="8" y="17"/>
                    <a:pt x="4" y="15"/>
                    <a:pt x="0" y="13"/>
                  </a:cubicBezTo>
                  <a:lnTo>
                    <a:pt x="7" y="7"/>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2" name="Freeform 327"/>
            <p:cNvSpPr>
              <a:spLocks/>
            </p:cNvSpPr>
            <p:nvPr>
              <p:custDataLst>
                <p:tags r:id="rId241"/>
              </p:custDataLst>
            </p:nvPr>
          </p:nvSpPr>
          <p:spPr bwMode="auto">
            <a:xfrm>
              <a:off x="2571" y="2392"/>
              <a:ext cx="216" cy="212"/>
            </a:xfrm>
            <a:custGeom>
              <a:avLst/>
              <a:gdLst>
                <a:gd name="T0" fmla="*/ 29936 w 126"/>
                <a:gd name="T1" fmla="*/ 225342 h 115"/>
                <a:gd name="T2" fmla="*/ 138793 w 126"/>
                <a:gd name="T3" fmla="*/ 219489 h 115"/>
                <a:gd name="T4" fmla="*/ 144236 w 126"/>
                <a:gd name="T5" fmla="*/ 199003 h 115"/>
                <a:gd name="T6" fmla="*/ 117021 w 126"/>
                <a:gd name="T7" fmla="*/ 2927 h 115"/>
                <a:gd name="T8" fmla="*/ 152400 w 126"/>
                <a:gd name="T9" fmla="*/ 0 h 115"/>
                <a:gd name="T10" fmla="*/ 152400 w 126"/>
                <a:gd name="T11" fmla="*/ 0 h 115"/>
                <a:gd name="T12" fmla="*/ 274864 w 126"/>
                <a:gd name="T13" fmla="*/ 84869 h 115"/>
                <a:gd name="T14" fmla="*/ 280307 w 126"/>
                <a:gd name="T15" fmla="*/ 96575 h 115"/>
                <a:gd name="T16" fmla="*/ 312964 w 126"/>
                <a:gd name="T17" fmla="*/ 114134 h 115"/>
                <a:gd name="T18" fmla="*/ 321129 w 126"/>
                <a:gd name="T19" fmla="*/ 134620 h 115"/>
                <a:gd name="T20" fmla="*/ 342900 w 126"/>
                <a:gd name="T21" fmla="*/ 131693 h 115"/>
                <a:gd name="T22" fmla="*/ 340179 w 126"/>
                <a:gd name="T23" fmla="*/ 184371 h 115"/>
                <a:gd name="T24" fmla="*/ 329293 w 126"/>
                <a:gd name="T25" fmla="*/ 219489 h 115"/>
                <a:gd name="T26" fmla="*/ 277586 w 126"/>
                <a:gd name="T27" fmla="*/ 228269 h 115"/>
                <a:gd name="T28" fmla="*/ 261257 w 126"/>
                <a:gd name="T29" fmla="*/ 225342 h 115"/>
                <a:gd name="T30" fmla="*/ 242207 w 126"/>
                <a:gd name="T31" fmla="*/ 225342 h 115"/>
                <a:gd name="T32" fmla="*/ 204107 w 126"/>
                <a:gd name="T33" fmla="*/ 245828 h 115"/>
                <a:gd name="T34" fmla="*/ 185057 w 126"/>
                <a:gd name="T35" fmla="*/ 269240 h 115"/>
                <a:gd name="T36" fmla="*/ 174171 w 126"/>
                <a:gd name="T37" fmla="*/ 260460 h 115"/>
                <a:gd name="T38" fmla="*/ 157843 w 126"/>
                <a:gd name="T39" fmla="*/ 272167 h 115"/>
                <a:gd name="T40" fmla="*/ 160564 w 126"/>
                <a:gd name="T41" fmla="*/ 286799 h 115"/>
                <a:gd name="T42" fmla="*/ 144236 w 126"/>
                <a:gd name="T43" fmla="*/ 304358 h 115"/>
                <a:gd name="T44" fmla="*/ 136071 w 126"/>
                <a:gd name="T45" fmla="*/ 333623 h 115"/>
                <a:gd name="T46" fmla="*/ 108857 w 126"/>
                <a:gd name="T47" fmla="*/ 336550 h 115"/>
                <a:gd name="T48" fmla="*/ 84364 w 126"/>
                <a:gd name="T49" fmla="*/ 336550 h 115"/>
                <a:gd name="T50" fmla="*/ 73479 w 126"/>
                <a:gd name="T51" fmla="*/ 307285 h 115"/>
                <a:gd name="T52" fmla="*/ 62593 w 126"/>
                <a:gd name="T53" fmla="*/ 286799 h 115"/>
                <a:gd name="T54" fmla="*/ 35379 w 126"/>
                <a:gd name="T55" fmla="*/ 298505 h 115"/>
                <a:gd name="T56" fmla="*/ 16329 w 126"/>
                <a:gd name="T57" fmla="*/ 286799 h 115"/>
                <a:gd name="T58" fmla="*/ 10886 w 126"/>
                <a:gd name="T59" fmla="*/ 263387 h 115"/>
                <a:gd name="T60" fmla="*/ 0 w 126"/>
                <a:gd name="T61" fmla="*/ 237048 h 115"/>
                <a:gd name="T62" fmla="*/ 13607 w 126"/>
                <a:gd name="T63" fmla="*/ 216563 h 115"/>
                <a:gd name="T64" fmla="*/ 29936 w 126"/>
                <a:gd name="T65" fmla="*/ 225342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6" h="115">
                  <a:moveTo>
                    <a:pt x="11" y="77"/>
                  </a:moveTo>
                  <a:cubicBezTo>
                    <a:pt x="12" y="77"/>
                    <a:pt x="51" y="75"/>
                    <a:pt x="51" y="75"/>
                  </a:cubicBezTo>
                  <a:cubicBezTo>
                    <a:pt x="53" y="68"/>
                    <a:pt x="53" y="68"/>
                    <a:pt x="53" y="68"/>
                  </a:cubicBezTo>
                  <a:cubicBezTo>
                    <a:pt x="43" y="1"/>
                    <a:pt x="43" y="1"/>
                    <a:pt x="43" y="1"/>
                  </a:cubicBezTo>
                  <a:cubicBezTo>
                    <a:pt x="56" y="0"/>
                    <a:pt x="56" y="0"/>
                    <a:pt x="56" y="0"/>
                  </a:cubicBezTo>
                  <a:cubicBezTo>
                    <a:pt x="56" y="0"/>
                    <a:pt x="56" y="0"/>
                    <a:pt x="56" y="0"/>
                  </a:cubicBezTo>
                  <a:cubicBezTo>
                    <a:pt x="101" y="29"/>
                    <a:pt x="101" y="29"/>
                    <a:pt x="101" y="29"/>
                  </a:cubicBezTo>
                  <a:cubicBezTo>
                    <a:pt x="101" y="29"/>
                    <a:pt x="102" y="32"/>
                    <a:pt x="103" y="33"/>
                  </a:cubicBezTo>
                  <a:cubicBezTo>
                    <a:pt x="104" y="35"/>
                    <a:pt x="113" y="38"/>
                    <a:pt x="115" y="39"/>
                  </a:cubicBezTo>
                  <a:cubicBezTo>
                    <a:pt x="118" y="40"/>
                    <a:pt x="118" y="46"/>
                    <a:pt x="118" y="46"/>
                  </a:cubicBezTo>
                  <a:cubicBezTo>
                    <a:pt x="126" y="45"/>
                    <a:pt x="126" y="45"/>
                    <a:pt x="126" y="45"/>
                  </a:cubicBezTo>
                  <a:cubicBezTo>
                    <a:pt x="125" y="63"/>
                    <a:pt x="125" y="63"/>
                    <a:pt x="125" y="63"/>
                  </a:cubicBezTo>
                  <a:cubicBezTo>
                    <a:pt x="125" y="65"/>
                    <a:pt x="123" y="75"/>
                    <a:pt x="121" y="75"/>
                  </a:cubicBezTo>
                  <a:cubicBezTo>
                    <a:pt x="119" y="75"/>
                    <a:pt x="103" y="78"/>
                    <a:pt x="102" y="78"/>
                  </a:cubicBezTo>
                  <a:cubicBezTo>
                    <a:pt x="101" y="78"/>
                    <a:pt x="98" y="77"/>
                    <a:pt x="96" y="77"/>
                  </a:cubicBezTo>
                  <a:cubicBezTo>
                    <a:pt x="93" y="77"/>
                    <a:pt x="90" y="77"/>
                    <a:pt x="89" y="77"/>
                  </a:cubicBezTo>
                  <a:cubicBezTo>
                    <a:pt x="86" y="77"/>
                    <a:pt x="77" y="82"/>
                    <a:pt x="75" y="84"/>
                  </a:cubicBezTo>
                  <a:cubicBezTo>
                    <a:pt x="73" y="86"/>
                    <a:pt x="69" y="92"/>
                    <a:pt x="68" y="92"/>
                  </a:cubicBezTo>
                  <a:cubicBezTo>
                    <a:pt x="67" y="93"/>
                    <a:pt x="64" y="89"/>
                    <a:pt x="64" y="89"/>
                  </a:cubicBezTo>
                  <a:cubicBezTo>
                    <a:pt x="64" y="89"/>
                    <a:pt x="59" y="92"/>
                    <a:pt x="58" y="93"/>
                  </a:cubicBezTo>
                  <a:cubicBezTo>
                    <a:pt x="57" y="94"/>
                    <a:pt x="61" y="97"/>
                    <a:pt x="59" y="98"/>
                  </a:cubicBezTo>
                  <a:cubicBezTo>
                    <a:pt x="58" y="99"/>
                    <a:pt x="55" y="102"/>
                    <a:pt x="53" y="104"/>
                  </a:cubicBezTo>
                  <a:cubicBezTo>
                    <a:pt x="51" y="106"/>
                    <a:pt x="50" y="114"/>
                    <a:pt x="50" y="114"/>
                  </a:cubicBezTo>
                  <a:cubicBezTo>
                    <a:pt x="48" y="114"/>
                    <a:pt x="42" y="115"/>
                    <a:pt x="40" y="115"/>
                  </a:cubicBezTo>
                  <a:cubicBezTo>
                    <a:pt x="40" y="115"/>
                    <a:pt x="36" y="115"/>
                    <a:pt x="31" y="115"/>
                  </a:cubicBezTo>
                  <a:cubicBezTo>
                    <a:pt x="32" y="114"/>
                    <a:pt x="28" y="107"/>
                    <a:pt x="27" y="105"/>
                  </a:cubicBezTo>
                  <a:cubicBezTo>
                    <a:pt x="26" y="103"/>
                    <a:pt x="24" y="98"/>
                    <a:pt x="23" y="98"/>
                  </a:cubicBezTo>
                  <a:cubicBezTo>
                    <a:pt x="21" y="98"/>
                    <a:pt x="16" y="102"/>
                    <a:pt x="13" y="102"/>
                  </a:cubicBezTo>
                  <a:cubicBezTo>
                    <a:pt x="9" y="103"/>
                    <a:pt x="7" y="99"/>
                    <a:pt x="6" y="98"/>
                  </a:cubicBezTo>
                  <a:cubicBezTo>
                    <a:pt x="6" y="98"/>
                    <a:pt x="5" y="92"/>
                    <a:pt x="4" y="90"/>
                  </a:cubicBezTo>
                  <a:cubicBezTo>
                    <a:pt x="2" y="88"/>
                    <a:pt x="0" y="81"/>
                    <a:pt x="0" y="81"/>
                  </a:cubicBezTo>
                  <a:cubicBezTo>
                    <a:pt x="3" y="80"/>
                    <a:pt x="3" y="74"/>
                    <a:pt x="5" y="74"/>
                  </a:cubicBezTo>
                  <a:cubicBezTo>
                    <a:pt x="8" y="74"/>
                    <a:pt x="9" y="77"/>
                    <a:pt x="11" y="7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3" name="Freeform 328"/>
            <p:cNvSpPr>
              <a:spLocks/>
            </p:cNvSpPr>
            <p:nvPr>
              <p:custDataLst>
                <p:tags r:id="rId242"/>
              </p:custDataLst>
            </p:nvPr>
          </p:nvSpPr>
          <p:spPr bwMode="auto">
            <a:xfrm>
              <a:off x="2559" y="2224"/>
              <a:ext cx="158" cy="130"/>
            </a:xfrm>
            <a:custGeom>
              <a:avLst/>
              <a:gdLst>
                <a:gd name="T0" fmla="*/ 5394 w 93"/>
                <a:gd name="T1" fmla="*/ 194582 h 70"/>
                <a:gd name="T2" fmla="*/ 26970 w 93"/>
                <a:gd name="T3" fmla="*/ 188686 h 70"/>
                <a:gd name="T4" fmla="*/ 67426 w 93"/>
                <a:gd name="T5" fmla="*/ 156255 h 70"/>
                <a:gd name="T6" fmla="*/ 78214 w 93"/>
                <a:gd name="T7" fmla="*/ 129721 h 70"/>
                <a:gd name="T8" fmla="*/ 67426 w 93"/>
                <a:gd name="T9" fmla="*/ 126773 h 70"/>
                <a:gd name="T10" fmla="*/ 70123 w 93"/>
                <a:gd name="T11" fmla="*/ 106136 h 70"/>
                <a:gd name="T12" fmla="*/ 97094 w 93"/>
                <a:gd name="T13" fmla="*/ 64861 h 70"/>
                <a:gd name="T14" fmla="*/ 137549 w 93"/>
                <a:gd name="T15" fmla="*/ 35379 h 70"/>
                <a:gd name="T16" fmla="*/ 151034 w 93"/>
                <a:gd name="T17" fmla="*/ 5896 h 70"/>
                <a:gd name="T18" fmla="*/ 159126 w 93"/>
                <a:gd name="T19" fmla="*/ 0 h 70"/>
                <a:gd name="T20" fmla="*/ 164520 w 93"/>
                <a:gd name="T21" fmla="*/ 0 h 70"/>
                <a:gd name="T22" fmla="*/ 172611 w 93"/>
                <a:gd name="T23" fmla="*/ 8845 h 70"/>
                <a:gd name="T24" fmla="*/ 196884 w 93"/>
                <a:gd name="T25" fmla="*/ 11793 h 70"/>
                <a:gd name="T26" fmla="*/ 210369 w 93"/>
                <a:gd name="T27" fmla="*/ 5896 h 70"/>
                <a:gd name="T28" fmla="*/ 221158 w 93"/>
                <a:gd name="T29" fmla="*/ 17689 h 70"/>
                <a:gd name="T30" fmla="*/ 231946 w 93"/>
                <a:gd name="T31" fmla="*/ 14741 h 70"/>
                <a:gd name="T32" fmla="*/ 231946 w 93"/>
                <a:gd name="T33" fmla="*/ 14741 h 70"/>
                <a:gd name="T34" fmla="*/ 237340 w 93"/>
                <a:gd name="T35" fmla="*/ 47171 h 70"/>
                <a:gd name="T36" fmla="*/ 250825 w 93"/>
                <a:gd name="T37" fmla="*/ 73705 h 70"/>
                <a:gd name="T38" fmla="*/ 248128 w 93"/>
                <a:gd name="T39" fmla="*/ 88446 h 70"/>
                <a:gd name="T40" fmla="*/ 199581 w 93"/>
                <a:gd name="T41" fmla="*/ 97291 h 70"/>
                <a:gd name="T42" fmla="*/ 196884 w 93"/>
                <a:gd name="T43" fmla="*/ 117929 h 70"/>
                <a:gd name="T44" fmla="*/ 172611 w 93"/>
                <a:gd name="T45" fmla="*/ 126773 h 70"/>
                <a:gd name="T46" fmla="*/ 164520 w 93"/>
                <a:gd name="T47" fmla="*/ 144463 h 70"/>
                <a:gd name="T48" fmla="*/ 129458 w 93"/>
                <a:gd name="T49" fmla="*/ 150359 h 70"/>
                <a:gd name="T50" fmla="*/ 97094 w 93"/>
                <a:gd name="T51" fmla="*/ 173945 h 70"/>
                <a:gd name="T52" fmla="*/ 94397 w 93"/>
                <a:gd name="T53" fmla="*/ 203427 h 70"/>
                <a:gd name="T54" fmla="*/ 0 w 93"/>
                <a:gd name="T55" fmla="*/ 206375 h 70"/>
                <a:gd name="T56" fmla="*/ 5394 w 93"/>
                <a:gd name="T57" fmla="*/ 194582 h 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3" h="70">
                  <a:moveTo>
                    <a:pt x="2" y="66"/>
                  </a:moveTo>
                  <a:cubicBezTo>
                    <a:pt x="3" y="64"/>
                    <a:pt x="7" y="65"/>
                    <a:pt x="10" y="64"/>
                  </a:cubicBezTo>
                  <a:cubicBezTo>
                    <a:pt x="12" y="63"/>
                    <a:pt x="23" y="57"/>
                    <a:pt x="25" y="53"/>
                  </a:cubicBezTo>
                  <a:cubicBezTo>
                    <a:pt x="27" y="49"/>
                    <a:pt x="29" y="45"/>
                    <a:pt x="29" y="44"/>
                  </a:cubicBezTo>
                  <a:cubicBezTo>
                    <a:pt x="29" y="42"/>
                    <a:pt x="25" y="45"/>
                    <a:pt x="25" y="43"/>
                  </a:cubicBezTo>
                  <a:cubicBezTo>
                    <a:pt x="25" y="41"/>
                    <a:pt x="25" y="40"/>
                    <a:pt x="26" y="36"/>
                  </a:cubicBezTo>
                  <a:cubicBezTo>
                    <a:pt x="28" y="32"/>
                    <a:pt x="32" y="25"/>
                    <a:pt x="36" y="22"/>
                  </a:cubicBezTo>
                  <a:cubicBezTo>
                    <a:pt x="40" y="19"/>
                    <a:pt x="49" y="15"/>
                    <a:pt x="51" y="12"/>
                  </a:cubicBezTo>
                  <a:cubicBezTo>
                    <a:pt x="55" y="9"/>
                    <a:pt x="56" y="3"/>
                    <a:pt x="56" y="2"/>
                  </a:cubicBezTo>
                  <a:cubicBezTo>
                    <a:pt x="56" y="1"/>
                    <a:pt x="58" y="0"/>
                    <a:pt x="59" y="0"/>
                  </a:cubicBezTo>
                  <a:cubicBezTo>
                    <a:pt x="60" y="0"/>
                    <a:pt x="60" y="0"/>
                    <a:pt x="61" y="0"/>
                  </a:cubicBezTo>
                  <a:cubicBezTo>
                    <a:pt x="62" y="0"/>
                    <a:pt x="61" y="2"/>
                    <a:pt x="64" y="3"/>
                  </a:cubicBezTo>
                  <a:cubicBezTo>
                    <a:pt x="66" y="4"/>
                    <a:pt x="70" y="4"/>
                    <a:pt x="73" y="4"/>
                  </a:cubicBezTo>
                  <a:cubicBezTo>
                    <a:pt x="75" y="4"/>
                    <a:pt x="77" y="2"/>
                    <a:pt x="78" y="2"/>
                  </a:cubicBezTo>
                  <a:cubicBezTo>
                    <a:pt x="79" y="1"/>
                    <a:pt x="80" y="6"/>
                    <a:pt x="82" y="6"/>
                  </a:cubicBezTo>
                  <a:cubicBezTo>
                    <a:pt x="83" y="6"/>
                    <a:pt x="84" y="5"/>
                    <a:pt x="86" y="5"/>
                  </a:cubicBezTo>
                  <a:cubicBezTo>
                    <a:pt x="86" y="5"/>
                    <a:pt x="86" y="5"/>
                    <a:pt x="86" y="5"/>
                  </a:cubicBezTo>
                  <a:cubicBezTo>
                    <a:pt x="86" y="5"/>
                    <a:pt x="88" y="13"/>
                    <a:pt x="88" y="16"/>
                  </a:cubicBezTo>
                  <a:cubicBezTo>
                    <a:pt x="88" y="20"/>
                    <a:pt x="93" y="23"/>
                    <a:pt x="93" y="25"/>
                  </a:cubicBezTo>
                  <a:cubicBezTo>
                    <a:pt x="93" y="26"/>
                    <a:pt x="92" y="30"/>
                    <a:pt x="92" y="30"/>
                  </a:cubicBezTo>
                  <a:cubicBezTo>
                    <a:pt x="92" y="30"/>
                    <a:pt x="76" y="32"/>
                    <a:pt x="74" y="33"/>
                  </a:cubicBezTo>
                  <a:cubicBezTo>
                    <a:pt x="72" y="35"/>
                    <a:pt x="75" y="40"/>
                    <a:pt x="73" y="40"/>
                  </a:cubicBezTo>
                  <a:cubicBezTo>
                    <a:pt x="71" y="41"/>
                    <a:pt x="67" y="43"/>
                    <a:pt x="64" y="43"/>
                  </a:cubicBezTo>
                  <a:cubicBezTo>
                    <a:pt x="62" y="43"/>
                    <a:pt x="63" y="48"/>
                    <a:pt x="61" y="49"/>
                  </a:cubicBezTo>
                  <a:cubicBezTo>
                    <a:pt x="60" y="51"/>
                    <a:pt x="51" y="51"/>
                    <a:pt x="48" y="51"/>
                  </a:cubicBezTo>
                  <a:cubicBezTo>
                    <a:pt x="45" y="52"/>
                    <a:pt x="36" y="59"/>
                    <a:pt x="36" y="59"/>
                  </a:cubicBezTo>
                  <a:cubicBezTo>
                    <a:pt x="35" y="69"/>
                    <a:pt x="35" y="69"/>
                    <a:pt x="35" y="69"/>
                  </a:cubicBezTo>
                  <a:cubicBezTo>
                    <a:pt x="0" y="70"/>
                    <a:pt x="0" y="70"/>
                    <a:pt x="0" y="70"/>
                  </a:cubicBezTo>
                  <a:cubicBezTo>
                    <a:pt x="1" y="68"/>
                    <a:pt x="1" y="67"/>
                    <a:pt x="2" y="6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4" name="Freeform 329"/>
            <p:cNvSpPr>
              <a:spLocks/>
            </p:cNvSpPr>
            <p:nvPr>
              <p:custDataLst>
                <p:tags r:id="rId243"/>
              </p:custDataLst>
            </p:nvPr>
          </p:nvSpPr>
          <p:spPr bwMode="auto">
            <a:xfrm>
              <a:off x="2557" y="2607"/>
              <a:ext cx="37" cy="44"/>
            </a:xfrm>
            <a:custGeom>
              <a:avLst/>
              <a:gdLst>
                <a:gd name="T0" fmla="*/ 10680 w 22"/>
                <a:gd name="T1" fmla="*/ 52388 h 24"/>
                <a:gd name="T2" fmla="*/ 5340 w 22"/>
                <a:gd name="T3" fmla="*/ 34925 h 24"/>
                <a:gd name="T4" fmla="*/ 0 w 22"/>
                <a:gd name="T5" fmla="*/ 20373 h 24"/>
                <a:gd name="T6" fmla="*/ 16019 w 22"/>
                <a:gd name="T7" fmla="*/ 11642 h 24"/>
                <a:gd name="T8" fmla="*/ 32039 w 22"/>
                <a:gd name="T9" fmla="*/ 0 h 24"/>
                <a:gd name="T10" fmla="*/ 50728 w 22"/>
                <a:gd name="T11" fmla="*/ 8731 h 24"/>
                <a:gd name="T12" fmla="*/ 58738 w 22"/>
                <a:gd name="T13" fmla="*/ 34925 h 24"/>
                <a:gd name="T14" fmla="*/ 56068 w 22"/>
                <a:gd name="T15" fmla="*/ 52388 h 24"/>
                <a:gd name="T16" fmla="*/ 37379 w 22"/>
                <a:gd name="T17" fmla="*/ 69850 h 24"/>
                <a:gd name="T18" fmla="*/ 26699 w 22"/>
                <a:gd name="T19" fmla="*/ 64029 h 24"/>
                <a:gd name="T20" fmla="*/ 10680 w 22"/>
                <a:gd name="T21" fmla="*/ 52388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24">
                  <a:moveTo>
                    <a:pt x="4" y="18"/>
                  </a:moveTo>
                  <a:cubicBezTo>
                    <a:pt x="4" y="17"/>
                    <a:pt x="3" y="14"/>
                    <a:pt x="2" y="12"/>
                  </a:cubicBezTo>
                  <a:cubicBezTo>
                    <a:pt x="2" y="12"/>
                    <a:pt x="1" y="10"/>
                    <a:pt x="0" y="7"/>
                  </a:cubicBezTo>
                  <a:cubicBezTo>
                    <a:pt x="0" y="7"/>
                    <a:pt x="4" y="6"/>
                    <a:pt x="6" y="4"/>
                  </a:cubicBezTo>
                  <a:cubicBezTo>
                    <a:pt x="7" y="3"/>
                    <a:pt x="7" y="0"/>
                    <a:pt x="12" y="0"/>
                  </a:cubicBezTo>
                  <a:cubicBezTo>
                    <a:pt x="18" y="0"/>
                    <a:pt x="19" y="1"/>
                    <a:pt x="19" y="3"/>
                  </a:cubicBezTo>
                  <a:cubicBezTo>
                    <a:pt x="19" y="4"/>
                    <a:pt x="21" y="11"/>
                    <a:pt x="22" y="12"/>
                  </a:cubicBezTo>
                  <a:cubicBezTo>
                    <a:pt x="21" y="18"/>
                    <a:pt x="21" y="18"/>
                    <a:pt x="21" y="18"/>
                  </a:cubicBezTo>
                  <a:cubicBezTo>
                    <a:pt x="14" y="24"/>
                    <a:pt x="14" y="24"/>
                    <a:pt x="14" y="24"/>
                  </a:cubicBezTo>
                  <a:cubicBezTo>
                    <a:pt x="13" y="23"/>
                    <a:pt x="11" y="22"/>
                    <a:pt x="10" y="22"/>
                  </a:cubicBezTo>
                  <a:cubicBezTo>
                    <a:pt x="7" y="20"/>
                    <a:pt x="6" y="20"/>
                    <a:pt x="4" y="1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5" name="Freeform 330"/>
            <p:cNvSpPr>
              <a:spLocks/>
            </p:cNvSpPr>
            <p:nvPr>
              <p:custDataLst>
                <p:tags r:id="rId244"/>
              </p:custDataLst>
            </p:nvPr>
          </p:nvSpPr>
          <p:spPr bwMode="auto">
            <a:xfrm>
              <a:off x="2536" y="2568"/>
              <a:ext cx="94" cy="74"/>
            </a:xfrm>
            <a:custGeom>
              <a:avLst/>
              <a:gdLst>
                <a:gd name="T0" fmla="*/ 21705 w 55"/>
                <a:gd name="T1" fmla="*/ 67548 h 40"/>
                <a:gd name="T2" fmla="*/ 0 w 55"/>
                <a:gd name="T3" fmla="*/ 41116 h 40"/>
                <a:gd name="T4" fmla="*/ 13566 w 55"/>
                <a:gd name="T5" fmla="*/ 26432 h 40"/>
                <a:gd name="T6" fmla="*/ 27132 w 55"/>
                <a:gd name="T7" fmla="*/ 23495 h 40"/>
                <a:gd name="T8" fmla="*/ 32558 w 55"/>
                <a:gd name="T9" fmla="*/ 2937 h 40"/>
                <a:gd name="T10" fmla="*/ 73256 w 55"/>
                <a:gd name="T11" fmla="*/ 5874 h 40"/>
                <a:gd name="T12" fmla="*/ 92248 w 55"/>
                <a:gd name="T13" fmla="*/ 17621 h 40"/>
                <a:gd name="T14" fmla="*/ 119380 w 55"/>
                <a:gd name="T15" fmla="*/ 5874 h 40"/>
                <a:gd name="T16" fmla="*/ 130233 w 55"/>
                <a:gd name="T17" fmla="*/ 26432 h 40"/>
                <a:gd name="T18" fmla="*/ 141085 w 55"/>
                <a:gd name="T19" fmla="*/ 55801 h 40"/>
                <a:gd name="T20" fmla="*/ 146512 w 55"/>
                <a:gd name="T21" fmla="*/ 85169 h 40"/>
                <a:gd name="T22" fmla="*/ 141085 w 55"/>
                <a:gd name="T23" fmla="*/ 105728 h 40"/>
                <a:gd name="T24" fmla="*/ 132946 w 55"/>
                <a:gd name="T25" fmla="*/ 117475 h 40"/>
                <a:gd name="T26" fmla="*/ 111240 w 55"/>
                <a:gd name="T27" fmla="*/ 117475 h 40"/>
                <a:gd name="T28" fmla="*/ 108527 w 55"/>
                <a:gd name="T29" fmla="*/ 99854 h 40"/>
                <a:gd name="T30" fmla="*/ 92248 w 55"/>
                <a:gd name="T31" fmla="*/ 96917 h 40"/>
                <a:gd name="T32" fmla="*/ 84109 w 55"/>
                <a:gd name="T33" fmla="*/ 70485 h 40"/>
                <a:gd name="T34" fmla="*/ 65116 w 55"/>
                <a:gd name="T35" fmla="*/ 61674 h 40"/>
                <a:gd name="T36" fmla="*/ 48837 w 55"/>
                <a:gd name="T37" fmla="*/ 73422 h 40"/>
                <a:gd name="T38" fmla="*/ 32558 w 55"/>
                <a:gd name="T39" fmla="*/ 82233 h 40"/>
                <a:gd name="T40" fmla="*/ 21705 w 55"/>
                <a:gd name="T41" fmla="*/ 67548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5" h="40">
                  <a:moveTo>
                    <a:pt x="8" y="23"/>
                  </a:moveTo>
                  <a:cubicBezTo>
                    <a:pt x="7" y="21"/>
                    <a:pt x="2" y="16"/>
                    <a:pt x="0" y="14"/>
                  </a:cubicBezTo>
                  <a:cubicBezTo>
                    <a:pt x="0" y="14"/>
                    <a:pt x="3" y="9"/>
                    <a:pt x="5" y="9"/>
                  </a:cubicBezTo>
                  <a:cubicBezTo>
                    <a:pt x="6" y="8"/>
                    <a:pt x="9" y="9"/>
                    <a:pt x="10" y="8"/>
                  </a:cubicBezTo>
                  <a:cubicBezTo>
                    <a:pt x="11" y="7"/>
                    <a:pt x="9" y="1"/>
                    <a:pt x="12" y="1"/>
                  </a:cubicBezTo>
                  <a:cubicBezTo>
                    <a:pt x="14" y="0"/>
                    <a:pt x="26" y="1"/>
                    <a:pt x="27" y="2"/>
                  </a:cubicBezTo>
                  <a:cubicBezTo>
                    <a:pt x="28" y="3"/>
                    <a:pt x="30" y="7"/>
                    <a:pt x="34" y="6"/>
                  </a:cubicBezTo>
                  <a:cubicBezTo>
                    <a:pt x="37" y="6"/>
                    <a:pt x="42" y="2"/>
                    <a:pt x="44" y="2"/>
                  </a:cubicBezTo>
                  <a:cubicBezTo>
                    <a:pt x="45" y="2"/>
                    <a:pt x="47" y="7"/>
                    <a:pt x="48" y="9"/>
                  </a:cubicBezTo>
                  <a:cubicBezTo>
                    <a:pt x="49" y="11"/>
                    <a:pt x="53" y="18"/>
                    <a:pt x="52" y="19"/>
                  </a:cubicBezTo>
                  <a:cubicBezTo>
                    <a:pt x="52" y="21"/>
                    <a:pt x="52" y="28"/>
                    <a:pt x="54" y="29"/>
                  </a:cubicBezTo>
                  <a:cubicBezTo>
                    <a:pt x="55" y="31"/>
                    <a:pt x="53" y="36"/>
                    <a:pt x="52" y="36"/>
                  </a:cubicBezTo>
                  <a:cubicBezTo>
                    <a:pt x="50" y="36"/>
                    <a:pt x="49" y="39"/>
                    <a:pt x="49" y="40"/>
                  </a:cubicBezTo>
                  <a:cubicBezTo>
                    <a:pt x="41" y="40"/>
                    <a:pt x="41" y="40"/>
                    <a:pt x="41" y="40"/>
                  </a:cubicBezTo>
                  <a:cubicBezTo>
                    <a:pt x="40" y="40"/>
                    <a:pt x="40" y="35"/>
                    <a:pt x="40" y="34"/>
                  </a:cubicBezTo>
                  <a:cubicBezTo>
                    <a:pt x="40" y="32"/>
                    <a:pt x="35" y="33"/>
                    <a:pt x="34" y="33"/>
                  </a:cubicBezTo>
                  <a:cubicBezTo>
                    <a:pt x="33" y="32"/>
                    <a:pt x="31" y="25"/>
                    <a:pt x="31" y="24"/>
                  </a:cubicBezTo>
                  <a:cubicBezTo>
                    <a:pt x="31" y="22"/>
                    <a:pt x="30" y="21"/>
                    <a:pt x="24" y="21"/>
                  </a:cubicBezTo>
                  <a:cubicBezTo>
                    <a:pt x="19" y="21"/>
                    <a:pt x="19" y="24"/>
                    <a:pt x="18" y="25"/>
                  </a:cubicBezTo>
                  <a:cubicBezTo>
                    <a:pt x="16" y="27"/>
                    <a:pt x="12" y="28"/>
                    <a:pt x="12" y="28"/>
                  </a:cubicBezTo>
                  <a:cubicBezTo>
                    <a:pt x="11" y="26"/>
                    <a:pt x="9" y="23"/>
                    <a:pt x="8"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6" name="Freeform 331"/>
            <p:cNvSpPr>
              <a:spLocks/>
            </p:cNvSpPr>
            <p:nvPr>
              <p:custDataLst>
                <p:tags r:id="rId245"/>
              </p:custDataLst>
            </p:nvPr>
          </p:nvSpPr>
          <p:spPr bwMode="auto">
            <a:xfrm>
              <a:off x="2508" y="2352"/>
              <a:ext cx="110" cy="91"/>
            </a:xfrm>
            <a:custGeom>
              <a:avLst/>
              <a:gdLst>
                <a:gd name="T0" fmla="*/ 43656 w 64"/>
                <a:gd name="T1" fmla="*/ 66453 h 50"/>
                <a:gd name="T2" fmla="*/ 51842 w 64"/>
                <a:gd name="T3" fmla="*/ 31782 h 50"/>
                <a:gd name="T4" fmla="*/ 70941 w 64"/>
                <a:gd name="T5" fmla="*/ 20225 h 50"/>
                <a:gd name="T6" fmla="*/ 79127 w 64"/>
                <a:gd name="T7" fmla="*/ 2889 h 50"/>
                <a:gd name="T8" fmla="*/ 174625 w 64"/>
                <a:gd name="T9" fmla="*/ 0 h 50"/>
                <a:gd name="T10" fmla="*/ 174625 w 64"/>
                <a:gd name="T11" fmla="*/ 8668 h 50"/>
                <a:gd name="T12" fmla="*/ 174625 w 64"/>
                <a:gd name="T13" fmla="*/ 37560 h 50"/>
                <a:gd name="T14" fmla="*/ 103684 w 64"/>
                <a:gd name="T15" fmla="*/ 37560 h 50"/>
                <a:gd name="T16" fmla="*/ 103684 w 64"/>
                <a:gd name="T17" fmla="*/ 95346 h 50"/>
                <a:gd name="T18" fmla="*/ 84584 w 64"/>
                <a:gd name="T19" fmla="*/ 101124 h 50"/>
                <a:gd name="T20" fmla="*/ 84584 w 64"/>
                <a:gd name="T21" fmla="*/ 144463 h 50"/>
                <a:gd name="T22" fmla="*/ 0 w 64"/>
                <a:gd name="T23" fmla="*/ 141574 h 50"/>
                <a:gd name="T24" fmla="*/ 19100 w 64"/>
                <a:gd name="T25" fmla="*/ 101124 h 50"/>
                <a:gd name="T26" fmla="*/ 43656 w 64"/>
                <a:gd name="T27" fmla="*/ 66453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4" h="50">
                  <a:moveTo>
                    <a:pt x="16" y="23"/>
                  </a:moveTo>
                  <a:cubicBezTo>
                    <a:pt x="18" y="22"/>
                    <a:pt x="18" y="13"/>
                    <a:pt x="19" y="11"/>
                  </a:cubicBezTo>
                  <a:cubicBezTo>
                    <a:pt x="21" y="9"/>
                    <a:pt x="24" y="8"/>
                    <a:pt x="26" y="7"/>
                  </a:cubicBezTo>
                  <a:cubicBezTo>
                    <a:pt x="27" y="7"/>
                    <a:pt x="28" y="3"/>
                    <a:pt x="29" y="1"/>
                  </a:cubicBezTo>
                  <a:cubicBezTo>
                    <a:pt x="64" y="0"/>
                    <a:pt x="64" y="0"/>
                    <a:pt x="64" y="0"/>
                  </a:cubicBezTo>
                  <a:cubicBezTo>
                    <a:pt x="64" y="3"/>
                    <a:pt x="64" y="3"/>
                    <a:pt x="64" y="3"/>
                  </a:cubicBezTo>
                  <a:cubicBezTo>
                    <a:pt x="64" y="13"/>
                    <a:pt x="64" y="13"/>
                    <a:pt x="64" y="13"/>
                  </a:cubicBezTo>
                  <a:cubicBezTo>
                    <a:pt x="38" y="13"/>
                    <a:pt x="38" y="13"/>
                    <a:pt x="38" y="13"/>
                  </a:cubicBezTo>
                  <a:cubicBezTo>
                    <a:pt x="38" y="33"/>
                    <a:pt x="38" y="33"/>
                    <a:pt x="38" y="33"/>
                  </a:cubicBezTo>
                  <a:cubicBezTo>
                    <a:pt x="38" y="33"/>
                    <a:pt x="34" y="33"/>
                    <a:pt x="31" y="35"/>
                  </a:cubicBezTo>
                  <a:cubicBezTo>
                    <a:pt x="28" y="37"/>
                    <a:pt x="31" y="50"/>
                    <a:pt x="31" y="50"/>
                  </a:cubicBezTo>
                  <a:cubicBezTo>
                    <a:pt x="0" y="49"/>
                    <a:pt x="0" y="49"/>
                    <a:pt x="0" y="49"/>
                  </a:cubicBezTo>
                  <a:cubicBezTo>
                    <a:pt x="2" y="44"/>
                    <a:pt x="5" y="37"/>
                    <a:pt x="7" y="35"/>
                  </a:cubicBezTo>
                  <a:cubicBezTo>
                    <a:pt x="8" y="32"/>
                    <a:pt x="14" y="25"/>
                    <a:pt x="16" y="23"/>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7" name="Freeform 332"/>
            <p:cNvSpPr>
              <a:spLocks/>
            </p:cNvSpPr>
            <p:nvPr>
              <p:custDataLst>
                <p:tags r:id="rId246"/>
              </p:custDataLst>
            </p:nvPr>
          </p:nvSpPr>
          <p:spPr bwMode="auto">
            <a:xfrm>
              <a:off x="2513" y="2568"/>
              <a:ext cx="44" cy="26"/>
            </a:xfrm>
            <a:custGeom>
              <a:avLst/>
              <a:gdLst>
                <a:gd name="T0" fmla="*/ 11176 w 25"/>
                <a:gd name="T1" fmla="*/ 23586 h 14"/>
                <a:gd name="T2" fmla="*/ 0 w 25"/>
                <a:gd name="T3" fmla="*/ 8845 h 14"/>
                <a:gd name="T4" fmla="*/ 30734 w 25"/>
                <a:gd name="T5" fmla="*/ 0 h 14"/>
                <a:gd name="T6" fmla="*/ 69850 w 25"/>
                <a:gd name="T7" fmla="*/ 2948 h 14"/>
                <a:gd name="T8" fmla="*/ 64262 w 25"/>
                <a:gd name="T9" fmla="*/ 23586 h 14"/>
                <a:gd name="T10" fmla="*/ 50292 w 25"/>
                <a:gd name="T11" fmla="*/ 26534 h 14"/>
                <a:gd name="T12" fmla="*/ 36322 w 25"/>
                <a:gd name="T13" fmla="*/ 41275 h 14"/>
                <a:gd name="T14" fmla="*/ 33528 w 25"/>
                <a:gd name="T15" fmla="*/ 41275 h 14"/>
                <a:gd name="T16" fmla="*/ 27940 w 25"/>
                <a:gd name="T17" fmla="*/ 23586 h 14"/>
                <a:gd name="T18" fmla="*/ 11176 w 25"/>
                <a:gd name="T19" fmla="*/ 2358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14">
                  <a:moveTo>
                    <a:pt x="4" y="8"/>
                  </a:moveTo>
                  <a:cubicBezTo>
                    <a:pt x="3" y="8"/>
                    <a:pt x="1" y="5"/>
                    <a:pt x="0" y="3"/>
                  </a:cubicBezTo>
                  <a:cubicBezTo>
                    <a:pt x="11" y="0"/>
                    <a:pt x="11" y="0"/>
                    <a:pt x="11" y="0"/>
                  </a:cubicBezTo>
                  <a:cubicBezTo>
                    <a:pt x="25" y="1"/>
                    <a:pt x="25" y="1"/>
                    <a:pt x="25" y="1"/>
                  </a:cubicBezTo>
                  <a:cubicBezTo>
                    <a:pt x="22" y="1"/>
                    <a:pt x="24" y="7"/>
                    <a:pt x="23" y="8"/>
                  </a:cubicBezTo>
                  <a:cubicBezTo>
                    <a:pt x="22" y="9"/>
                    <a:pt x="19" y="8"/>
                    <a:pt x="18" y="9"/>
                  </a:cubicBezTo>
                  <a:cubicBezTo>
                    <a:pt x="16" y="9"/>
                    <a:pt x="13" y="14"/>
                    <a:pt x="13" y="14"/>
                  </a:cubicBezTo>
                  <a:cubicBezTo>
                    <a:pt x="13" y="14"/>
                    <a:pt x="12" y="14"/>
                    <a:pt x="12" y="14"/>
                  </a:cubicBezTo>
                  <a:cubicBezTo>
                    <a:pt x="11" y="12"/>
                    <a:pt x="9" y="10"/>
                    <a:pt x="10" y="8"/>
                  </a:cubicBezTo>
                  <a:cubicBezTo>
                    <a:pt x="10" y="6"/>
                    <a:pt x="6" y="8"/>
                    <a:pt x="4"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8" name="Freeform 333"/>
            <p:cNvSpPr>
              <a:spLocks/>
            </p:cNvSpPr>
            <p:nvPr>
              <p:custDataLst>
                <p:tags r:id="rId247"/>
              </p:custDataLst>
            </p:nvPr>
          </p:nvSpPr>
          <p:spPr bwMode="auto">
            <a:xfrm>
              <a:off x="2503" y="2511"/>
              <a:ext cx="78" cy="63"/>
            </a:xfrm>
            <a:custGeom>
              <a:avLst/>
              <a:gdLst>
                <a:gd name="T0" fmla="*/ 37686 w 46"/>
                <a:gd name="T1" fmla="*/ 76481 h 34"/>
                <a:gd name="T2" fmla="*/ 16151 w 46"/>
                <a:gd name="T3" fmla="*/ 64714 h 34"/>
                <a:gd name="T4" fmla="*/ 8076 w 46"/>
                <a:gd name="T5" fmla="*/ 50007 h 34"/>
                <a:gd name="T6" fmla="*/ 0 w 46"/>
                <a:gd name="T7" fmla="*/ 44123 h 34"/>
                <a:gd name="T8" fmla="*/ 18843 w 46"/>
                <a:gd name="T9" fmla="*/ 11766 h 34"/>
                <a:gd name="T10" fmla="*/ 21535 w 46"/>
                <a:gd name="T11" fmla="*/ 0 h 34"/>
                <a:gd name="T12" fmla="*/ 37686 w 46"/>
                <a:gd name="T13" fmla="*/ 2942 h 34"/>
                <a:gd name="T14" fmla="*/ 61913 w 46"/>
                <a:gd name="T15" fmla="*/ 2942 h 34"/>
                <a:gd name="T16" fmla="*/ 107674 w 46"/>
                <a:gd name="T17" fmla="*/ 47065 h 34"/>
                <a:gd name="T18" fmla="*/ 118441 w 46"/>
                <a:gd name="T19" fmla="*/ 73539 h 34"/>
                <a:gd name="T20" fmla="*/ 123825 w 46"/>
                <a:gd name="T21" fmla="*/ 97071 h 34"/>
                <a:gd name="T22" fmla="*/ 83447 w 46"/>
                <a:gd name="T23" fmla="*/ 94130 h 34"/>
                <a:gd name="T24" fmla="*/ 45761 w 46"/>
                <a:gd name="T25" fmla="*/ 91188 h 34"/>
                <a:gd name="T26" fmla="*/ 16151 w 46"/>
                <a:gd name="T27" fmla="*/ 100013 h 34"/>
                <a:gd name="T28" fmla="*/ 13459 w 46"/>
                <a:gd name="T29" fmla="*/ 88247 h 34"/>
                <a:gd name="T30" fmla="*/ 37686 w 46"/>
                <a:gd name="T31" fmla="*/ 76481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6" h="34">
                  <a:moveTo>
                    <a:pt x="14" y="26"/>
                  </a:moveTo>
                  <a:cubicBezTo>
                    <a:pt x="14" y="21"/>
                    <a:pt x="9" y="24"/>
                    <a:pt x="6" y="22"/>
                  </a:cubicBezTo>
                  <a:cubicBezTo>
                    <a:pt x="3" y="20"/>
                    <a:pt x="3" y="17"/>
                    <a:pt x="3" y="17"/>
                  </a:cubicBezTo>
                  <a:cubicBezTo>
                    <a:pt x="3" y="16"/>
                    <a:pt x="0" y="16"/>
                    <a:pt x="0" y="15"/>
                  </a:cubicBezTo>
                  <a:cubicBezTo>
                    <a:pt x="0" y="13"/>
                    <a:pt x="6" y="8"/>
                    <a:pt x="7" y="4"/>
                  </a:cubicBezTo>
                  <a:cubicBezTo>
                    <a:pt x="8" y="2"/>
                    <a:pt x="8" y="1"/>
                    <a:pt x="8" y="0"/>
                  </a:cubicBezTo>
                  <a:cubicBezTo>
                    <a:pt x="8" y="0"/>
                    <a:pt x="13" y="2"/>
                    <a:pt x="14" y="1"/>
                  </a:cubicBezTo>
                  <a:cubicBezTo>
                    <a:pt x="16" y="1"/>
                    <a:pt x="21" y="0"/>
                    <a:pt x="23" y="1"/>
                  </a:cubicBezTo>
                  <a:cubicBezTo>
                    <a:pt x="26" y="2"/>
                    <a:pt x="37" y="17"/>
                    <a:pt x="40" y="16"/>
                  </a:cubicBezTo>
                  <a:cubicBezTo>
                    <a:pt x="40" y="16"/>
                    <a:pt x="42" y="23"/>
                    <a:pt x="44" y="25"/>
                  </a:cubicBezTo>
                  <a:cubicBezTo>
                    <a:pt x="45" y="27"/>
                    <a:pt x="46" y="33"/>
                    <a:pt x="46" y="33"/>
                  </a:cubicBezTo>
                  <a:cubicBezTo>
                    <a:pt x="45" y="32"/>
                    <a:pt x="33" y="31"/>
                    <a:pt x="31" y="32"/>
                  </a:cubicBezTo>
                  <a:cubicBezTo>
                    <a:pt x="17" y="31"/>
                    <a:pt x="17" y="31"/>
                    <a:pt x="17" y="31"/>
                  </a:cubicBezTo>
                  <a:cubicBezTo>
                    <a:pt x="6" y="34"/>
                    <a:pt x="6" y="34"/>
                    <a:pt x="6" y="34"/>
                  </a:cubicBezTo>
                  <a:cubicBezTo>
                    <a:pt x="6" y="33"/>
                    <a:pt x="5" y="31"/>
                    <a:pt x="5" y="30"/>
                  </a:cubicBezTo>
                  <a:cubicBezTo>
                    <a:pt x="5" y="27"/>
                    <a:pt x="15" y="27"/>
                    <a:pt x="14" y="26"/>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79" name="Freeform 334"/>
            <p:cNvSpPr>
              <a:spLocks/>
            </p:cNvSpPr>
            <p:nvPr>
              <p:custDataLst>
                <p:tags r:id="rId248"/>
              </p:custDataLst>
            </p:nvPr>
          </p:nvSpPr>
          <p:spPr bwMode="auto">
            <a:xfrm>
              <a:off x="2507" y="2358"/>
              <a:ext cx="161" cy="185"/>
            </a:xfrm>
            <a:custGeom>
              <a:avLst/>
              <a:gdLst>
                <a:gd name="T0" fmla="*/ 13595 w 94"/>
                <a:gd name="T1" fmla="*/ 148298 h 101"/>
                <a:gd name="T2" fmla="*/ 0 w 94"/>
                <a:gd name="T3" fmla="*/ 154114 h 101"/>
                <a:gd name="T4" fmla="*/ 0 w 94"/>
                <a:gd name="T5" fmla="*/ 142482 h 101"/>
                <a:gd name="T6" fmla="*/ 2719 w 94"/>
                <a:gd name="T7" fmla="*/ 133759 h 101"/>
                <a:gd name="T8" fmla="*/ 87009 w 94"/>
                <a:gd name="T9" fmla="*/ 136667 h 101"/>
                <a:gd name="T10" fmla="*/ 87009 w 94"/>
                <a:gd name="T11" fmla="*/ 93050 h 101"/>
                <a:gd name="T12" fmla="*/ 106042 w 94"/>
                <a:gd name="T13" fmla="*/ 87234 h 101"/>
                <a:gd name="T14" fmla="*/ 106042 w 94"/>
                <a:gd name="T15" fmla="*/ 29078 h 101"/>
                <a:gd name="T16" fmla="*/ 176736 w 94"/>
                <a:gd name="T17" fmla="*/ 29078 h 101"/>
                <a:gd name="T18" fmla="*/ 176736 w 94"/>
                <a:gd name="T19" fmla="*/ 0 h 101"/>
                <a:gd name="T20" fmla="*/ 255588 w 94"/>
                <a:gd name="T21" fmla="*/ 55248 h 101"/>
                <a:gd name="T22" fmla="*/ 220241 w 94"/>
                <a:gd name="T23" fmla="*/ 58156 h 101"/>
                <a:gd name="T24" fmla="*/ 247431 w 94"/>
                <a:gd name="T25" fmla="*/ 252979 h 101"/>
                <a:gd name="T26" fmla="*/ 241993 w 94"/>
                <a:gd name="T27" fmla="*/ 273333 h 101"/>
                <a:gd name="T28" fmla="*/ 133232 w 94"/>
                <a:gd name="T29" fmla="*/ 279149 h 101"/>
                <a:gd name="T30" fmla="*/ 116918 w 94"/>
                <a:gd name="T31" fmla="*/ 270426 h 101"/>
                <a:gd name="T32" fmla="*/ 103323 w 94"/>
                <a:gd name="T33" fmla="*/ 290780 h 101"/>
                <a:gd name="T34" fmla="*/ 57099 w 94"/>
                <a:gd name="T35" fmla="*/ 247163 h 101"/>
                <a:gd name="T36" fmla="*/ 32628 w 94"/>
                <a:gd name="T37" fmla="*/ 247163 h 101"/>
                <a:gd name="T38" fmla="*/ 16314 w 94"/>
                <a:gd name="T39" fmla="*/ 244255 h 101"/>
                <a:gd name="T40" fmla="*/ 21752 w 94"/>
                <a:gd name="T41" fmla="*/ 226809 h 101"/>
                <a:gd name="T42" fmla="*/ 13595 w 94"/>
                <a:gd name="T43" fmla="*/ 186099 h 101"/>
                <a:gd name="T44" fmla="*/ 16314 w 94"/>
                <a:gd name="T45" fmla="*/ 168653 h 101"/>
                <a:gd name="T46" fmla="*/ 13595 w 94"/>
                <a:gd name="T47" fmla="*/ 148298 h 1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4" h="101">
                  <a:moveTo>
                    <a:pt x="5" y="51"/>
                  </a:moveTo>
                  <a:cubicBezTo>
                    <a:pt x="5" y="49"/>
                    <a:pt x="0" y="54"/>
                    <a:pt x="0" y="53"/>
                  </a:cubicBezTo>
                  <a:cubicBezTo>
                    <a:pt x="0" y="51"/>
                    <a:pt x="0" y="51"/>
                    <a:pt x="0" y="49"/>
                  </a:cubicBezTo>
                  <a:cubicBezTo>
                    <a:pt x="0" y="48"/>
                    <a:pt x="1" y="47"/>
                    <a:pt x="1" y="46"/>
                  </a:cubicBezTo>
                  <a:cubicBezTo>
                    <a:pt x="32" y="47"/>
                    <a:pt x="32" y="47"/>
                    <a:pt x="32" y="47"/>
                  </a:cubicBezTo>
                  <a:cubicBezTo>
                    <a:pt x="32" y="47"/>
                    <a:pt x="29" y="34"/>
                    <a:pt x="32" y="32"/>
                  </a:cubicBezTo>
                  <a:cubicBezTo>
                    <a:pt x="35" y="30"/>
                    <a:pt x="39" y="30"/>
                    <a:pt x="39" y="30"/>
                  </a:cubicBezTo>
                  <a:cubicBezTo>
                    <a:pt x="39" y="10"/>
                    <a:pt x="39" y="10"/>
                    <a:pt x="39" y="10"/>
                  </a:cubicBezTo>
                  <a:cubicBezTo>
                    <a:pt x="65" y="10"/>
                    <a:pt x="65" y="10"/>
                    <a:pt x="65" y="10"/>
                  </a:cubicBezTo>
                  <a:cubicBezTo>
                    <a:pt x="65" y="0"/>
                    <a:pt x="65" y="0"/>
                    <a:pt x="65" y="0"/>
                  </a:cubicBezTo>
                  <a:cubicBezTo>
                    <a:pt x="94" y="19"/>
                    <a:pt x="94" y="19"/>
                    <a:pt x="94" y="19"/>
                  </a:cubicBezTo>
                  <a:cubicBezTo>
                    <a:pt x="81" y="20"/>
                    <a:pt x="81" y="20"/>
                    <a:pt x="81" y="20"/>
                  </a:cubicBezTo>
                  <a:cubicBezTo>
                    <a:pt x="91" y="87"/>
                    <a:pt x="91" y="87"/>
                    <a:pt x="91" y="87"/>
                  </a:cubicBezTo>
                  <a:cubicBezTo>
                    <a:pt x="89" y="94"/>
                    <a:pt x="89" y="94"/>
                    <a:pt x="89" y="94"/>
                  </a:cubicBezTo>
                  <a:cubicBezTo>
                    <a:pt x="89" y="94"/>
                    <a:pt x="50" y="96"/>
                    <a:pt x="49" y="96"/>
                  </a:cubicBezTo>
                  <a:cubicBezTo>
                    <a:pt x="47" y="96"/>
                    <a:pt x="46" y="93"/>
                    <a:pt x="43" y="93"/>
                  </a:cubicBezTo>
                  <a:cubicBezTo>
                    <a:pt x="41" y="93"/>
                    <a:pt x="41" y="99"/>
                    <a:pt x="38" y="100"/>
                  </a:cubicBezTo>
                  <a:cubicBezTo>
                    <a:pt x="35" y="101"/>
                    <a:pt x="24" y="86"/>
                    <a:pt x="21" y="85"/>
                  </a:cubicBezTo>
                  <a:cubicBezTo>
                    <a:pt x="19" y="84"/>
                    <a:pt x="14" y="85"/>
                    <a:pt x="12" y="85"/>
                  </a:cubicBezTo>
                  <a:cubicBezTo>
                    <a:pt x="11" y="86"/>
                    <a:pt x="6" y="84"/>
                    <a:pt x="6" y="84"/>
                  </a:cubicBezTo>
                  <a:cubicBezTo>
                    <a:pt x="7" y="82"/>
                    <a:pt x="7" y="80"/>
                    <a:pt x="8" y="78"/>
                  </a:cubicBezTo>
                  <a:cubicBezTo>
                    <a:pt x="10" y="74"/>
                    <a:pt x="5" y="67"/>
                    <a:pt x="5" y="64"/>
                  </a:cubicBezTo>
                  <a:cubicBezTo>
                    <a:pt x="5" y="61"/>
                    <a:pt x="3" y="61"/>
                    <a:pt x="6" y="58"/>
                  </a:cubicBezTo>
                  <a:cubicBezTo>
                    <a:pt x="9" y="56"/>
                    <a:pt x="5" y="53"/>
                    <a:pt x="5" y="5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0" name="Freeform 335"/>
            <p:cNvSpPr>
              <a:spLocks/>
            </p:cNvSpPr>
            <p:nvPr>
              <p:custDataLst>
                <p:tags r:id="rId249"/>
              </p:custDataLst>
            </p:nvPr>
          </p:nvSpPr>
          <p:spPr bwMode="auto">
            <a:xfrm>
              <a:off x="3056" y="2591"/>
              <a:ext cx="144" cy="106"/>
            </a:xfrm>
            <a:custGeom>
              <a:avLst/>
              <a:gdLst>
                <a:gd name="T0" fmla="*/ 168275 w 144"/>
                <a:gd name="T1" fmla="*/ 34925 h 106"/>
                <a:gd name="T2" fmla="*/ 177800 w 144"/>
                <a:gd name="T3" fmla="*/ 0 h 106"/>
                <a:gd name="T4" fmla="*/ 190500 w 144"/>
                <a:gd name="T5" fmla="*/ 60325 h 106"/>
                <a:gd name="T6" fmla="*/ 171450 w 144"/>
                <a:gd name="T7" fmla="*/ 60325 h 106"/>
                <a:gd name="T8" fmla="*/ 171450 w 144"/>
                <a:gd name="T9" fmla="*/ 80963 h 106"/>
                <a:gd name="T10" fmla="*/ 192088 w 144"/>
                <a:gd name="T11" fmla="*/ 88900 h 106"/>
                <a:gd name="T12" fmla="*/ 217488 w 144"/>
                <a:gd name="T13" fmla="*/ 103188 h 106"/>
                <a:gd name="T14" fmla="*/ 225425 w 144"/>
                <a:gd name="T15" fmla="*/ 119063 h 106"/>
                <a:gd name="T16" fmla="*/ 228600 w 144"/>
                <a:gd name="T17" fmla="*/ 144463 h 106"/>
                <a:gd name="T18" fmla="*/ 228600 w 144"/>
                <a:gd name="T19" fmla="*/ 144463 h 106"/>
                <a:gd name="T20" fmla="*/ 198438 w 144"/>
                <a:gd name="T21" fmla="*/ 144463 h 106"/>
                <a:gd name="T22" fmla="*/ 192088 w 144"/>
                <a:gd name="T23" fmla="*/ 153988 h 106"/>
                <a:gd name="T24" fmla="*/ 187325 w 144"/>
                <a:gd name="T25" fmla="*/ 165100 h 106"/>
                <a:gd name="T26" fmla="*/ 160338 w 144"/>
                <a:gd name="T27" fmla="*/ 165100 h 106"/>
                <a:gd name="T28" fmla="*/ 130175 w 144"/>
                <a:gd name="T29" fmla="*/ 168275 h 106"/>
                <a:gd name="T30" fmla="*/ 111125 w 144"/>
                <a:gd name="T31" fmla="*/ 157163 h 106"/>
                <a:gd name="T32" fmla="*/ 100013 w 144"/>
                <a:gd name="T33" fmla="*/ 144463 h 106"/>
                <a:gd name="T34" fmla="*/ 84138 w 144"/>
                <a:gd name="T35" fmla="*/ 153988 h 106"/>
                <a:gd name="T36" fmla="*/ 61913 w 144"/>
                <a:gd name="T37" fmla="*/ 141288 h 106"/>
                <a:gd name="T38" fmla="*/ 50800 w 144"/>
                <a:gd name="T39" fmla="*/ 133350 h 106"/>
                <a:gd name="T40" fmla="*/ 53975 w 144"/>
                <a:gd name="T41" fmla="*/ 119063 h 106"/>
                <a:gd name="T42" fmla="*/ 34925 w 144"/>
                <a:gd name="T43" fmla="*/ 101600 h 106"/>
                <a:gd name="T44" fmla="*/ 12700 w 144"/>
                <a:gd name="T45" fmla="*/ 84138 h 106"/>
                <a:gd name="T46" fmla="*/ 0 w 144"/>
                <a:gd name="T47" fmla="*/ 66675 h 106"/>
                <a:gd name="T48" fmla="*/ 28575 w 144"/>
                <a:gd name="T49" fmla="*/ 42863 h 106"/>
                <a:gd name="T50" fmla="*/ 58738 w 144"/>
                <a:gd name="T51" fmla="*/ 57150 h 106"/>
                <a:gd name="T52" fmla="*/ 82550 w 144"/>
                <a:gd name="T53" fmla="*/ 63500 h 106"/>
                <a:gd name="T54" fmla="*/ 168275 w 144"/>
                <a:gd name="T55" fmla="*/ 34925 h 10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44" h="106">
                  <a:moveTo>
                    <a:pt x="106" y="22"/>
                  </a:moveTo>
                  <a:cubicBezTo>
                    <a:pt x="104" y="26"/>
                    <a:pt x="113" y="0"/>
                    <a:pt x="112" y="0"/>
                  </a:cubicBezTo>
                  <a:cubicBezTo>
                    <a:pt x="118" y="2"/>
                    <a:pt x="121" y="32"/>
                    <a:pt x="120" y="38"/>
                  </a:cubicBezTo>
                  <a:cubicBezTo>
                    <a:pt x="118" y="40"/>
                    <a:pt x="109" y="34"/>
                    <a:pt x="108" y="38"/>
                  </a:cubicBezTo>
                  <a:cubicBezTo>
                    <a:pt x="106" y="43"/>
                    <a:pt x="104" y="51"/>
                    <a:pt x="108" y="51"/>
                  </a:cubicBezTo>
                  <a:cubicBezTo>
                    <a:pt x="111" y="53"/>
                    <a:pt x="118" y="51"/>
                    <a:pt x="121" y="56"/>
                  </a:cubicBezTo>
                  <a:cubicBezTo>
                    <a:pt x="126" y="60"/>
                    <a:pt x="137" y="62"/>
                    <a:pt x="137" y="65"/>
                  </a:cubicBezTo>
                  <a:cubicBezTo>
                    <a:pt x="137" y="69"/>
                    <a:pt x="138" y="75"/>
                    <a:pt x="142" y="75"/>
                  </a:cubicBezTo>
                  <a:cubicBezTo>
                    <a:pt x="144" y="91"/>
                    <a:pt x="144" y="91"/>
                    <a:pt x="144" y="91"/>
                  </a:cubicBezTo>
                  <a:cubicBezTo>
                    <a:pt x="144" y="91"/>
                    <a:pt x="144" y="91"/>
                    <a:pt x="144" y="91"/>
                  </a:cubicBezTo>
                  <a:cubicBezTo>
                    <a:pt x="125" y="91"/>
                    <a:pt x="125" y="91"/>
                    <a:pt x="125" y="91"/>
                  </a:cubicBezTo>
                  <a:cubicBezTo>
                    <a:pt x="121" y="97"/>
                    <a:pt x="121" y="97"/>
                    <a:pt x="121" y="97"/>
                  </a:cubicBezTo>
                  <a:cubicBezTo>
                    <a:pt x="118" y="104"/>
                    <a:pt x="118" y="104"/>
                    <a:pt x="118" y="104"/>
                  </a:cubicBezTo>
                  <a:cubicBezTo>
                    <a:pt x="118" y="104"/>
                    <a:pt x="106" y="104"/>
                    <a:pt x="101" y="104"/>
                  </a:cubicBezTo>
                  <a:cubicBezTo>
                    <a:pt x="96" y="104"/>
                    <a:pt x="84" y="104"/>
                    <a:pt x="82" y="106"/>
                  </a:cubicBezTo>
                  <a:cubicBezTo>
                    <a:pt x="70" y="99"/>
                    <a:pt x="70" y="99"/>
                    <a:pt x="70" y="99"/>
                  </a:cubicBezTo>
                  <a:cubicBezTo>
                    <a:pt x="70" y="99"/>
                    <a:pt x="67" y="93"/>
                    <a:pt x="63" y="91"/>
                  </a:cubicBezTo>
                  <a:cubicBezTo>
                    <a:pt x="60" y="89"/>
                    <a:pt x="61" y="97"/>
                    <a:pt x="53" y="97"/>
                  </a:cubicBezTo>
                  <a:cubicBezTo>
                    <a:pt x="44" y="97"/>
                    <a:pt x="43" y="93"/>
                    <a:pt x="39" y="89"/>
                  </a:cubicBezTo>
                  <a:cubicBezTo>
                    <a:pt x="37" y="88"/>
                    <a:pt x="36" y="86"/>
                    <a:pt x="32" y="84"/>
                  </a:cubicBezTo>
                  <a:cubicBezTo>
                    <a:pt x="34" y="75"/>
                    <a:pt x="34" y="75"/>
                    <a:pt x="34" y="75"/>
                  </a:cubicBezTo>
                  <a:cubicBezTo>
                    <a:pt x="34" y="75"/>
                    <a:pt x="24" y="65"/>
                    <a:pt x="22" y="64"/>
                  </a:cubicBezTo>
                  <a:cubicBezTo>
                    <a:pt x="20" y="62"/>
                    <a:pt x="12" y="54"/>
                    <a:pt x="8" y="53"/>
                  </a:cubicBezTo>
                  <a:cubicBezTo>
                    <a:pt x="5" y="51"/>
                    <a:pt x="1" y="45"/>
                    <a:pt x="0" y="42"/>
                  </a:cubicBezTo>
                  <a:cubicBezTo>
                    <a:pt x="0" y="38"/>
                    <a:pt x="18" y="27"/>
                    <a:pt x="18" y="27"/>
                  </a:cubicBezTo>
                  <a:cubicBezTo>
                    <a:pt x="18" y="27"/>
                    <a:pt x="37" y="42"/>
                    <a:pt x="37" y="36"/>
                  </a:cubicBezTo>
                  <a:cubicBezTo>
                    <a:pt x="37" y="31"/>
                    <a:pt x="53" y="44"/>
                    <a:pt x="52" y="40"/>
                  </a:cubicBezTo>
                  <a:cubicBezTo>
                    <a:pt x="72" y="27"/>
                    <a:pt x="90" y="33"/>
                    <a:pt x="106" y="2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1" name="Freeform 336"/>
            <p:cNvSpPr>
              <a:spLocks/>
            </p:cNvSpPr>
            <p:nvPr>
              <p:custDataLst>
                <p:tags r:id="rId250"/>
              </p:custDataLst>
            </p:nvPr>
          </p:nvSpPr>
          <p:spPr bwMode="auto">
            <a:xfrm>
              <a:off x="3018" y="2419"/>
              <a:ext cx="221" cy="217"/>
            </a:xfrm>
            <a:custGeom>
              <a:avLst/>
              <a:gdLst>
                <a:gd name="T0" fmla="*/ 42771 w 607"/>
                <a:gd name="T1" fmla="*/ 79186 h 596"/>
                <a:gd name="T2" fmla="*/ 42771 w 607"/>
                <a:gd name="T3" fmla="*/ 69938 h 596"/>
                <a:gd name="T4" fmla="*/ 65313 w 607"/>
                <a:gd name="T5" fmla="*/ 69938 h 596"/>
                <a:gd name="T6" fmla="*/ 65313 w 607"/>
                <a:gd name="T7" fmla="*/ 20808 h 596"/>
                <a:gd name="T8" fmla="*/ 236397 w 607"/>
                <a:gd name="T9" fmla="*/ 20808 h 596"/>
                <a:gd name="T10" fmla="*/ 250846 w 607"/>
                <a:gd name="T11" fmla="*/ 28322 h 596"/>
                <a:gd name="T12" fmla="*/ 266452 w 607"/>
                <a:gd name="T13" fmla="*/ 17340 h 596"/>
                <a:gd name="T14" fmla="*/ 271654 w 607"/>
                <a:gd name="T15" fmla="*/ 2890 h 596"/>
                <a:gd name="T16" fmla="*/ 285525 w 607"/>
                <a:gd name="T17" fmla="*/ 0 h 596"/>
                <a:gd name="T18" fmla="*/ 288993 w 607"/>
                <a:gd name="T19" fmla="*/ 2890 h 596"/>
                <a:gd name="T20" fmla="*/ 301709 w 607"/>
                <a:gd name="T21" fmla="*/ 9248 h 596"/>
                <a:gd name="T22" fmla="*/ 312691 w 607"/>
                <a:gd name="T23" fmla="*/ 20808 h 596"/>
                <a:gd name="T24" fmla="*/ 323673 w 607"/>
                <a:gd name="T25" fmla="*/ 93636 h 596"/>
                <a:gd name="T26" fmla="*/ 347948 w 607"/>
                <a:gd name="T27" fmla="*/ 110976 h 596"/>
                <a:gd name="T28" fmla="*/ 350838 w 607"/>
                <a:gd name="T29" fmla="*/ 119068 h 596"/>
                <a:gd name="T30" fmla="*/ 336388 w 607"/>
                <a:gd name="T31" fmla="*/ 125426 h 596"/>
                <a:gd name="T32" fmla="*/ 316159 w 607"/>
                <a:gd name="T33" fmla="*/ 152592 h 596"/>
                <a:gd name="T34" fmla="*/ 304599 w 607"/>
                <a:gd name="T35" fmla="*/ 204612 h 596"/>
                <a:gd name="T36" fmla="*/ 297085 w 607"/>
                <a:gd name="T37" fmla="*/ 233512 h 596"/>
                <a:gd name="T38" fmla="*/ 278012 w 607"/>
                <a:gd name="T39" fmla="*/ 250852 h 596"/>
                <a:gd name="T40" fmla="*/ 271654 w 607"/>
                <a:gd name="T41" fmla="*/ 278018 h 596"/>
                <a:gd name="T42" fmla="*/ 260094 w 607"/>
                <a:gd name="T43" fmla="*/ 285532 h 596"/>
                <a:gd name="T44" fmla="*/ 250846 w 607"/>
                <a:gd name="T45" fmla="*/ 333506 h 596"/>
                <a:gd name="T46" fmla="*/ 241021 w 607"/>
                <a:gd name="T47" fmla="*/ 274550 h 596"/>
                <a:gd name="T48" fmla="*/ 227149 w 607"/>
                <a:gd name="T49" fmla="*/ 310964 h 596"/>
                <a:gd name="T50" fmla="*/ 142185 w 607"/>
                <a:gd name="T51" fmla="*/ 336396 h 596"/>
                <a:gd name="T52" fmla="*/ 114441 w 607"/>
                <a:gd name="T53" fmla="*/ 331772 h 596"/>
                <a:gd name="T54" fmla="*/ 89010 w 607"/>
                <a:gd name="T55" fmla="*/ 316166 h 596"/>
                <a:gd name="T56" fmla="*/ 60111 w 607"/>
                <a:gd name="T57" fmla="*/ 339864 h 596"/>
                <a:gd name="T58" fmla="*/ 34679 w 607"/>
                <a:gd name="T59" fmla="*/ 327148 h 596"/>
                <a:gd name="T60" fmla="*/ 38147 w 607"/>
                <a:gd name="T61" fmla="*/ 303450 h 596"/>
                <a:gd name="T62" fmla="*/ 21963 w 607"/>
                <a:gd name="T63" fmla="*/ 278018 h 596"/>
                <a:gd name="T64" fmla="*/ 23697 w 607"/>
                <a:gd name="T65" fmla="*/ 257210 h 596"/>
                <a:gd name="T66" fmla="*/ 10982 w 607"/>
                <a:gd name="T67" fmla="*/ 239870 h 596"/>
                <a:gd name="T68" fmla="*/ 0 w 607"/>
                <a:gd name="T69" fmla="*/ 230044 h 596"/>
                <a:gd name="T70" fmla="*/ 10982 w 607"/>
                <a:gd name="T71" fmla="*/ 208080 h 596"/>
                <a:gd name="T72" fmla="*/ 21963 w 607"/>
                <a:gd name="T73" fmla="*/ 172822 h 596"/>
                <a:gd name="T74" fmla="*/ 42771 w 607"/>
                <a:gd name="T75" fmla="*/ 166464 h 596"/>
                <a:gd name="T76" fmla="*/ 42771 w 607"/>
                <a:gd name="T77" fmla="*/ 79186 h 5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607" h="596">
                  <a:moveTo>
                    <a:pt x="74" y="137"/>
                  </a:moveTo>
                  <a:cubicBezTo>
                    <a:pt x="74" y="121"/>
                    <a:pt x="74" y="121"/>
                    <a:pt x="74" y="121"/>
                  </a:cubicBezTo>
                  <a:cubicBezTo>
                    <a:pt x="113" y="121"/>
                    <a:pt x="113" y="121"/>
                    <a:pt x="113" y="121"/>
                  </a:cubicBezTo>
                  <a:cubicBezTo>
                    <a:pt x="113" y="36"/>
                    <a:pt x="113" y="36"/>
                    <a:pt x="113" y="36"/>
                  </a:cubicBezTo>
                  <a:cubicBezTo>
                    <a:pt x="409" y="36"/>
                    <a:pt x="409" y="36"/>
                    <a:pt x="409" y="36"/>
                  </a:cubicBezTo>
                  <a:cubicBezTo>
                    <a:pt x="417" y="41"/>
                    <a:pt x="423" y="55"/>
                    <a:pt x="434" y="49"/>
                  </a:cubicBezTo>
                  <a:cubicBezTo>
                    <a:pt x="442" y="47"/>
                    <a:pt x="461" y="30"/>
                    <a:pt x="461" y="30"/>
                  </a:cubicBezTo>
                  <a:cubicBezTo>
                    <a:pt x="461" y="30"/>
                    <a:pt x="467" y="5"/>
                    <a:pt x="470" y="5"/>
                  </a:cubicBezTo>
                  <a:cubicBezTo>
                    <a:pt x="481" y="5"/>
                    <a:pt x="494" y="0"/>
                    <a:pt x="494" y="0"/>
                  </a:cubicBezTo>
                  <a:cubicBezTo>
                    <a:pt x="494" y="0"/>
                    <a:pt x="494" y="5"/>
                    <a:pt x="500" y="5"/>
                  </a:cubicBezTo>
                  <a:cubicBezTo>
                    <a:pt x="516" y="16"/>
                    <a:pt x="516" y="11"/>
                    <a:pt x="522" y="16"/>
                  </a:cubicBezTo>
                  <a:cubicBezTo>
                    <a:pt x="527" y="16"/>
                    <a:pt x="541" y="30"/>
                    <a:pt x="541" y="36"/>
                  </a:cubicBezTo>
                  <a:cubicBezTo>
                    <a:pt x="547" y="41"/>
                    <a:pt x="549" y="151"/>
                    <a:pt x="560" y="162"/>
                  </a:cubicBezTo>
                  <a:cubicBezTo>
                    <a:pt x="569" y="173"/>
                    <a:pt x="599" y="181"/>
                    <a:pt x="602" y="192"/>
                  </a:cubicBezTo>
                  <a:cubicBezTo>
                    <a:pt x="602" y="198"/>
                    <a:pt x="602" y="203"/>
                    <a:pt x="607" y="206"/>
                  </a:cubicBezTo>
                  <a:cubicBezTo>
                    <a:pt x="607" y="206"/>
                    <a:pt x="599" y="211"/>
                    <a:pt x="582" y="217"/>
                  </a:cubicBezTo>
                  <a:cubicBezTo>
                    <a:pt x="574" y="222"/>
                    <a:pt x="549" y="228"/>
                    <a:pt x="547" y="264"/>
                  </a:cubicBezTo>
                  <a:cubicBezTo>
                    <a:pt x="536" y="299"/>
                    <a:pt x="533" y="338"/>
                    <a:pt x="527" y="354"/>
                  </a:cubicBezTo>
                  <a:cubicBezTo>
                    <a:pt x="522" y="365"/>
                    <a:pt x="516" y="404"/>
                    <a:pt x="514" y="404"/>
                  </a:cubicBezTo>
                  <a:cubicBezTo>
                    <a:pt x="508" y="409"/>
                    <a:pt x="489" y="415"/>
                    <a:pt x="481" y="434"/>
                  </a:cubicBezTo>
                  <a:cubicBezTo>
                    <a:pt x="475" y="450"/>
                    <a:pt x="470" y="481"/>
                    <a:pt x="470" y="481"/>
                  </a:cubicBezTo>
                  <a:cubicBezTo>
                    <a:pt x="470" y="481"/>
                    <a:pt x="450" y="475"/>
                    <a:pt x="450" y="494"/>
                  </a:cubicBezTo>
                  <a:cubicBezTo>
                    <a:pt x="450" y="511"/>
                    <a:pt x="442" y="566"/>
                    <a:pt x="434" y="577"/>
                  </a:cubicBezTo>
                  <a:cubicBezTo>
                    <a:pt x="428" y="574"/>
                    <a:pt x="423" y="481"/>
                    <a:pt x="417" y="475"/>
                  </a:cubicBezTo>
                  <a:cubicBezTo>
                    <a:pt x="400" y="502"/>
                    <a:pt x="403" y="511"/>
                    <a:pt x="393" y="538"/>
                  </a:cubicBezTo>
                  <a:cubicBezTo>
                    <a:pt x="231" y="573"/>
                    <a:pt x="278" y="576"/>
                    <a:pt x="246" y="582"/>
                  </a:cubicBezTo>
                  <a:cubicBezTo>
                    <a:pt x="246" y="582"/>
                    <a:pt x="202" y="552"/>
                    <a:pt x="198" y="574"/>
                  </a:cubicBezTo>
                  <a:cubicBezTo>
                    <a:pt x="193" y="569"/>
                    <a:pt x="165" y="550"/>
                    <a:pt x="154" y="547"/>
                  </a:cubicBezTo>
                  <a:cubicBezTo>
                    <a:pt x="146" y="542"/>
                    <a:pt x="107" y="596"/>
                    <a:pt x="104" y="588"/>
                  </a:cubicBezTo>
                  <a:cubicBezTo>
                    <a:pt x="104" y="577"/>
                    <a:pt x="60" y="566"/>
                    <a:pt x="60" y="566"/>
                  </a:cubicBezTo>
                  <a:cubicBezTo>
                    <a:pt x="60" y="566"/>
                    <a:pt x="66" y="541"/>
                    <a:pt x="66" y="525"/>
                  </a:cubicBezTo>
                  <a:cubicBezTo>
                    <a:pt x="66" y="511"/>
                    <a:pt x="41" y="492"/>
                    <a:pt x="38" y="481"/>
                  </a:cubicBezTo>
                  <a:cubicBezTo>
                    <a:pt x="41" y="445"/>
                    <a:pt x="41" y="445"/>
                    <a:pt x="41" y="445"/>
                  </a:cubicBezTo>
                  <a:cubicBezTo>
                    <a:pt x="33" y="434"/>
                    <a:pt x="19" y="426"/>
                    <a:pt x="19" y="415"/>
                  </a:cubicBezTo>
                  <a:cubicBezTo>
                    <a:pt x="19" y="409"/>
                    <a:pt x="0" y="420"/>
                    <a:pt x="0" y="398"/>
                  </a:cubicBezTo>
                  <a:cubicBezTo>
                    <a:pt x="5" y="385"/>
                    <a:pt x="19" y="374"/>
                    <a:pt x="19" y="360"/>
                  </a:cubicBezTo>
                  <a:cubicBezTo>
                    <a:pt x="25" y="343"/>
                    <a:pt x="27" y="308"/>
                    <a:pt x="38" y="299"/>
                  </a:cubicBezTo>
                  <a:cubicBezTo>
                    <a:pt x="41" y="294"/>
                    <a:pt x="74" y="288"/>
                    <a:pt x="74" y="288"/>
                  </a:cubicBezTo>
                  <a:lnTo>
                    <a:pt x="74" y="137"/>
                  </a:ln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2" name="Freeform 337"/>
            <p:cNvSpPr>
              <a:spLocks/>
            </p:cNvSpPr>
            <p:nvPr>
              <p:custDataLst>
                <p:tags r:id="rId251"/>
              </p:custDataLst>
            </p:nvPr>
          </p:nvSpPr>
          <p:spPr bwMode="auto">
            <a:xfrm>
              <a:off x="2860" y="2713"/>
              <a:ext cx="18" cy="14"/>
            </a:xfrm>
            <a:custGeom>
              <a:avLst/>
              <a:gdLst>
                <a:gd name="T0" fmla="*/ 27091 w 77"/>
                <a:gd name="T1" fmla="*/ 9794 h 59"/>
                <a:gd name="T2" fmla="*/ 28575 w 77"/>
                <a:gd name="T3" fmla="*/ 2637 h 59"/>
                <a:gd name="T4" fmla="*/ 9649 w 77"/>
                <a:gd name="T5" fmla="*/ 2637 h 59"/>
                <a:gd name="T6" fmla="*/ 6680 w 77"/>
                <a:gd name="T7" fmla="*/ 0 h 59"/>
                <a:gd name="T8" fmla="*/ 5938 w 77"/>
                <a:gd name="T9" fmla="*/ 1883 h 59"/>
                <a:gd name="T10" fmla="*/ 5938 w 77"/>
                <a:gd name="T11" fmla="*/ 9041 h 59"/>
                <a:gd name="T12" fmla="*/ 3340 w 77"/>
                <a:gd name="T13" fmla="*/ 10547 h 59"/>
                <a:gd name="T14" fmla="*/ 2598 w 77"/>
                <a:gd name="T15" fmla="*/ 13184 h 59"/>
                <a:gd name="T16" fmla="*/ 742 w 77"/>
                <a:gd name="T17" fmla="*/ 15068 h 59"/>
                <a:gd name="T18" fmla="*/ 0 w 77"/>
                <a:gd name="T19" fmla="*/ 16951 h 59"/>
                <a:gd name="T20" fmla="*/ 0 w 77"/>
                <a:gd name="T21" fmla="*/ 18835 h 59"/>
                <a:gd name="T22" fmla="*/ 742 w 77"/>
                <a:gd name="T23" fmla="*/ 19588 h 59"/>
                <a:gd name="T24" fmla="*/ 3340 w 77"/>
                <a:gd name="T25" fmla="*/ 20342 h 59"/>
                <a:gd name="T26" fmla="*/ 6680 w 77"/>
                <a:gd name="T27" fmla="*/ 20342 h 59"/>
                <a:gd name="T28" fmla="*/ 6680 w 77"/>
                <a:gd name="T29" fmla="*/ 22225 h 59"/>
                <a:gd name="T30" fmla="*/ 27091 w 77"/>
                <a:gd name="T31" fmla="*/ 22225 h 59"/>
                <a:gd name="T32" fmla="*/ 27091 w 77"/>
                <a:gd name="T33" fmla="*/ 20342 h 59"/>
                <a:gd name="T34" fmla="*/ 28575 w 77"/>
                <a:gd name="T35" fmla="*/ 16951 h 59"/>
                <a:gd name="T36" fmla="*/ 28575 w 77"/>
                <a:gd name="T37" fmla="*/ 10547 h 59"/>
                <a:gd name="T38" fmla="*/ 27091 w 77"/>
                <a:gd name="T39" fmla="*/ 9794 h 59"/>
                <a:gd name="T40" fmla="*/ 27091 w 77"/>
                <a:gd name="T41" fmla="*/ 9794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7" h="59">
                  <a:moveTo>
                    <a:pt x="73" y="26"/>
                  </a:moveTo>
                  <a:lnTo>
                    <a:pt x="77" y="7"/>
                  </a:lnTo>
                  <a:lnTo>
                    <a:pt x="26" y="7"/>
                  </a:lnTo>
                  <a:lnTo>
                    <a:pt x="18" y="0"/>
                  </a:lnTo>
                  <a:lnTo>
                    <a:pt x="16" y="5"/>
                  </a:lnTo>
                  <a:lnTo>
                    <a:pt x="16" y="24"/>
                  </a:lnTo>
                  <a:lnTo>
                    <a:pt x="9" y="28"/>
                  </a:lnTo>
                  <a:lnTo>
                    <a:pt x="7" y="35"/>
                  </a:lnTo>
                  <a:lnTo>
                    <a:pt x="2" y="40"/>
                  </a:lnTo>
                  <a:lnTo>
                    <a:pt x="0" y="45"/>
                  </a:lnTo>
                  <a:lnTo>
                    <a:pt x="0" y="50"/>
                  </a:lnTo>
                  <a:lnTo>
                    <a:pt x="2" y="52"/>
                  </a:lnTo>
                  <a:lnTo>
                    <a:pt x="9" y="54"/>
                  </a:lnTo>
                  <a:lnTo>
                    <a:pt x="18" y="54"/>
                  </a:lnTo>
                  <a:lnTo>
                    <a:pt x="18" y="59"/>
                  </a:lnTo>
                  <a:lnTo>
                    <a:pt x="73" y="59"/>
                  </a:lnTo>
                  <a:lnTo>
                    <a:pt x="73" y="54"/>
                  </a:lnTo>
                  <a:lnTo>
                    <a:pt x="77" y="45"/>
                  </a:lnTo>
                  <a:lnTo>
                    <a:pt x="77" y="28"/>
                  </a:lnTo>
                  <a:lnTo>
                    <a:pt x="73" y="26"/>
                  </a:lnTo>
                  <a:close/>
                </a:path>
              </a:pathLst>
            </a:custGeom>
            <a:grpFill/>
            <a:ln w="3175" cap="rnd" cmpd="sng">
              <a:noFill/>
              <a:prstDash val="solid"/>
              <a:round/>
              <a:headEnd/>
              <a:tailEnd/>
            </a:ln>
          </p:spPr>
          <p:txBody>
            <a:bodyPr/>
            <a:lstStyle/>
            <a:p>
              <a:endParaRPr lang="en-GB"/>
            </a:p>
          </p:txBody>
        </p:sp>
        <p:sp>
          <p:nvSpPr>
            <p:cNvPr id="283" name="Freeform 338"/>
            <p:cNvSpPr>
              <a:spLocks/>
            </p:cNvSpPr>
            <p:nvPr>
              <p:custDataLst>
                <p:tags r:id="rId252"/>
              </p:custDataLst>
            </p:nvPr>
          </p:nvSpPr>
          <p:spPr bwMode="auto">
            <a:xfrm>
              <a:off x="3276" y="2567"/>
              <a:ext cx="23" cy="27"/>
            </a:xfrm>
            <a:custGeom>
              <a:avLst/>
              <a:gdLst>
                <a:gd name="T0" fmla="*/ 22898 w 59"/>
                <a:gd name="T1" fmla="*/ 7244 h 71"/>
                <a:gd name="T2" fmla="*/ 14234 w 59"/>
                <a:gd name="T3" fmla="*/ 4226 h 71"/>
                <a:gd name="T4" fmla="*/ 5570 w 59"/>
                <a:gd name="T5" fmla="*/ 21733 h 71"/>
                <a:gd name="T6" fmla="*/ 0 w 59"/>
                <a:gd name="T7" fmla="*/ 25959 h 71"/>
                <a:gd name="T8" fmla="*/ 0 w 59"/>
                <a:gd name="T9" fmla="*/ 30185 h 71"/>
                <a:gd name="T10" fmla="*/ 1238 w 59"/>
                <a:gd name="T11" fmla="*/ 35619 h 71"/>
                <a:gd name="T12" fmla="*/ 1238 w 59"/>
                <a:gd name="T13" fmla="*/ 39844 h 71"/>
                <a:gd name="T14" fmla="*/ 5570 w 59"/>
                <a:gd name="T15" fmla="*/ 42863 h 71"/>
                <a:gd name="T16" fmla="*/ 12996 w 59"/>
                <a:gd name="T17" fmla="*/ 42863 h 71"/>
                <a:gd name="T18" fmla="*/ 14234 w 59"/>
                <a:gd name="T19" fmla="*/ 41656 h 71"/>
                <a:gd name="T20" fmla="*/ 17328 w 59"/>
                <a:gd name="T21" fmla="*/ 41656 h 71"/>
                <a:gd name="T22" fmla="*/ 18566 w 59"/>
                <a:gd name="T23" fmla="*/ 39844 h 71"/>
                <a:gd name="T24" fmla="*/ 22898 w 59"/>
                <a:gd name="T25" fmla="*/ 39844 h 71"/>
                <a:gd name="T26" fmla="*/ 25992 w 59"/>
                <a:gd name="T27" fmla="*/ 41656 h 71"/>
                <a:gd name="T28" fmla="*/ 29087 w 59"/>
                <a:gd name="T29" fmla="*/ 42863 h 71"/>
                <a:gd name="T30" fmla="*/ 29087 w 59"/>
                <a:gd name="T31" fmla="*/ 41656 h 71"/>
                <a:gd name="T32" fmla="*/ 36513 w 59"/>
                <a:gd name="T33" fmla="*/ 34411 h 71"/>
                <a:gd name="T34" fmla="*/ 36513 w 59"/>
                <a:gd name="T35" fmla="*/ 31393 h 71"/>
                <a:gd name="T36" fmla="*/ 33419 w 59"/>
                <a:gd name="T37" fmla="*/ 28978 h 71"/>
                <a:gd name="T38" fmla="*/ 21660 w 59"/>
                <a:gd name="T39" fmla="*/ 28978 h 71"/>
                <a:gd name="T40" fmla="*/ 24755 w 59"/>
                <a:gd name="T41" fmla="*/ 25959 h 71"/>
                <a:gd name="T42" fmla="*/ 25992 w 59"/>
                <a:gd name="T43" fmla="*/ 22941 h 71"/>
                <a:gd name="T44" fmla="*/ 30324 w 59"/>
                <a:gd name="T45" fmla="*/ 21733 h 71"/>
                <a:gd name="T46" fmla="*/ 33419 w 59"/>
                <a:gd name="T47" fmla="*/ 17507 h 71"/>
                <a:gd name="T48" fmla="*/ 36513 w 59"/>
                <a:gd name="T49" fmla="*/ 13281 h 71"/>
                <a:gd name="T50" fmla="*/ 36513 w 59"/>
                <a:gd name="T51" fmla="*/ 7244 h 71"/>
                <a:gd name="T52" fmla="*/ 34656 w 59"/>
                <a:gd name="T53" fmla="*/ 4226 h 71"/>
                <a:gd name="T54" fmla="*/ 30324 w 59"/>
                <a:gd name="T55" fmla="*/ 0 h 71"/>
                <a:gd name="T56" fmla="*/ 25992 w 59"/>
                <a:gd name="T57" fmla="*/ 1811 h 71"/>
                <a:gd name="T58" fmla="*/ 22898 w 59"/>
                <a:gd name="T59" fmla="*/ 7244 h 71"/>
                <a:gd name="T60" fmla="*/ 22898 w 59"/>
                <a:gd name="T61" fmla="*/ 7244 h 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9" h="71">
                  <a:moveTo>
                    <a:pt x="37" y="12"/>
                  </a:moveTo>
                  <a:lnTo>
                    <a:pt x="23" y="7"/>
                  </a:lnTo>
                  <a:lnTo>
                    <a:pt x="9" y="36"/>
                  </a:lnTo>
                  <a:lnTo>
                    <a:pt x="0" y="43"/>
                  </a:lnTo>
                  <a:lnTo>
                    <a:pt x="0" y="50"/>
                  </a:lnTo>
                  <a:lnTo>
                    <a:pt x="2" y="59"/>
                  </a:lnTo>
                  <a:lnTo>
                    <a:pt x="2" y="66"/>
                  </a:lnTo>
                  <a:lnTo>
                    <a:pt x="9" y="71"/>
                  </a:lnTo>
                  <a:lnTo>
                    <a:pt x="21" y="71"/>
                  </a:lnTo>
                  <a:lnTo>
                    <a:pt x="23" y="69"/>
                  </a:lnTo>
                  <a:lnTo>
                    <a:pt x="28" y="69"/>
                  </a:lnTo>
                  <a:lnTo>
                    <a:pt x="30" y="66"/>
                  </a:lnTo>
                  <a:lnTo>
                    <a:pt x="37" y="66"/>
                  </a:lnTo>
                  <a:lnTo>
                    <a:pt x="42" y="69"/>
                  </a:lnTo>
                  <a:lnTo>
                    <a:pt x="47" y="71"/>
                  </a:lnTo>
                  <a:lnTo>
                    <a:pt x="47" y="69"/>
                  </a:lnTo>
                  <a:lnTo>
                    <a:pt x="59" y="57"/>
                  </a:lnTo>
                  <a:lnTo>
                    <a:pt x="59" y="52"/>
                  </a:lnTo>
                  <a:lnTo>
                    <a:pt x="54" y="48"/>
                  </a:lnTo>
                  <a:lnTo>
                    <a:pt x="35" y="48"/>
                  </a:lnTo>
                  <a:lnTo>
                    <a:pt x="40" y="43"/>
                  </a:lnTo>
                  <a:lnTo>
                    <a:pt x="42" y="38"/>
                  </a:lnTo>
                  <a:lnTo>
                    <a:pt x="49" y="36"/>
                  </a:lnTo>
                  <a:lnTo>
                    <a:pt x="54" y="29"/>
                  </a:lnTo>
                  <a:lnTo>
                    <a:pt x="59" y="22"/>
                  </a:lnTo>
                  <a:lnTo>
                    <a:pt x="59" y="12"/>
                  </a:lnTo>
                  <a:lnTo>
                    <a:pt x="56" y="7"/>
                  </a:lnTo>
                  <a:lnTo>
                    <a:pt x="49" y="0"/>
                  </a:lnTo>
                  <a:lnTo>
                    <a:pt x="42" y="3"/>
                  </a:lnTo>
                  <a:lnTo>
                    <a:pt x="37" y="12"/>
                  </a:lnTo>
                  <a:close/>
                </a:path>
              </a:pathLst>
            </a:custGeom>
            <a:grpFill/>
            <a:ln w="3175" cap="rnd" cmpd="sng">
              <a:noFill/>
              <a:prstDash val="solid"/>
              <a:round/>
              <a:headEnd/>
              <a:tailEnd/>
            </a:ln>
          </p:spPr>
          <p:txBody>
            <a:bodyPr/>
            <a:lstStyle/>
            <a:p>
              <a:endParaRPr lang="en-GB"/>
            </a:p>
          </p:txBody>
        </p:sp>
        <p:sp>
          <p:nvSpPr>
            <p:cNvPr id="284" name="Freeform 105"/>
            <p:cNvSpPr>
              <a:spLocks/>
            </p:cNvSpPr>
            <p:nvPr>
              <p:custDataLst>
                <p:tags r:id="rId253"/>
              </p:custDataLst>
            </p:nvPr>
          </p:nvSpPr>
          <p:spPr bwMode="auto">
            <a:xfrm>
              <a:off x="530" y="1903"/>
              <a:ext cx="28" cy="18"/>
            </a:xfrm>
            <a:custGeom>
              <a:avLst/>
              <a:gdLst>
                <a:gd name="T0" fmla="*/ 19447 w 16"/>
                <a:gd name="T1" fmla="*/ 0 h 10"/>
                <a:gd name="T2" fmla="*/ 27781 w 16"/>
                <a:gd name="T3" fmla="*/ 2858 h 10"/>
                <a:gd name="T4" fmla="*/ 38894 w 16"/>
                <a:gd name="T5" fmla="*/ 2858 h 10"/>
                <a:gd name="T6" fmla="*/ 44450 w 16"/>
                <a:gd name="T7" fmla="*/ 11430 h 10"/>
                <a:gd name="T8" fmla="*/ 30559 w 16"/>
                <a:gd name="T9" fmla="*/ 20003 h 10"/>
                <a:gd name="T10" fmla="*/ 11113 w 16"/>
                <a:gd name="T11" fmla="*/ 28575 h 10"/>
                <a:gd name="T12" fmla="*/ 2778 w 16"/>
                <a:gd name="T13" fmla="*/ 22860 h 10"/>
                <a:gd name="T14" fmla="*/ 13891 w 16"/>
                <a:gd name="T15" fmla="*/ 14288 h 10"/>
                <a:gd name="T16" fmla="*/ 19447 w 1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0">
                  <a:moveTo>
                    <a:pt x="7" y="0"/>
                  </a:moveTo>
                  <a:cubicBezTo>
                    <a:pt x="8" y="0"/>
                    <a:pt x="9" y="1"/>
                    <a:pt x="10" y="1"/>
                  </a:cubicBezTo>
                  <a:cubicBezTo>
                    <a:pt x="11" y="1"/>
                    <a:pt x="14" y="1"/>
                    <a:pt x="14" y="1"/>
                  </a:cubicBezTo>
                  <a:cubicBezTo>
                    <a:pt x="16" y="2"/>
                    <a:pt x="16" y="4"/>
                    <a:pt x="16" y="4"/>
                  </a:cubicBezTo>
                  <a:cubicBezTo>
                    <a:pt x="16" y="4"/>
                    <a:pt x="12" y="7"/>
                    <a:pt x="11" y="7"/>
                  </a:cubicBezTo>
                  <a:cubicBezTo>
                    <a:pt x="9" y="8"/>
                    <a:pt x="5" y="10"/>
                    <a:pt x="4" y="10"/>
                  </a:cubicBezTo>
                  <a:cubicBezTo>
                    <a:pt x="3" y="10"/>
                    <a:pt x="0" y="9"/>
                    <a:pt x="1" y="8"/>
                  </a:cubicBezTo>
                  <a:cubicBezTo>
                    <a:pt x="2" y="7"/>
                    <a:pt x="5" y="6"/>
                    <a:pt x="5" y="5"/>
                  </a:cubicBezTo>
                  <a:cubicBezTo>
                    <a:pt x="5" y="4"/>
                    <a:pt x="5" y="0"/>
                    <a:pt x="7" y="0"/>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5" name="Freeform 102"/>
            <p:cNvSpPr>
              <a:spLocks/>
            </p:cNvSpPr>
            <p:nvPr>
              <p:custDataLst>
                <p:tags r:id="rId254"/>
              </p:custDataLst>
            </p:nvPr>
          </p:nvSpPr>
          <p:spPr bwMode="auto">
            <a:xfrm>
              <a:off x="702" y="1817"/>
              <a:ext cx="42" cy="42"/>
            </a:xfrm>
            <a:custGeom>
              <a:avLst/>
              <a:gdLst>
                <a:gd name="T0" fmla="*/ 8334 w 24"/>
                <a:gd name="T1" fmla="*/ 60877 h 23"/>
                <a:gd name="T2" fmla="*/ 8334 w 24"/>
                <a:gd name="T3" fmla="*/ 49282 h 23"/>
                <a:gd name="T4" fmla="*/ 2778 w 24"/>
                <a:gd name="T5" fmla="*/ 37686 h 23"/>
                <a:gd name="T6" fmla="*/ 33338 w 24"/>
                <a:gd name="T7" fmla="*/ 14495 h 23"/>
                <a:gd name="T8" fmla="*/ 52784 w 24"/>
                <a:gd name="T9" fmla="*/ 0 h 23"/>
                <a:gd name="T10" fmla="*/ 63897 w 24"/>
                <a:gd name="T11" fmla="*/ 8697 h 23"/>
                <a:gd name="T12" fmla="*/ 52784 w 24"/>
                <a:gd name="T13" fmla="*/ 17393 h 23"/>
                <a:gd name="T14" fmla="*/ 55563 w 24"/>
                <a:gd name="T15" fmla="*/ 34787 h 23"/>
                <a:gd name="T16" fmla="*/ 27781 w 24"/>
                <a:gd name="T17" fmla="*/ 49282 h 23"/>
                <a:gd name="T18" fmla="*/ 8334 w 24"/>
                <a:gd name="T19" fmla="*/ 60877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23">
                  <a:moveTo>
                    <a:pt x="3" y="21"/>
                  </a:moveTo>
                  <a:cubicBezTo>
                    <a:pt x="1" y="20"/>
                    <a:pt x="3" y="17"/>
                    <a:pt x="3" y="17"/>
                  </a:cubicBezTo>
                  <a:cubicBezTo>
                    <a:pt x="3" y="17"/>
                    <a:pt x="0" y="14"/>
                    <a:pt x="1" y="13"/>
                  </a:cubicBezTo>
                  <a:cubicBezTo>
                    <a:pt x="3" y="12"/>
                    <a:pt x="10" y="8"/>
                    <a:pt x="12" y="5"/>
                  </a:cubicBezTo>
                  <a:cubicBezTo>
                    <a:pt x="14" y="3"/>
                    <a:pt x="19" y="0"/>
                    <a:pt x="19" y="0"/>
                  </a:cubicBezTo>
                  <a:cubicBezTo>
                    <a:pt x="19" y="0"/>
                    <a:pt x="23" y="1"/>
                    <a:pt x="23" y="3"/>
                  </a:cubicBezTo>
                  <a:cubicBezTo>
                    <a:pt x="24" y="6"/>
                    <a:pt x="19" y="3"/>
                    <a:pt x="19" y="6"/>
                  </a:cubicBezTo>
                  <a:cubicBezTo>
                    <a:pt x="19" y="9"/>
                    <a:pt x="22" y="11"/>
                    <a:pt x="20" y="12"/>
                  </a:cubicBezTo>
                  <a:cubicBezTo>
                    <a:pt x="18" y="13"/>
                    <a:pt x="13" y="15"/>
                    <a:pt x="10" y="17"/>
                  </a:cubicBezTo>
                  <a:cubicBezTo>
                    <a:pt x="7" y="19"/>
                    <a:pt x="5" y="23"/>
                    <a:pt x="3" y="21"/>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6" name="Freeform 104"/>
            <p:cNvSpPr>
              <a:spLocks/>
            </p:cNvSpPr>
            <p:nvPr>
              <p:custDataLst>
                <p:tags r:id="rId255"/>
              </p:custDataLst>
            </p:nvPr>
          </p:nvSpPr>
          <p:spPr bwMode="auto">
            <a:xfrm>
              <a:off x="527" y="1521"/>
              <a:ext cx="434" cy="386"/>
            </a:xfrm>
            <a:custGeom>
              <a:avLst/>
              <a:gdLst>
                <a:gd name="T0" fmla="*/ 95313 w 253"/>
                <a:gd name="T1" fmla="*/ 192586 h 210"/>
                <a:gd name="T2" fmla="*/ 133438 w 253"/>
                <a:gd name="T3" fmla="*/ 189668 h 210"/>
                <a:gd name="T4" fmla="*/ 87143 w 253"/>
                <a:gd name="T5" fmla="*/ 157571 h 210"/>
                <a:gd name="T6" fmla="*/ 43572 w 253"/>
                <a:gd name="T7" fmla="*/ 102129 h 210"/>
                <a:gd name="T8" fmla="*/ 122545 w 253"/>
                <a:gd name="T9" fmla="*/ 46688 h 210"/>
                <a:gd name="T10" fmla="*/ 204242 w 253"/>
                <a:gd name="T11" fmla="*/ 26262 h 210"/>
                <a:gd name="T12" fmla="*/ 296831 w 253"/>
                <a:gd name="T13" fmla="*/ 17508 h 210"/>
                <a:gd name="T14" fmla="*/ 345849 w 253"/>
                <a:gd name="T15" fmla="*/ 40852 h 210"/>
                <a:gd name="T16" fmla="*/ 517412 w 253"/>
                <a:gd name="T17" fmla="*/ 52524 h 210"/>
                <a:gd name="T18" fmla="*/ 585493 w 253"/>
                <a:gd name="T19" fmla="*/ 399763 h 210"/>
                <a:gd name="T20" fmla="*/ 631787 w 253"/>
                <a:gd name="T21" fmla="*/ 437696 h 210"/>
                <a:gd name="T22" fmla="*/ 680805 w 253"/>
                <a:gd name="T23" fmla="*/ 423107 h 210"/>
                <a:gd name="T24" fmla="*/ 683529 w 253"/>
                <a:gd name="T25" fmla="*/ 475630 h 210"/>
                <a:gd name="T26" fmla="*/ 650850 w 253"/>
                <a:gd name="T27" fmla="*/ 478548 h 210"/>
                <a:gd name="T28" fmla="*/ 596385 w 253"/>
                <a:gd name="T29" fmla="*/ 440614 h 210"/>
                <a:gd name="T30" fmla="*/ 550091 w 253"/>
                <a:gd name="T31" fmla="*/ 426025 h 210"/>
                <a:gd name="T32" fmla="*/ 468394 w 253"/>
                <a:gd name="T33" fmla="*/ 414353 h 210"/>
                <a:gd name="T34" fmla="*/ 454778 w 253"/>
                <a:gd name="T35" fmla="*/ 399763 h 210"/>
                <a:gd name="T36" fmla="*/ 422099 w 253"/>
                <a:gd name="T37" fmla="*/ 414353 h 210"/>
                <a:gd name="T38" fmla="*/ 351296 w 253"/>
                <a:gd name="T39" fmla="*/ 452286 h 210"/>
                <a:gd name="T40" fmla="*/ 343126 w 253"/>
                <a:gd name="T41" fmla="*/ 431860 h 210"/>
                <a:gd name="T42" fmla="*/ 378528 w 253"/>
                <a:gd name="T43" fmla="*/ 393927 h 210"/>
                <a:gd name="T44" fmla="*/ 354019 w 253"/>
                <a:gd name="T45" fmla="*/ 382255 h 210"/>
                <a:gd name="T46" fmla="*/ 302278 w 253"/>
                <a:gd name="T47" fmla="*/ 434778 h 210"/>
                <a:gd name="T48" fmla="*/ 269599 w 253"/>
                <a:gd name="T49" fmla="*/ 496056 h 210"/>
                <a:gd name="T50" fmla="*/ 231474 w 253"/>
                <a:gd name="T51" fmla="*/ 525236 h 210"/>
                <a:gd name="T52" fmla="*/ 193349 w 253"/>
                <a:gd name="T53" fmla="*/ 557333 h 210"/>
                <a:gd name="T54" fmla="*/ 119822 w 253"/>
                <a:gd name="T55" fmla="*/ 583595 h 210"/>
                <a:gd name="T56" fmla="*/ 81697 w 253"/>
                <a:gd name="T57" fmla="*/ 609857 h 210"/>
                <a:gd name="T58" fmla="*/ 84420 w 253"/>
                <a:gd name="T59" fmla="*/ 583595 h 210"/>
                <a:gd name="T60" fmla="*/ 133438 w 253"/>
                <a:gd name="T61" fmla="*/ 554415 h 210"/>
                <a:gd name="T62" fmla="*/ 196072 w 253"/>
                <a:gd name="T63" fmla="*/ 522318 h 210"/>
                <a:gd name="T64" fmla="*/ 228751 w 253"/>
                <a:gd name="T65" fmla="*/ 458122 h 210"/>
                <a:gd name="T66" fmla="*/ 198795 w 253"/>
                <a:gd name="T67" fmla="*/ 458122 h 210"/>
                <a:gd name="T68" fmla="*/ 160670 w 253"/>
                <a:gd name="T69" fmla="*/ 458122 h 210"/>
                <a:gd name="T70" fmla="*/ 133438 w 253"/>
                <a:gd name="T71" fmla="*/ 437696 h 210"/>
                <a:gd name="T72" fmla="*/ 70804 w 253"/>
                <a:gd name="T73" fmla="*/ 414353 h 210"/>
                <a:gd name="T74" fmla="*/ 65357 w 253"/>
                <a:gd name="T75" fmla="*/ 332649 h 210"/>
                <a:gd name="T76" fmla="*/ 117099 w 253"/>
                <a:gd name="T77" fmla="*/ 300552 h 210"/>
                <a:gd name="T78" fmla="*/ 141608 w 253"/>
                <a:gd name="T79" fmla="*/ 274290 h 210"/>
                <a:gd name="T80" fmla="*/ 111652 w 253"/>
                <a:gd name="T81" fmla="*/ 271372 h 210"/>
                <a:gd name="T82" fmla="*/ 38125 w 253"/>
                <a:gd name="T83" fmla="*/ 262618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3" h="210">
                  <a:moveTo>
                    <a:pt x="0" y="77"/>
                  </a:moveTo>
                  <a:cubicBezTo>
                    <a:pt x="0" y="75"/>
                    <a:pt x="22" y="67"/>
                    <a:pt x="25" y="66"/>
                  </a:cubicBezTo>
                  <a:cubicBezTo>
                    <a:pt x="27" y="65"/>
                    <a:pt x="36" y="65"/>
                    <a:pt x="35" y="66"/>
                  </a:cubicBezTo>
                  <a:cubicBezTo>
                    <a:pt x="34" y="67"/>
                    <a:pt x="33" y="71"/>
                    <a:pt x="34" y="71"/>
                  </a:cubicBezTo>
                  <a:cubicBezTo>
                    <a:pt x="36" y="72"/>
                    <a:pt x="48" y="72"/>
                    <a:pt x="49" y="71"/>
                  </a:cubicBezTo>
                  <a:cubicBezTo>
                    <a:pt x="50" y="71"/>
                    <a:pt x="50" y="66"/>
                    <a:pt x="49" y="65"/>
                  </a:cubicBezTo>
                  <a:cubicBezTo>
                    <a:pt x="48" y="64"/>
                    <a:pt x="49" y="61"/>
                    <a:pt x="47" y="61"/>
                  </a:cubicBezTo>
                  <a:cubicBezTo>
                    <a:pt x="45" y="61"/>
                    <a:pt x="34" y="60"/>
                    <a:pt x="34" y="59"/>
                  </a:cubicBezTo>
                  <a:cubicBezTo>
                    <a:pt x="34" y="58"/>
                    <a:pt x="32" y="55"/>
                    <a:pt x="32" y="54"/>
                  </a:cubicBezTo>
                  <a:cubicBezTo>
                    <a:pt x="31" y="52"/>
                    <a:pt x="24" y="49"/>
                    <a:pt x="22" y="47"/>
                  </a:cubicBezTo>
                  <a:cubicBezTo>
                    <a:pt x="19" y="45"/>
                    <a:pt x="11" y="44"/>
                    <a:pt x="12" y="42"/>
                  </a:cubicBezTo>
                  <a:cubicBezTo>
                    <a:pt x="13" y="40"/>
                    <a:pt x="14" y="34"/>
                    <a:pt x="16" y="35"/>
                  </a:cubicBezTo>
                  <a:cubicBezTo>
                    <a:pt x="17" y="36"/>
                    <a:pt x="32" y="35"/>
                    <a:pt x="35" y="33"/>
                  </a:cubicBezTo>
                  <a:cubicBezTo>
                    <a:pt x="38" y="31"/>
                    <a:pt x="38" y="25"/>
                    <a:pt x="39" y="23"/>
                  </a:cubicBezTo>
                  <a:cubicBezTo>
                    <a:pt x="39" y="21"/>
                    <a:pt x="43" y="17"/>
                    <a:pt x="45" y="16"/>
                  </a:cubicBezTo>
                  <a:cubicBezTo>
                    <a:pt x="47" y="15"/>
                    <a:pt x="55" y="15"/>
                    <a:pt x="57" y="15"/>
                  </a:cubicBezTo>
                  <a:cubicBezTo>
                    <a:pt x="60" y="14"/>
                    <a:pt x="65" y="8"/>
                    <a:pt x="68" y="8"/>
                  </a:cubicBezTo>
                  <a:cubicBezTo>
                    <a:pt x="71" y="7"/>
                    <a:pt x="68" y="9"/>
                    <a:pt x="75" y="9"/>
                  </a:cubicBezTo>
                  <a:cubicBezTo>
                    <a:pt x="82" y="9"/>
                    <a:pt x="86" y="0"/>
                    <a:pt x="88" y="1"/>
                  </a:cubicBezTo>
                  <a:cubicBezTo>
                    <a:pt x="90" y="1"/>
                    <a:pt x="92" y="2"/>
                    <a:pt x="94" y="3"/>
                  </a:cubicBezTo>
                  <a:cubicBezTo>
                    <a:pt x="97" y="3"/>
                    <a:pt x="105" y="6"/>
                    <a:pt x="109" y="6"/>
                  </a:cubicBezTo>
                  <a:cubicBezTo>
                    <a:pt x="112" y="6"/>
                    <a:pt x="117" y="6"/>
                    <a:pt x="120" y="7"/>
                  </a:cubicBezTo>
                  <a:cubicBezTo>
                    <a:pt x="123" y="7"/>
                    <a:pt x="119" y="10"/>
                    <a:pt x="120" y="12"/>
                  </a:cubicBezTo>
                  <a:cubicBezTo>
                    <a:pt x="122" y="13"/>
                    <a:pt x="122" y="12"/>
                    <a:pt x="127" y="14"/>
                  </a:cubicBezTo>
                  <a:cubicBezTo>
                    <a:pt x="132" y="15"/>
                    <a:pt x="141" y="13"/>
                    <a:pt x="144" y="13"/>
                  </a:cubicBezTo>
                  <a:cubicBezTo>
                    <a:pt x="148" y="13"/>
                    <a:pt x="155" y="16"/>
                    <a:pt x="165" y="17"/>
                  </a:cubicBezTo>
                  <a:cubicBezTo>
                    <a:pt x="175" y="19"/>
                    <a:pt x="186" y="18"/>
                    <a:pt x="190" y="18"/>
                  </a:cubicBezTo>
                  <a:cubicBezTo>
                    <a:pt x="192" y="18"/>
                    <a:pt x="201" y="21"/>
                    <a:pt x="207" y="23"/>
                  </a:cubicBezTo>
                  <a:cubicBezTo>
                    <a:pt x="208" y="135"/>
                    <a:pt x="208" y="135"/>
                    <a:pt x="208" y="135"/>
                  </a:cubicBezTo>
                  <a:cubicBezTo>
                    <a:pt x="208" y="135"/>
                    <a:pt x="214" y="137"/>
                    <a:pt x="215" y="137"/>
                  </a:cubicBezTo>
                  <a:cubicBezTo>
                    <a:pt x="216" y="138"/>
                    <a:pt x="223" y="136"/>
                    <a:pt x="225" y="137"/>
                  </a:cubicBezTo>
                  <a:cubicBezTo>
                    <a:pt x="226" y="138"/>
                    <a:pt x="224" y="142"/>
                    <a:pt x="224" y="143"/>
                  </a:cubicBezTo>
                  <a:cubicBezTo>
                    <a:pt x="224" y="143"/>
                    <a:pt x="231" y="149"/>
                    <a:pt x="232" y="150"/>
                  </a:cubicBezTo>
                  <a:cubicBezTo>
                    <a:pt x="233" y="150"/>
                    <a:pt x="236" y="153"/>
                    <a:pt x="236" y="154"/>
                  </a:cubicBezTo>
                  <a:cubicBezTo>
                    <a:pt x="236" y="154"/>
                    <a:pt x="243" y="146"/>
                    <a:pt x="244" y="146"/>
                  </a:cubicBezTo>
                  <a:cubicBezTo>
                    <a:pt x="245" y="146"/>
                    <a:pt x="248" y="144"/>
                    <a:pt x="250" y="145"/>
                  </a:cubicBezTo>
                  <a:cubicBezTo>
                    <a:pt x="252" y="145"/>
                    <a:pt x="252" y="152"/>
                    <a:pt x="252" y="152"/>
                  </a:cubicBezTo>
                  <a:cubicBezTo>
                    <a:pt x="251" y="151"/>
                    <a:pt x="251" y="151"/>
                    <a:pt x="250" y="152"/>
                  </a:cubicBezTo>
                  <a:cubicBezTo>
                    <a:pt x="249" y="153"/>
                    <a:pt x="253" y="163"/>
                    <a:pt x="251" y="163"/>
                  </a:cubicBezTo>
                  <a:cubicBezTo>
                    <a:pt x="250" y="164"/>
                    <a:pt x="245" y="156"/>
                    <a:pt x="243" y="157"/>
                  </a:cubicBezTo>
                  <a:cubicBezTo>
                    <a:pt x="239" y="158"/>
                    <a:pt x="245" y="163"/>
                    <a:pt x="245" y="164"/>
                  </a:cubicBezTo>
                  <a:cubicBezTo>
                    <a:pt x="245" y="165"/>
                    <a:pt x="241" y="164"/>
                    <a:pt x="239" y="164"/>
                  </a:cubicBezTo>
                  <a:cubicBezTo>
                    <a:pt x="238" y="164"/>
                    <a:pt x="237" y="163"/>
                    <a:pt x="235" y="161"/>
                  </a:cubicBezTo>
                  <a:cubicBezTo>
                    <a:pt x="234" y="160"/>
                    <a:pt x="229" y="157"/>
                    <a:pt x="227" y="155"/>
                  </a:cubicBezTo>
                  <a:cubicBezTo>
                    <a:pt x="225" y="153"/>
                    <a:pt x="221" y="152"/>
                    <a:pt x="219" y="151"/>
                  </a:cubicBezTo>
                  <a:cubicBezTo>
                    <a:pt x="217" y="150"/>
                    <a:pt x="221" y="147"/>
                    <a:pt x="219" y="146"/>
                  </a:cubicBezTo>
                  <a:cubicBezTo>
                    <a:pt x="217" y="144"/>
                    <a:pt x="213" y="148"/>
                    <a:pt x="212" y="148"/>
                  </a:cubicBezTo>
                  <a:cubicBezTo>
                    <a:pt x="211" y="148"/>
                    <a:pt x="207" y="148"/>
                    <a:pt x="202" y="146"/>
                  </a:cubicBezTo>
                  <a:cubicBezTo>
                    <a:pt x="197" y="143"/>
                    <a:pt x="189" y="145"/>
                    <a:pt x="187" y="145"/>
                  </a:cubicBezTo>
                  <a:cubicBezTo>
                    <a:pt x="184" y="145"/>
                    <a:pt x="182" y="144"/>
                    <a:pt x="180" y="143"/>
                  </a:cubicBezTo>
                  <a:cubicBezTo>
                    <a:pt x="179" y="142"/>
                    <a:pt x="174" y="142"/>
                    <a:pt x="172" y="142"/>
                  </a:cubicBezTo>
                  <a:cubicBezTo>
                    <a:pt x="170" y="142"/>
                    <a:pt x="167" y="144"/>
                    <a:pt x="166" y="144"/>
                  </a:cubicBezTo>
                  <a:cubicBezTo>
                    <a:pt x="166" y="144"/>
                    <a:pt x="165" y="144"/>
                    <a:pt x="164" y="142"/>
                  </a:cubicBezTo>
                  <a:cubicBezTo>
                    <a:pt x="163" y="140"/>
                    <a:pt x="168" y="138"/>
                    <a:pt x="167" y="137"/>
                  </a:cubicBezTo>
                  <a:cubicBezTo>
                    <a:pt x="167" y="135"/>
                    <a:pt x="163" y="134"/>
                    <a:pt x="162" y="134"/>
                  </a:cubicBezTo>
                  <a:cubicBezTo>
                    <a:pt x="161" y="133"/>
                    <a:pt x="155" y="134"/>
                    <a:pt x="153" y="135"/>
                  </a:cubicBezTo>
                  <a:cubicBezTo>
                    <a:pt x="152" y="136"/>
                    <a:pt x="155" y="140"/>
                    <a:pt x="155" y="142"/>
                  </a:cubicBezTo>
                  <a:cubicBezTo>
                    <a:pt x="155" y="145"/>
                    <a:pt x="151" y="146"/>
                    <a:pt x="148" y="146"/>
                  </a:cubicBezTo>
                  <a:cubicBezTo>
                    <a:pt x="146" y="146"/>
                    <a:pt x="141" y="148"/>
                    <a:pt x="139" y="149"/>
                  </a:cubicBezTo>
                  <a:cubicBezTo>
                    <a:pt x="137" y="149"/>
                    <a:pt x="131" y="154"/>
                    <a:pt x="129" y="155"/>
                  </a:cubicBezTo>
                  <a:cubicBezTo>
                    <a:pt x="126" y="155"/>
                    <a:pt x="125" y="156"/>
                    <a:pt x="124" y="155"/>
                  </a:cubicBezTo>
                  <a:cubicBezTo>
                    <a:pt x="122" y="155"/>
                    <a:pt x="127" y="151"/>
                    <a:pt x="127" y="150"/>
                  </a:cubicBezTo>
                  <a:cubicBezTo>
                    <a:pt x="127" y="150"/>
                    <a:pt x="126" y="149"/>
                    <a:pt x="126" y="148"/>
                  </a:cubicBezTo>
                  <a:cubicBezTo>
                    <a:pt x="125" y="147"/>
                    <a:pt x="128" y="139"/>
                    <a:pt x="130" y="138"/>
                  </a:cubicBezTo>
                  <a:cubicBezTo>
                    <a:pt x="131" y="138"/>
                    <a:pt x="132" y="137"/>
                    <a:pt x="134" y="136"/>
                  </a:cubicBezTo>
                  <a:cubicBezTo>
                    <a:pt x="135" y="135"/>
                    <a:pt x="138" y="135"/>
                    <a:pt x="139" y="135"/>
                  </a:cubicBezTo>
                  <a:cubicBezTo>
                    <a:pt x="140" y="135"/>
                    <a:pt x="142" y="134"/>
                    <a:pt x="141" y="133"/>
                  </a:cubicBezTo>
                  <a:cubicBezTo>
                    <a:pt x="140" y="132"/>
                    <a:pt x="139" y="129"/>
                    <a:pt x="137" y="129"/>
                  </a:cubicBezTo>
                  <a:cubicBezTo>
                    <a:pt x="135" y="129"/>
                    <a:pt x="132" y="130"/>
                    <a:pt x="130" y="131"/>
                  </a:cubicBezTo>
                  <a:cubicBezTo>
                    <a:pt x="128" y="132"/>
                    <a:pt x="124" y="136"/>
                    <a:pt x="123" y="137"/>
                  </a:cubicBezTo>
                  <a:cubicBezTo>
                    <a:pt x="122" y="138"/>
                    <a:pt x="119" y="145"/>
                    <a:pt x="117" y="146"/>
                  </a:cubicBezTo>
                  <a:cubicBezTo>
                    <a:pt x="116" y="147"/>
                    <a:pt x="113" y="148"/>
                    <a:pt x="111" y="149"/>
                  </a:cubicBezTo>
                  <a:cubicBezTo>
                    <a:pt x="108" y="150"/>
                    <a:pt x="107" y="154"/>
                    <a:pt x="106" y="155"/>
                  </a:cubicBezTo>
                  <a:cubicBezTo>
                    <a:pt x="106" y="156"/>
                    <a:pt x="115" y="154"/>
                    <a:pt x="114" y="159"/>
                  </a:cubicBezTo>
                  <a:cubicBezTo>
                    <a:pt x="113" y="160"/>
                    <a:pt x="101" y="170"/>
                    <a:pt x="99" y="170"/>
                  </a:cubicBezTo>
                  <a:cubicBezTo>
                    <a:pt x="97" y="171"/>
                    <a:pt x="94" y="172"/>
                    <a:pt x="92" y="172"/>
                  </a:cubicBezTo>
                  <a:cubicBezTo>
                    <a:pt x="90" y="173"/>
                    <a:pt x="92" y="175"/>
                    <a:pt x="91" y="176"/>
                  </a:cubicBezTo>
                  <a:cubicBezTo>
                    <a:pt x="90" y="177"/>
                    <a:pt x="87" y="180"/>
                    <a:pt x="85" y="180"/>
                  </a:cubicBezTo>
                  <a:cubicBezTo>
                    <a:pt x="84" y="181"/>
                    <a:pt x="78" y="183"/>
                    <a:pt x="77" y="183"/>
                  </a:cubicBezTo>
                  <a:cubicBezTo>
                    <a:pt x="75" y="184"/>
                    <a:pt x="78" y="187"/>
                    <a:pt x="77" y="188"/>
                  </a:cubicBezTo>
                  <a:cubicBezTo>
                    <a:pt x="76" y="189"/>
                    <a:pt x="72" y="191"/>
                    <a:pt x="71" y="191"/>
                  </a:cubicBezTo>
                  <a:cubicBezTo>
                    <a:pt x="69" y="191"/>
                    <a:pt x="63" y="194"/>
                    <a:pt x="62" y="195"/>
                  </a:cubicBezTo>
                  <a:cubicBezTo>
                    <a:pt x="60" y="196"/>
                    <a:pt x="54" y="197"/>
                    <a:pt x="52" y="197"/>
                  </a:cubicBezTo>
                  <a:cubicBezTo>
                    <a:pt x="50" y="197"/>
                    <a:pt x="45" y="200"/>
                    <a:pt x="44" y="200"/>
                  </a:cubicBezTo>
                  <a:cubicBezTo>
                    <a:pt x="43" y="200"/>
                    <a:pt x="40" y="203"/>
                    <a:pt x="39" y="204"/>
                  </a:cubicBezTo>
                  <a:cubicBezTo>
                    <a:pt x="37" y="205"/>
                    <a:pt x="33" y="205"/>
                    <a:pt x="32" y="205"/>
                  </a:cubicBezTo>
                  <a:cubicBezTo>
                    <a:pt x="31" y="205"/>
                    <a:pt x="31" y="208"/>
                    <a:pt x="30" y="209"/>
                  </a:cubicBezTo>
                  <a:cubicBezTo>
                    <a:pt x="28" y="210"/>
                    <a:pt x="25" y="208"/>
                    <a:pt x="23" y="208"/>
                  </a:cubicBezTo>
                  <a:cubicBezTo>
                    <a:pt x="22" y="207"/>
                    <a:pt x="23" y="204"/>
                    <a:pt x="25" y="203"/>
                  </a:cubicBezTo>
                  <a:cubicBezTo>
                    <a:pt x="26" y="203"/>
                    <a:pt x="29" y="200"/>
                    <a:pt x="31" y="200"/>
                  </a:cubicBezTo>
                  <a:cubicBezTo>
                    <a:pt x="32" y="200"/>
                    <a:pt x="35" y="199"/>
                    <a:pt x="36" y="199"/>
                  </a:cubicBezTo>
                  <a:cubicBezTo>
                    <a:pt x="37" y="199"/>
                    <a:pt x="39" y="197"/>
                    <a:pt x="41" y="196"/>
                  </a:cubicBezTo>
                  <a:cubicBezTo>
                    <a:pt x="43" y="195"/>
                    <a:pt x="45" y="192"/>
                    <a:pt x="49" y="190"/>
                  </a:cubicBezTo>
                  <a:cubicBezTo>
                    <a:pt x="52" y="188"/>
                    <a:pt x="56" y="190"/>
                    <a:pt x="58" y="190"/>
                  </a:cubicBezTo>
                  <a:cubicBezTo>
                    <a:pt x="60" y="190"/>
                    <a:pt x="60" y="186"/>
                    <a:pt x="61" y="185"/>
                  </a:cubicBezTo>
                  <a:cubicBezTo>
                    <a:pt x="61" y="184"/>
                    <a:pt x="70" y="180"/>
                    <a:pt x="72" y="179"/>
                  </a:cubicBezTo>
                  <a:cubicBezTo>
                    <a:pt x="73" y="179"/>
                    <a:pt x="78" y="174"/>
                    <a:pt x="79" y="172"/>
                  </a:cubicBezTo>
                  <a:cubicBezTo>
                    <a:pt x="81" y="170"/>
                    <a:pt x="81" y="167"/>
                    <a:pt x="82" y="165"/>
                  </a:cubicBezTo>
                  <a:cubicBezTo>
                    <a:pt x="82" y="163"/>
                    <a:pt x="86" y="158"/>
                    <a:pt x="84" y="157"/>
                  </a:cubicBezTo>
                  <a:cubicBezTo>
                    <a:pt x="83" y="157"/>
                    <a:pt x="79" y="160"/>
                    <a:pt x="78" y="160"/>
                  </a:cubicBezTo>
                  <a:cubicBezTo>
                    <a:pt x="77" y="161"/>
                    <a:pt x="76" y="159"/>
                    <a:pt x="76" y="158"/>
                  </a:cubicBezTo>
                  <a:cubicBezTo>
                    <a:pt x="76" y="157"/>
                    <a:pt x="74" y="157"/>
                    <a:pt x="73" y="157"/>
                  </a:cubicBezTo>
                  <a:cubicBezTo>
                    <a:pt x="71" y="158"/>
                    <a:pt x="72" y="163"/>
                    <a:pt x="71" y="164"/>
                  </a:cubicBezTo>
                  <a:cubicBezTo>
                    <a:pt x="69" y="164"/>
                    <a:pt x="66" y="159"/>
                    <a:pt x="65" y="158"/>
                  </a:cubicBezTo>
                  <a:cubicBezTo>
                    <a:pt x="64" y="157"/>
                    <a:pt x="60" y="156"/>
                    <a:pt x="59" y="157"/>
                  </a:cubicBezTo>
                  <a:cubicBezTo>
                    <a:pt x="57" y="157"/>
                    <a:pt x="49" y="162"/>
                    <a:pt x="48" y="160"/>
                  </a:cubicBezTo>
                  <a:cubicBezTo>
                    <a:pt x="48" y="158"/>
                    <a:pt x="47" y="156"/>
                    <a:pt x="47" y="155"/>
                  </a:cubicBezTo>
                  <a:cubicBezTo>
                    <a:pt x="46" y="154"/>
                    <a:pt x="50" y="151"/>
                    <a:pt x="49" y="150"/>
                  </a:cubicBezTo>
                  <a:cubicBezTo>
                    <a:pt x="48" y="149"/>
                    <a:pt x="46" y="145"/>
                    <a:pt x="44" y="145"/>
                  </a:cubicBezTo>
                  <a:cubicBezTo>
                    <a:pt x="43" y="145"/>
                    <a:pt x="35" y="148"/>
                    <a:pt x="33" y="148"/>
                  </a:cubicBezTo>
                  <a:cubicBezTo>
                    <a:pt x="30" y="148"/>
                    <a:pt x="28" y="145"/>
                    <a:pt x="26" y="142"/>
                  </a:cubicBezTo>
                  <a:cubicBezTo>
                    <a:pt x="23" y="140"/>
                    <a:pt x="23" y="138"/>
                    <a:pt x="23" y="136"/>
                  </a:cubicBezTo>
                  <a:cubicBezTo>
                    <a:pt x="23" y="133"/>
                    <a:pt x="16" y="128"/>
                    <a:pt x="16" y="125"/>
                  </a:cubicBezTo>
                  <a:cubicBezTo>
                    <a:pt x="16" y="121"/>
                    <a:pt x="23" y="115"/>
                    <a:pt x="24" y="114"/>
                  </a:cubicBezTo>
                  <a:cubicBezTo>
                    <a:pt x="26" y="113"/>
                    <a:pt x="23" y="109"/>
                    <a:pt x="28" y="107"/>
                  </a:cubicBezTo>
                  <a:cubicBezTo>
                    <a:pt x="34" y="105"/>
                    <a:pt x="35" y="110"/>
                    <a:pt x="37" y="110"/>
                  </a:cubicBezTo>
                  <a:cubicBezTo>
                    <a:pt x="40" y="111"/>
                    <a:pt x="42" y="103"/>
                    <a:pt x="43" y="103"/>
                  </a:cubicBezTo>
                  <a:cubicBezTo>
                    <a:pt x="44" y="103"/>
                    <a:pt x="46" y="103"/>
                    <a:pt x="49" y="104"/>
                  </a:cubicBezTo>
                  <a:cubicBezTo>
                    <a:pt x="51" y="105"/>
                    <a:pt x="56" y="101"/>
                    <a:pt x="57" y="99"/>
                  </a:cubicBezTo>
                  <a:cubicBezTo>
                    <a:pt x="58" y="97"/>
                    <a:pt x="50" y="94"/>
                    <a:pt x="52" y="94"/>
                  </a:cubicBezTo>
                  <a:cubicBezTo>
                    <a:pt x="54" y="93"/>
                    <a:pt x="56" y="88"/>
                    <a:pt x="55" y="87"/>
                  </a:cubicBezTo>
                  <a:cubicBezTo>
                    <a:pt x="55" y="86"/>
                    <a:pt x="49" y="87"/>
                    <a:pt x="47" y="88"/>
                  </a:cubicBezTo>
                  <a:cubicBezTo>
                    <a:pt x="46" y="88"/>
                    <a:pt x="43" y="93"/>
                    <a:pt x="41" y="93"/>
                  </a:cubicBezTo>
                  <a:cubicBezTo>
                    <a:pt x="39" y="93"/>
                    <a:pt x="39" y="92"/>
                    <a:pt x="38" y="91"/>
                  </a:cubicBezTo>
                  <a:cubicBezTo>
                    <a:pt x="36" y="89"/>
                    <a:pt x="30" y="92"/>
                    <a:pt x="27" y="92"/>
                  </a:cubicBezTo>
                  <a:cubicBezTo>
                    <a:pt x="23" y="93"/>
                    <a:pt x="17" y="91"/>
                    <a:pt x="14" y="90"/>
                  </a:cubicBezTo>
                  <a:cubicBezTo>
                    <a:pt x="12" y="89"/>
                    <a:pt x="12" y="84"/>
                    <a:pt x="10" y="82"/>
                  </a:cubicBezTo>
                  <a:cubicBezTo>
                    <a:pt x="8" y="81"/>
                    <a:pt x="0" y="79"/>
                    <a:pt x="0" y="7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7" name="Freeform 106"/>
            <p:cNvSpPr>
              <a:spLocks/>
            </p:cNvSpPr>
            <p:nvPr>
              <p:custDataLst>
                <p:tags r:id="rId256"/>
              </p:custDataLst>
            </p:nvPr>
          </p:nvSpPr>
          <p:spPr bwMode="auto">
            <a:xfrm>
              <a:off x="512" y="1919"/>
              <a:ext cx="15" cy="14"/>
            </a:xfrm>
            <a:custGeom>
              <a:avLst/>
              <a:gdLst>
                <a:gd name="T0" fmla="*/ 23813 w 9"/>
                <a:gd name="T1" fmla="*/ 6350 h 7"/>
                <a:gd name="T2" fmla="*/ 10584 w 9"/>
                <a:gd name="T3" fmla="*/ 19050 h 7"/>
                <a:gd name="T4" fmla="*/ 0 w 9"/>
                <a:gd name="T5" fmla="*/ 22225 h 7"/>
                <a:gd name="T6" fmla="*/ 0 w 9"/>
                <a:gd name="T7" fmla="*/ 15875 h 7"/>
                <a:gd name="T8" fmla="*/ 15875 w 9"/>
                <a:gd name="T9" fmla="*/ 0 h 7"/>
                <a:gd name="T10" fmla="*/ 23813 w 9"/>
                <a:gd name="T11" fmla="*/ 635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7">
                  <a:moveTo>
                    <a:pt x="9" y="2"/>
                  </a:moveTo>
                  <a:cubicBezTo>
                    <a:pt x="8" y="4"/>
                    <a:pt x="6" y="6"/>
                    <a:pt x="4" y="6"/>
                  </a:cubicBezTo>
                  <a:cubicBezTo>
                    <a:pt x="2" y="7"/>
                    <a:pt x="2" y="7"/>
                    <a:pt x="0" y="7"/>
                  </a:cubicBezTo>
                  <a:cubicBezTo>
                    <a:pt x="0" y="7"/>
                    <a:pt x="0" y="7"/>
                    <a:pt x="0" y="5"/>
                  </a:cubicBezTo>
                  <a:cubicBezTo>
                    <a:pt x="2" y="2"/>
                    <a:pt x="6" y="0"/>
                    <a:pt x="6" y="0"/>
                  </a:cubicBezTo>
                  <a:cubicBezTo>
                    <a:pt x="7" y="0"/>
                    <a:pt x="9" y="1"/>
                    <a:pt x="9" y="2"/>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8" name="Freeform 376"/>
            <p:cNvSpPr>
              <a:spLocks/>
            </p:cNvSpPr>
            <p:nvPr>
              <p:custDataLst>
                <p:tags r:id="rId257"/>
              </p:custDataLst>
            </p:nvPr>
          </p:nvSpPr>
          <p:spPr bwMode="auto">
            <a:xfrm>
              <a:off x="1095" y="1988"/>
              <a:ext cx="760" cy="401"/>
            </a:xfrm>
            <a:custGeom>
              <a:avLst/>
              <a:gdLst>
                <a:gd name="T0" fmla="*/ 38129 w 443"/>
                <a:gd name="T1" fmla="*/ 73003 h 218"/>
                <a:gd name="T2" fmla="*/ 49023 w 443"/>
                <a:gd name="T3" fmla="*/ 17521 h 218"/>
                <a:gd name="T4" fmla="*/ 631847 w 443"/>
                <a:gd name="T5" fmla="*/ 5840 h 218"/>
                <a:gd name="T6" fmla="*/ 713551 w 443"/>
                <a:gd name="T7" fmla="*/ 37962 h 218"/>
                <a:gd name="T8" fmla="*/ 702657 w 443"/>
                <a:gd name="T9" fmla="*/ 58403 h 218"/>
                <a:gd name="T10" fmla="*/ 713551 w 443"/>
                <a:gd name="T11" fmla="*/ 87604 h 218"/>
                <a:gd name="T12" fmla="*/ 770744 w 443"/>
                <a:gd name="T13" fmla="*/ 81764 h 218"/>
                <a:gd name="T14" fmla="*/ 838831 w 443"/>
                <a:gd name="T15" fmla="*/ 87604 h 218"/>
                <a:gd name="T16" fmla="*/ 803426 w 443"/>
                <a:gd name="T17" fmla="*/ 105125 h 218"/>
                <a:gd name="T18" fmla="*/ 776191 w 443"/>
                <a:gd name="T19" fmla="*/ 148927 h 218"/>
                <a:gd name="T20" fmla="*/ 792532 w 443"/>
                <a:gd name="T21" fmla="*/ 219010 h 218"/>
                <a:gd name="T22" fmla="*/ 808872 w 443"/>
                <a:gd name="T23" fmla="*/ 137246 h 218"/>
                <a:gd name="T24" fmla="*/ 857895 w 443"/>
                <a:gd name="T25" fmla="*/ 125566 h 218"/>
                <a:gd name="T26" fmla="*/ 876959 w 443"/>
                <a:gd name="T27" fmla="*/ 157687 h 218"/>
                <a:gd name="T28" fmla="*/ 866065 w 443"/>
                <a:gd name="T29" fmla="*/ 213169 h 218"/>
                <a:gd name="T30" fmla="*/ 947770 w 443"/>
                <a:gd name="T31" fmla="*/ 198569 h 218"/>
                <a:gd name="T32" fmla="*/ 958664 w 443"/>
                <a:gd name="T33" fmla="*/ 172288 h 218"/>
                <a:gd name="T34" fmla="*/ 1010410 w 443"/>
                <a:gd name="T35" fmla="*/ 157687 h 218"/>
                <a:gd name="T36" fmla="*/ 1111178 w 443"/>
                <a:gd name="T37" fmla="*/ 125566 h 218"/>
                <a:gd name="T38" fmla="*/ 1187436 w 443"/>
                <a:gd name="T39" fmla="*/ 67163 h 218"/>
                <a:gd name="T40" fmla="*/ 1179265 w 443"/>
                <a:gd name="T41" fmla="*/ 148927 h 218"/>
                <a:gd name="T42" fmla="*/ 1127519 w 443"/>
                <a:gd name="T43" fmla="*/ 210249 h 218"/>
                <a:gd name="T44" fmla="*/ 1141137 w 443"/>
                <a:gd name="T45" fmla="*/ 224850 h 218"/>
                <a:gd name="T46" fmla="*/ 1064879 w 443"/>
                <a:gd name="T47" fmla="*/ 248211 h 218"/>
                <a:gd name="T48" fmla="*/ 1040368 w 443"/>
                <a:gd name="T49" fmla="*/ 306613 h 218"/>
                <a:gd name="T50" fmla="*/ 1021304 w 443"/>
                <a:gd name="T51" fmla="*/ 324134 h 218"/>
                <a:gd name="T52" fmla="*/ 1018580 w 443"/>
                <a:gd name="T53" fmla="*/ 277412 h 218"/>
                <a:gd name="T54" fmla="*/ 1004963 w 443"/>
                <a:gd name="T55" fmla="*/ 332895 h 218"/>
                <a:gd name="T56" fmla="*/ 1004963 w 443"/>
                <a:gd name="T57" fmla="*/ 397137 h 218"/>
                <a:gd name="T58" fmla="*/ 955940 w 443"/>
                <a:gd name="T59" fmla="*/ 423419 h 218"/>
                <a:gd name="T60" fmla="*/ 909641 w 443"/>
                <a:gd name="T61" fmla="*/ 478901 h 218"/>
                <a:gd name="T62" fmla="*/ 920535 w 443"/>
                <a:gd name="T63" fmla="*/ 563585 h 218"/>
                <a:gd name="T64" fmla="*/ 917812 w 443"/>
                <a:gd name="T65" fmla="*/ 636588 h 218"/>
                <a:gd name="T66" fmla="*/ 890577 w 443"/>
                <a:gd name="T67" fmla="*/ 604467 h 218"/>
                <a:gd name="T68" fmla="*/ 849725 w 443"/>
                <a:gd name="T69" fmla="*/ 516863 h 218"/>
                <a:gd name="T70" fmla="*/ 797979 w 443"/>
                <a:gd name="T71" fmla="*/ 508102 h 218"/>
                <a:gd name="T72" fmla="*/ 740786 w 443"/>
                <a:gd name="T73" fmla="*/ 537304 h 218"/>
                <a:gd name="T74" fmla="*/ 675422 w 443"/>
                <a:gd name="T75" fmla="*/ 531463 h 218"/>
                <a:gd name="T76" fmla="*/ 599165 w 443"/>
                <a:gd name="T77" fmla="*/ 551904 h 218"/>
                <a:gd name="T78" fmla="*/ 577377 w 443"/>
                <a:gd name="T79" fmla="*/ 613227 h 218"/>
                <a:gd name="T80" fmla="*/ 492949 w 443"/>
                <a:gd name="T81" fmla="*/ 525623 h 218"/>
                <a:gd name="T82" fmla="*/ 419415 w 443"/>
                <a:gd name="T83" fmla="*/ 516863 h 218"/>
                <a:gd name="T84" fmla="*/ 345881 w 443"/>
                <a:gd name="T85" fmla="*/ 473061 h 218"/>
                <a:gd name="T86" fmla="*/ 209708 w 443"/>
                <a:gd name="T87" fmla="*/ 452620 h 218"/>
                <a:gd name="T88" fmla="*/ 160685 w 443"/>
                <a:gd name="T89" fmla="*/ 452620 h 218"/>
                <a:gd name="T90" fmla="*/ 89875 w 443"/>
                <a:gd name="T91" fmla="*/ 408818 h 218"/>
                <a:gd name="T92" fmla="*/ 40852 w 443"/>
                <a:gd name="T93" fmla="*/ 306613 h 218"/>
                <a:gd name="T94" fmla="*/ 16341 w 443"/>
                <a:gd name="T95" fmla="*/ 224850 h 218"/>
                <a:gd name="T96" fmla="*/ 10894 w 443"/>
                <a:gd name="T97" fmla="*/ 67163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3" h="218">
                  <a:moveTo>
                    <a:pt x="7" y="19"/>
                  </a:moveTo>
                  <a:cubicBezTo>
                    <a:pt x="8" y="19"/>
                    <a:pt x="11" y="17"/>
                    <a:pt x="13" y="18"/>
                  </a:cubicBezTo>
                  <a:cubicBezTo>
                    <a:pt x="16" y="19"/>
                    <a:pt x="13" y="24"/>
                    <a:pt x="14" y="25"/>
                  </a:cubicBezTo>
                  <a:cubicBezTo>
                    <a:pt x="16" y="26"/>
                    <a:pt x="18" y="25"/>
                    <a:pt x="20" y="23"/>
                  </a:cubicBezTo>
                  <a:cubicBezTo>
                    <a:pt x="20" y="22"/>
                    <a:pt x="18" y="16"/>
                    <a:pt x="19" y="13"/>
                  </a:cubicBezTo>
                  <a:cubicBezTo>
                    <a:pt x="19" y="10"/>
                    <a:pt x="19" y="8"/>
                    <a:pt x="18" y="6"/>
                  </a:cubicBezTo>
                  <a:cubicBezTo>
                    <a:pt x="224" y="6"/>
                    <a:pt x="224" y="6"/>
                    <a:pt x="224" y="6"/>
                  </a:cubicBezTo>
                  <a:cubicBezTo>
                    <a:pt x="226" y="6"/>
                    <a:pt x="226" y="0"/>
                    <a:pt x="226" y="0"/>
                  </a:cubicBezTo>
                  <a:cubicBezTo>
                    <a:pt x="226" y="0"/>
                    <a:pt x="232" y="1"/>
                    <a:pt x="232" y="2"/>
                  </a:cubicBezTo>
                  <a:cubicBezTo>
                    <a:pt x="232" y="3"/>
                    <a:pt x="236" y="11"/>
                    <a:pt x="237" y="11"/>
                  </a:cubicBezTo>
                  <a:cubicBezTo>
                    <a:pt x="238" y="11"/>
                    <a:pt x="249" y="12"/>
                    <a:pt x="252" y="13"/>
                  </a:cubicBezTo>
                  <a:cubicBezTo>
                    <a:pt x="256" y="14"/>
                    <a:pt x="261" y="13"/>
                    <a:pt x="262" y="13"/>
                  </a:cubicBezTo>
                  <a:cubicBezTo>
                    <a:pt x="264" y="12"/>
                    <a:pt x="268" y="16"/>
                    <a:pt x="268" y="16"/>
                  </a:cubicBezTo>
                  <a:cubicBezTo>
                    <a:pt x="268" y="16"/>
                    <a:pt x="268" y="16"/>
                    <a:pt x="268" y="16"/>
                  </a:cubicBezTo>
                  <a:cubicBezTo>
                    <a:pt x="265" y="18"/>
                    <a:pt x="259" y="19"/>
                    <a:pt x="258" y="20"/>
                  </a:cubicBezTo>
                  <a:cubicBezTo>
                    <a:pt x="257" y="22"/>
                    <a:pt x="249" y="26"/>
                    <a:pt x="250" y="28"/>
                  </a:cubicBezTo>
                  <a:cubicBezTo>
                    <a:pt x="250" y="30"/>
                    <a:pt x="254" y="30"/>
                    <a:pt x="255" y="28"/>
                  </a:cubicBezTo>
                  <a:cubicBezTo>
                    <a:pt x="257" y="27"/>
                    <a:pt x="260" y="28"/>
                    <a:pt x="262" y="30"/>
                  </a:cubicBezTo>
                  <a:cubicBezTo>
                    <a:pt x="263" y="32"/>
                    <a:pt x="269" y="28"/>
                    <a:pt x="273" y="26"/>
                  </a:cubicBezTo>
                  <a:cubicBezTo>
                    <a:pt x="273" y="26"/>
                    <a:pt x="282" y="19"/>
                    <a:pt x="283" y="22"/>
                  </a:cubicBezTo>
                  <a:cubicBezTo>
                    <a:pt x="284" y="24"/>
                    <a:pt x="282" y="26"/>
                    <a:pt x="283" y="28"/>
                  </a:cubicBezTo>
                  <a:cubicBezTo>
                    <a:pt x="285" y="30"/>
                    <a:pt x="288" y="31"/>
                    <a:pt x="291" y="32"/>
                  </a:cubicBezTo>
                  <a:cubicBezTo>
                    <a:pt x="294" y="32"/>
                    <a:pt x="298" y="29"/>
                    <a:pt x="301" y="29"/>
                  </a:cubicBezTo>
                  <a:cubicBezTo>
                    <a:pt x="303" y="28"/>
                    <a:pt x="305" y="30"/>
                    <a:pt x="308" y="30"/>
                  </a:cubicBezTo>
                  <a:cubicBezTo>
                    <a:pt x="316" y="37"/>
                    <a:pt x="316" y="37"/>
                    <a:pt x="316" y="37"/>
                  </a:cubicBezTo>
                  <a:cubicBezTo>
                    <a:pt x="313" y="37"/>
                    <a:pt x="306" y="37"/>
                    <a:pt x="304" y="35"/>
                  </a:cubicBezTo>
                  <a:cubicBezTo>
                    <a:pt x="303" y="34"/>
                    <a:pt x="299" y="35"/>
                    <a:pt x="295" y="36"/>
                  </a:cubicBezTo>
                  <a:cubicBezTo>
                    <a:pt x="292" y="36"/>
                    <a:pt x="289" y="38"/>
                    <a:pt x="287" y="39"/>
                  </a:cubicBezTo>
                  <a:cubicBezTo>
                    <a:pt x="285" y="41"/>
                    <a:pt x="284" y="44"/>
                    <a:pt x="286" y="45"/>
                  </a:cubicBezTo>
                  <a:cubicBezTo>
                    <a:pt x="287" y="46"/>
                    <a:pt x="286" y="49"/>
                    <a:pt x="285" y="51"/>
                  </a:cubicBezTo>
                  <a:cubicBezTo>
                    <a:pt x="284" y="54"/>
                    <a:pt x="283" y="64"/>
                    <a:pt x="283" y="68"/>
                  </a:cubicBezTo>
                  <a:cubicBezTo>
                    <a:pt x="283" y="72"/>
                    <a:pt x="285" y="76"/>
                    <a:pt x="287" y="76"/>
                  </a:cubicBezTo>
                  <a:cubicBezTo>
                    <a:pt x="289" y="77"/>
                    <a:pt x="290" y="76"/>
                    <a:pt x="291" y="75"/>
                  </a:cubicBezTo>
                  <a:cubicBezTo>
                    <a:pt x="293" y="74"/>
                    <a:pt x="294" y="70"/>
                    <a:pt x="295" y="68"/>
                  </a:cubicBezTo>
                  <a:cubicBezTo>
                    <a:pt x="297" y="66"/>
                    <a:pt x="293" y="58"/>
                    <a:pt x="293" y="55"/>
                  </a:cubicBezTo>
                  <a:cubicBezTo>
                    <a:pt x="293" y="52"/>
                    <a:pt x="294" y="48"/>
                    <a:pt x="297" y="47"/>
                  </a:cubicBezTo>
                  <a:cubicBezTo>
                    <a:pt x="301" y="45"/>
                    <a:pt x="303" y="46"/>
                    <a:pt x="303" y="45"/>
                  </a:cubicBezTo>
                  <a:cubicBezTo>
                    <a:pt x="303" y="43"/>
                    <a:pt x="305" y="41"/>
                    <a:pt x="307" y="41"/>
                  </a:cubicBezTo>
                  <a:cubicBezTo>
                    <a:pt x="309" y="41"/>
                    <a:pt x="313" y="42"/>
                    <a:pt x="315" y="43"/>
                  </a:cubicBezTo>
                  <a:cubicBezTo>
                    <a:pt x="317" y="44"/>
                    <a:pt x="316" y="46"/>
                    <a:pt x="316" y="49"/>
                  </a:cubicBezTo>
                  <a:cubicBezTo>
                    <a:pt x="316" y="52"/>
                    <a:pt x="311" y="55"/>
                    <a:pt x="313" y="57"/>
                  </a:cubicBezTo>
                  <a:cubicBezTo>
                    <a:pt x="315" y="60"/>
                    <a:pt x="320" y="55"/>
                    <a:pt x="322" y="54"/>
                  </a:cubicBezTo>
                  <a:cubicBezTo>
                    <a:pt x="323" y="54"/>
                    <a:pt x="322" y="61"/>
                    <a:pt x="324" y="63"/>
                  </a:cubicBezTo>
                  <a:cubicBezTo>
                    <a:pt x="320" y="72"/>
                    <a:pt x="320" y="72"/>
                    <a:pt x="320" y="72"/>
                  </a:cubicBezTo>
                  <a:cubicBezTo>
                    <a:pt x="319" y="72"/>
                    <a:pt x="318" y="72"/>
                    <a:pt x="318" y="73"/>
                  </a:cubicBezTo>
                  <a:cubicBezTo>
                    <a:pt x="316" y="74"/>
                    <a:pt x="319" y="77"/>
                    <a:pt x="320" y="77"/>
                  </a:cubicBezTo>
                  <a:cubicBezTo>
                    <a:pt x="322" y="78"/>
                    <a:pt x="327" y="78"/>
                    <a:pt x="330" y="77"/>
                  </a:cubicBezTo>
                  <a:cubicBezTo>
                    <a:pt x="333" y="75"/>
                    <a:pt x="346" y="69"/>
                    <a:pt x="348" y="68"/>
                  </a:cubicBezTo>
                  <a:cubicBezTo>
                    <a:pt x="350" y="68"/>
                    <a:pt x="352" y="66"/>
                    <a:pt x="351" y="65"/>
                  </a:cubicBezTo>
                  <a:cubicBezTo>
                    <a:pt x="351" y="64"/>
                    <a:pt x="350" y="64"/>
                    <a:pt x="348" y="64"/>
                  </a:cubicBezTo>
                  <a:cubicBezTo>
                    <a:pt x="352" y="59"/>
                    <a:pt x="352" y="59"/>
                    <a:pt x="352" y="59"/>
                  </a:cubicBezTo>
                  <a:cubicBezTo>
                    <a:pt x="355" y="59"/>
                    <a:pt x="364" y="60"/>
                    <a:pt x="366" y="60"/>
                  </a:cubicBezTo>
                  <a:cubicBezTo>
                    <a:pt x="369" y="60"/>
                    <a:pt x="371" y="59"/>
                    <a:pt x="372" y="57"/>
                  </a:cubicBezTo>
                  <a:cubicBezTo>
                    <a:pt x="372" y="56"/>
                    <a:pt x="372" y="54"/>
                    <a:pt x="371" y="54"/>
                  </a:cubicBezTo>
                  <a:cubicBezTo>
                    <a:pt x="371" y="54"/>
                    <a:pt x="371" y="54"/>
                    <a:pt x="371" y="54"/>
                  </a:cubicBezTo>
                  <a:cubicBezTo>
                    <a:pt x="382" y="44"/>
                    <a:pt x="382" y="44"/>
                    <a:pt x="382" y="44"/>
                  </a:cubicBezTo>
                  <a:cubicBezTo>
                    <a:pt x="408" y="43"/>
                    <a:pt x="408" y="43"/>
                    <a:pt x="408" y="43"/>
                  </a:cubicBezTo>
                  <a:cubicBezTo>
                    <a:pt x="408" y="43"/>
                    <a:pt x="415" y="42"/>
                    <a:pt x="416" y="38"/>
                  </a:cubicBezTo>
                  <a:cubicBezTo>
                    <a:pt x="417" y="35"/>
                    <a:pt x="424" y="20"/>
                    <a:pt x="426" y="21"/>
                  </a:cubicBezTo>
                  <a:cubicBezTo>
                    <a:pt x="429" y="23"/>
                    <a:pt x="435" y="20"/>
                    <a:pt x="436" y="23"/>
                  </a:cubicBezTo>
                  <a:cubicBezTo>
                    <a:pt x="437" y="26"/>
                    <a:pt x="437" y="34"/>
                    <a:pt x="437" y="36"/>
                  </a:cubicBezTo>
                  <a:cubicBezTo>
                    <a:pt x="443" y="45"/>
                    <a:pt x="443" y="45"/>
                    <a:pt x="443" y="45"/>
                  </a:cubicBezTo>
                  <a:cubicBezTo>
                    <a:pt x="443" y="46"/>
                    <a:pt x="437" y="50"/>
                    <a:pt x="433" y="51"/>
                  </a:cubicBezTo>
                  <a:cubicBezTo>
                    <a:pt x="430" y="53"/>
                    <a:pt x="424" y="54"/>
                    <a:pt x="422" y="56"/>
                  </a:cubicBezTo>
                  <a:cubicBezTo>
                    <a:pt x="419" y="57"/>
                    <a:pt x="416" y="60"/>
                    <a:pt x="413" y="64"/>
                  </a:cubicBezTo>
                  <a:cubicBezTo>
                    <a:pt x="410" y="68"/>
                    <a:pt x="413" y="71"/>
                    <a:pt x="414" y="72"/>
                  </a:cubicBezTo>
                  <a:cubicBezTo>
                    <a:pt x="415" y="73"/>
                    <a:pt x="418" y="70"/>
                    <a:pt x="418" y="70"/>
                  </a:cubicBezTo>
                  <a:cubicBezTo>
                    <a:pt x="419" y="70"/>
                    <a:pt x="419" y="71"/>
                    <a:pt x="420" y="73"/>
                  </a:cubicBezTo>
                  <a:cubicBezTo>
                    <a:pt x="420" y="74"/>
                    <a:pt x="420" y="77"/>
                    <a:pt x="419" y="77"/>
                  </a:cubicBezTo>
                  <a:cubicBezTo>
                    <a:pt x="418" y="77"/>
                    <a:pt x="416" y="77"/>
                    <a:pt x="413" y="77"/>
                  </a:cubicBezTo>
                  <a:cubicBezTo>
                    <a:pt x="411" y="77"/>
                    <a:pt x="406" y="80"/>
                    <a:pt x="401" y="80"/>
                  </a:cubicBezTo>
                  <a:cubicBezTo>
                    <a:pt x="396" y="80"/>
                    <a:pt x="392" y="84"/>
                    <a:pt x="391" y="85"/>
                  </a:cubicBezTo>
                  <a:cubicBezTo>
                    <a:pt x="390" y="87"/>
                    <a:pt x="389" y="90"/>
                    <a:pt x="389" y="92"/>
                  </a:cubicBezTo>
                  <a:cubicBezTo>
                    <a:pt x="389" y="94"/>
                    <a:pt x="385" y="96"/>
                    <a:pt x="384" y="98"/>
                  </a:cubicBezTo>
                  <a:cubicBezTo>
                    <a:pt x="382" y="99"/>
                    <a:pt x="382" y="102"/>
                    <a:pt x="382" y="105"/>
                  </a:cubicBezTo>
                  <a:cubicBezTo>
                    <a:pt x="382" y="107"/>
                    <a:pt x="379" y="112"/>
                    <a:pt x="379" y="113"/>
                  </a:cubicBezTo>
                  <a:cubicBezTo>
                    <a:pt x="378" y="114"/>
                    <a:pt x="378" y="115"/>
                    <a:pt x="377" y="115"/>
                  </a:cubicBezTo>
                  <a:cubicBezTo>
                    <a:pt x="376" y="115"/>
                    <a:pt x="375" y="113"/>
                    <a:pt x="375" y="111"/>
                  </a:cubicBezTo>
                  <a:cubicBezTo>
                    <a:pt x="375" y="110"/>
                    <a:pt x="374" y="107"/>
                    <a:pt x="374" y="105"/>
                  </a:cubicBezTo>
                  <a:cubicBezTo>
                    <a:pt x="374" y="103"/>
                    <a:pt x="374" y="103"/>
                    <a:pt x="374" y="101"/>
                  </a:cubicBezTo>
                  <a:cubicBezTo>
                    <a:pt x="373" y="98"/>
                    <a:pt x="374" y="96"/>
                    <a:pt x="374" y="95"/>
                  </a:cubicBezTo>
                  <a:cubicBezTo>
                    <a:pt x="374" y="94"/>
                    <a:pt x="372" y="95"/>
                    <a:pt x="370" y="96"/>
                  </a:cubicBezTo>
                  <a:cubicBezTo>
                    <a:pt x="368" y="97"/>
                    <a:pt x="368" y="102"/>
                    <a:pt x="369" y="105"/>
                  </a:cubicBezTo>
                  <a:cubicBezTo>
                    <a:pt x="370" y="108"/>
                    <a:pt x="369" y="111"/>
                    <a:pt x="369" y="114"/>
                  </a:cubicBezTo>
                  <a:cubicBezTo>
                    <a:pt x="369" y="116"/>
                    <a:pt x="373" y="118"/>
                    <a:pt x="373" y="119"/>
                  </a:cubicBezTo>
                  <a:cubicBezTo>
                    <a:pt x="373" y="120"/>
                    <a:pt x="378" y="131"/>
                    <a:pt x="378" y="132"/>
                  </a:cubicBezTo>
                  <a:cubicBezTo>
                    <a:pt x="377" y="134"/>
                    <a:pt x="371" y="136"/>
                    <a:pt x="369" y="136"/>
                  </a:cubicBezTo>
                  <a:cubicBezTo>
                    <a:pt x="367" y="136"/>
                    <a:pt x="363" y="138"/>
                    <a:pt x="361" y="139"/>
                  </a:cubicBezTo>
                  <a:cubicBezTo>
                    <a:pt x="360" y="140"/>
                    <a:pt x="360" y="144"/>
                    <a:pt x="358" y="145"/>
                  </a:cubicBezTo>
                  <a:cubicBezTo>
                    <a:pt x="357" y="146"/>
                    <a:pt x="354" y="143"/>
                    <a:pt x="351" y="145"/>
                  </a:cubicBezTo>
                  <a:cubicBezTo>
                    <a:pt x="348" y="146"/>
                    <a:pt x="349" y="151"/>
                    <a:pt x="349" y="151"/>
                  </a:cubicBezTo>
                  <a:cubicBezTo>
                    <a:pt x="348" y="152"/>
                    <a:pt x="347" y="153"/>
                    <a:pt x="345" y="154"/>
                  </a:cubicBezTo>
                  <a:cubicBezTo>
                    <a:pt x="343" y="156"/>
                    <a:pt x="338" y="157"/>
                    <a:pt x="334" y="164"/>
                  </a:cubicBezTo>
                  <a:cubicBezTo>
                    <a:pt x="330" y="170"/>
                    <a:pt x="334" y="179"/>
                    <a:pt x="335" y="183"/>
                  </a:cubicBezTo>
                  <a:cubicBezTo>
                    <a:pt x="335" y="186"/>
                    <a:pt x="339" y="187"/>
                    <a:pt x="340" y="188"/>
                  </a:cubicBezTo>
                  <a:cubicBezTo>
                    <a:pt x="340" y="190"/>
                    <a:pt x="338" y="192"/>
                    <a:pt x="338" y="193"/>
                  </a:cubicBezTo>
                  <a:cubicBezTo>
                    <a:pt x="338" y="195"/>
                    <a:pt x="339" y="195"/>
                    <a:pt x="342" y="199"/>
                  </a:cubicBezTo>
                  <a:cubicBezTo>
                    <a:pt x="344" y="204"/>
                    <a:pt x="343" y="210"/>
                    <a:pt x="343" y="213"/>
                  </a:cubicBezTo>
                  <a:cubicBezTo>
                    <a:pt x="342" y="216"/>
                    <a:pt x="340" y="218"/>
                    <a:pt x="337" y="218"/>
                  </a:cubicBezTo>
                  <a:cubicBezTo>
                    <a:pt x="336" y="218"/>
                    <a:pt x="336" y="217"/>
                    <a:pt x="336" y="217"/>
                  </a:cubicBezTo>
                  <a:cubicBezTo>
                    <a:pt x="333" y="217"/>
                    <a:pt x="333" y="216"/>
                    <a:pt x="332" y="213"/>
                  </a:cubicBezTo>
                  <a:cubicBezTo>
                    <a:pt x="330" y="211"/>
                    <a:pt x="329" y="210"/>
                    <a:pt x="327" y="207"/>
                  </a:cubicBezTo>
                  <a:cubicBezTo>
                    <a:pt x="325" y="205"/>
                    <a:pt x="321" y="197"/>
                    <a:pt x="321" y="193"/>
                  </a:cubicBezTo>
                  <a:cubicBezTo>
                    <a:pt x="321" y="190"/>
                    <a:pt x="321" y="186"/>
                    <a:pt x="319" y="184"/>
                  </a:cubicBezTo>
                  <a:cubicBezTo>
                    <a:pt x="318" y="182"/>
                    <a:pt x="315" y="178"/>
                    <a:pt x="312" y="177"/>
                  </a:cubicBezTo>
                  <a:cubicBezTo>
                    <a:pt x="309" y="176"/>
                    <a:pt x="308" y="180"/>
                    <a:pt x="306" y="181"/>
                  </a:cubicBezTo>
                  <a:cubicBezTo>
                    <a:pt x="304" y="182"/>
                    <a:pt x="302" y="181"/>
                    <a:pt x="301" y="179"/>
                  </a:cubicBezTo>
                  <a:cubicBezTo>
                    <a:pt x="300" y="177"/>
                    <a:pt x="296" y="174"/>
                    <a:pt x="293" y="174"/>
                  </a:cubicBezTo>
                  <a:cubicBezTo>
                    <a:pt x="291" y="174"/>
                    <a:pt x="285" y="176"/>
                    <a:pt x="279" y="176"/>
                  </a:cubicBezTo>
                  <a:cubicBezTo>
                    <a:pt x="273" y="176"/>
                    <a:pt x="274" y="177"/>
                    <a:pt x="272" y="178"/>
                  </a:cubicBezTo>
                  <a:cubicBezTo>
                    <a:pt x="271" y="179"/>
                    <a:pt x="273" y="183"/>
                    <a:pt x="272" y="184"/>
                  </a:cubicBezTo>
                  <a:cubicBezTo>
                    <a:pt x="270" y="185"/>
                    <a:pt x="267" y="186"/>
                    <a:pt x="264" y="186"/>
                  </a:cubicBezTo>
                  <a:cubicBezTo>
                    <a:pt x="261" y="186"/>
                    <a:pt x="258" y="182"/>
                    <a:pt x="255" y="181"/>
                  </a:cubicBezTo>
                  <a:cubicBezTo>
                    <a:pt x="253" y="180"/>
                    <a:pt x="249" y="182"/>
                    <a:pt x="248" y="182"/>
                  </a:cubicBezTo>
                  <a:cubicBezTo>
                    <a:pt x="247" y="181"/>
                    <a:pt x="246" y="181"/>
                    <a:pt x="242" y="180"/>
                  </a:cubicBezTo>
                  <a:cubicBezTo>
                    <a:pt x="239" y="178"/>
                    <a:pt x="234" y="181"/>
                    <a:pt x="232" y="182"/>
                  </a:cubicBezTo>
                  <a:cubicBezTo>
                    <a:pt x="229" y="183"/>
                    <a:pt x="223" y="188"/>
                    <a:pt x="220" y="189"/>
                  </a:cubicBezTo>
                  <a:cubicBezTo>
                    <a:pt x="218" y="190"/>
                    <a:pt x="209" y="198"/>
                    <a:pt x="209" y="200"/>
                  </a:cubicBezTo>
                  <a:cubicBezTo>
                    <a:pt x="209" y="202"/>
                    <a:pt x="212" y="207"/>
                    <a:pt x="213" y="210"/>
                  </a:cubicBezTo>
                  <a:cubicBezTo>
                    <a:pt x="212" y="210"/>
                    <a:pt x="212" y="210"/>
                    <a:pt x="212" y="210"/>
                  </a:cubicBezTo>
                  <a:cubicBezTo>
                    <a:pt x="207" y="212"/>
                    <a:pt x="207" y="212"/>
                    <a:pt x="207" y="212"/>
                  </a:cubicBezTo>
                  <a:cubicBezTo>
                    <a:pt x="207" y="212"/>
                    <a:pt x="198" y="208"/>
                    <a:pt x="197" y="207"/>
                  </a:cubicBezTo>
                  <a:cubicBezTo>
                    <a:pt x="196" y="206"/>
                    <a:pt x="185" y="182"/>
                    <a:pt x="181" y="180"/>
                  </a:cubicBezTo>
                  <a:cubicBezTo>
                    <a:pt x="176" y="178"/>
                    <a:pt x="173" y="178"/>
                    <a:pt x="171" y="178"/>
                  </a:cubicBezTo>
                  <a:cubicBezTo>
                    <a:pt x="169" y="179"/>
                    <a:pt x="169" y="186"/>
                    <a:pt x="165" y="185"/>
                  </a:cubicBezTo>
                  <a:cubicBezTo>
                    <a:pt x="161" y="183"/>
                    <a:pt x="155" y="181"/>
                    <a:pt x="154" y="177"/>
                  </a:cubicBezTo>
                  <a:cubicBezTo>
                    <a:pt x="153" y="173"/>
                    <a:pt x="152" y="171"/>
                    <a:pt x="149" y="170"/>
                  </a:cubicBezTo>
                  <a:cubicBezTo>
                    <a:pt x="147" y="168"/>
                    <a:pt x="141" y="162"/>
                    <a:pt x="141" y="162"/>
                  </a:cubicBezTo>
                  <a:cubicBezTo>
                    <a:pt x="127" y="162"/>
                    <a:pt x="127" y="162"/>
                    <a:pt x="127" y="162"/>
                  </a:cubicBezTo>
                  <a:cubicBezTo>
                    <a:pt x="127" y="167"/>
                    <a:pt x="127" y="167"/>
                    <a:pt x="127" y="167"/>
                  </a:cubicBezTo>
                  <a:cubicBezTo>
                    <a:pt x="105" y="166"/>
                    <a:pt x="105" y="166"/>
                    <a:pt x="105" y="166"/>
                  </a:cubicBezTo>
                  <a:cubicBezTo>
                    <a:pt x="77" y="155"/>
                    <a:pt x="77" y="155"/>
                    <a:pt x="77" y="155"/>
                  </a:cubicBezTo>
                  <a:cubicBezTo>
                    <a:pt x="77" y="152"/>
                    <a:pt x="77" y="152"/>
                    <a:pt x="77" y="152"/>
                  </a:cubicBezTo>
                  <a:cubicBezTo>
                    <a:pt x="66" y="154"/>
                    <a:pt x="66" y="154"/>
                    <a:pt x="66" y="154"/>
                  </a:cubicBezTo>
                  <a:cubicBezTo>
                    <a:pt x="59" y="155"/>
                    <a:pt x="59" y="155"/>
                    <a:pt x="59" y="155"/>
                  </a:cubicBezTo>
                  <a:cubicBezTo>
                    <a:pt x="58" y="154"/>
                    <a:pt x="58" y="152"/>
                    <a:pt x="58" y="151"/>
                  </a:cubicBezTo>
                  <a:cubicBezTo>
                    <a:pt x="57" y="148"/>
                    <a:pt x="43" y="141"/>
                    <a:pt x="40" y="140"/>
                  </a:cubicBezTo>
                  <a:cubicBezTo>
                    <a:pt x="38" y="138"/>
                    <a:pt x="34" y="142"/>
                    <a:pt x="33" y="140"/>
                  </a:cubicBezTo>
                  <a:cubicBezTo>
                    <a:pt x="32" y="138"/>
                    <a:pt x="30" y="131"/>
                    <a:pt x="30" y="130"/>
                  </a:cubicBezTo>
                  <a:cubicBezTo>
                    <a:pt x="29" y="129"/>
                    <a:pt x="25" y="125"/>
                    <a:pt x="22" y="122"/>
                  </a:cubicBezTo>
                  <a:cubicBezTo>
                    <a:pt x="20" y="119"/>
                    <a:pt x="17" y="108"/>
                    <a:pt x="15" y="105"/>
                  </a:cubicBezTo>
                  <a:cubicBezTo>
                    <a:pt x="12" y="102"/>
                    <a:pt x="9" y="97"/>
                    <a:pt x="9" y="95"/>
                  </a:cubicBezTo>
                  <a:cubicBezTo>
                    <a:pt x="9" y="93"/>
                    <a:pt x="3" y="89"/>
                    <a:pt x="3" y="87"/>
                  </a:cubicBezTo>
                  <a:cubicBezTo>
                    <a:pt x="3" y="85"/>
                    <a:pt x="6" y="79"/>
                    <a:pt x="6" y="77"/>
                  </a:cubicBezTo>
                  <a:cubicBezTo>
                    <a:pt x="6" y="74"/>
                    <a:pt x="2" y="67"/>
                    <a:pt x="2" y="65"/>
                  </a:cubicBezTo>
                  <a:cubicBezTo>
                    <a:pt x="2" y="62"/>
                    <a:pt x="7" y="43"/>
                    <a:pt x="7" y="38"/>
                  </a:cubicBezTo>
                  <a:cubicBezTo>
                    <a:pt x="7" y="34"/>
                    <a:pt x="5" y="26"/>
                    <a:pt x="4" y="23"/>
                  </a:cubicBezTo>
                  <a:cubicBezTo>
                    <a:pt x="3" y="21"/>
                    <a:pt x="0" y="17"/>
                    <a:pt x="1" y="17"/>
                  </a:cubicBezTo>
                  <a:cubicBezTo>
                    <a:pt x="2" y="18"/>
                    <a:pt x="6" y="19"/>
                    <a:pt x="7" y="19"/>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89" name="Freeform 505"/>
            <p:cNvSpPr>
              <a:spLocks/>
            </p:cNvSpPr>
            <p:nvPr>
              <p:custDataLst>
                <p:tags r:id="rId258"/>
              </p:custDataLst>
            </p:nvPr>
          </p:nvSpPr>
          <p:spPr bwMode="auto">
            <a:xfrm>
              <a:off x="1723" y="2383"/>
              <a:ext cx="22" cy="27"/>
            </a:xfrm>
            <a:custGeom>
              <a:avLst/>
              <a:gdLst>
                <a:gd name="T0" fmla="*/ 5373 w 13"/>
                <a:gd name="T1" fmla="*/ 22860 h 15"/>
                <a:gd name="T2" fmla="*/ 8060 w 13"/>
                <a:gd name="T3" fmla="*/ 2858 h 15"/>
                <a:gd name="T4" fmla="*/ 16119 w 13"/>
                <a:gd name="T5" fmla="*/ 2858 h 15"/>
                <a:gd name="T6" fmla="*/ 21492 w 13"/>
                <a:gd name="T7" fmla="*/ 20003 h 15"/>
                <a:gd name="T8" fmla="*/ 32238 w 13"/>
                <a:gd name="T9" fmla="*/ 28575 h 15"/>
                <a:gd name="T10" fmla="*/ 24179 w 13"/>
                <a:gd name="T11" fmla="*/ 42863 h 15"/>
                <a:gd name="T12" fmla="*/ 5373 w 13"/>
                <a:gd name="T13" fmla="*/ 2286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5">
                  <a:moveTo>
                    <a:pt x="2" y="8"/>
                  </a:moveTo>
                  <a:cubicBezTo>
                    <a:pt x="0" y="6"/>
                    <a:pt x="0" y="2"/>
                    <a:pt x="3" y="1"/>
                  </a:cubicBezTo>
                  <a:cubicBezTo>
                    <a:pt x="3" y="1"/>
                    <a:pt x="5" y="0"/>
                    <a:pt x="6" y="1"/>
                  </a:cubicBezTo>
                  <a:cubicBezTo>
                    <a:pt x="7" y="2"/>
                    <a:pt x="6" y="6"/>
                    <a:pt x="8" y="7"/>
                  </a:cubicBezTo>
                  <a:cubicBezTo>
                    <a:pt x="9" y="8"/>
                    <a:pt x="11" y="8"/>
                    <a:pt x="12" y="10"/>
                  </a:cubicBezTo>
                  <a:cubicBezTo>
                    <a:pt x="13" y="12"/>
                    <a:pt x="10" y="15"/>
                    <a:pt x="9" y="15"/>
                  </a:cubicBezTo>
                  <a:cubicBezTo>
                    <a:pt x="8" y="15"/>
                    <a:pt x="4" y="10"/>
                    <a:pt x="2" y="8"/>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90" name="Freeform 506"/>
            <p:cNvSpPr>
              <a:spLocks/>
            </p:cNvSpPr>
            <p:nvPr>
              <p:custDataLst>
                <p:tags r:id="rId259"/>
              </p:custDataLst>
            </p:nvPr>
          </p:nvSpPr>
          <p:spPr bwMode="auto">
            <a:xfrm>
              <a:off x="1703" y="2361"/>
              <a:ext cx="20" cy="17"/>
            </a:xfrm>
            <a:custGeom>
              <a:avLst/>
              <a:gdLst>
                <a:gd name="T0" fmla="*/ 15875 w 12"/>
                <a:gd name="T1" fmla="*/ 20991 h 9"/>
                <a:gd name="T2" fmla="*/ 5292 w 12"/>
                <a:gd name="T3" fmla="*/ 8996 h 9"/>
                <a:gd name="T4" fmla="*/ 15875 w 12"/>
                <a:gd name="T5" fmla="*/ 0 h 9"/>
                <a:gd name="T6" fmla="*/ 26458 w 12"/>
                <a:gd name="T7" fmla="*/ 2999 h 9"/>
                <a:gd name="T8" fmla="*/ 26458 w 12"/>
                <a:gd name="T9" fmla="*/ 23989 h 9"/>
                <a:gd name="T10" fmla="*/ 15875 w 12"/>
                <a:gd name="T11" fmla="*/ 20991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6" y="7"/>
                  </a:moveTo>
                  <a:cubicBezTo>
                    <a:pt x="5" y="7"/>
                    <a:pt x="2" y="4"/>
                    <a:pt x="2" y="3"/>
                  </a:cubicBezTo>
                  <a:cubicBezTo>
                    <a:pt x="0" y="1"/>
                    <a:pt x="4" y="0"/>
                    <a:pt x="6" y="0"/>
                  </a:cubicBezTo>
                  <a:cubicBezTo>
                    <a:pt x="6" y="0"/>
                    <a:pt x="8" y="0"/>
                    <a:pt x="10" y="1"/>
                  </a:cubicBezTo>
                  <a:cubicBezTo>
                    <a:pt x="12" y="2"/>
                    <a:pt x="11" y="7"/>
                    <a:pt x="10" y="8"/>
                  </a:cubicBezTo>
                  <a:cubicBezTo>
                    <a:pt x="10" y="9"/>
                    <a:pt x="7" y="8"/>
                    <a:pt x="6" y="7"/>
                  </a:cubicBezTo>
                  <a:close/>
                </a:path>
              </a:pathLst>
            </a:custGeom>
            <a:grpFill/>
            <a:ln w="3175" cap="flat" cmpd="sng">
              <a:no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grpSp>
        <p:nvGrpSpPr>
          <p:cNvPr id="292" name="Gruppieren 291"/>
          <p:cNvGrpSpPr/>
          <p:nvPr/>
        </p:nvGrpSpPr>
        <p:grpSpPr>
          <a:xfrm>
            <a:off x="660066" y="2149651"/>
            <a:ext cx="1040185" cy="977592"/>
            <a:chOff x="966788" y="2144713"/>
            <a:chExt cx="6754812" cy="3190875"/>
          </a:xfrm>
        </p:grpSpPr>
        <p:sp>
          <p:nvSpPr>
            <p:cNvPr id="293" name="Rectangle 182"/>
            <p:cNvSpPr>
              <a:spLocks noChangeArrowheads="1"/>
            </p:cNvSpPr>
            <p:nvPr/>
          </p:nvSpPr>
          <p:spPr bwMode="auto">
            <a:xfrm>
              <a:off x="966788" y="2144713"/>
              <a:ext cx="7938" cy="3179763"/>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294" name="Rectangle 184"/>
            <p:cNvSpPr>
              <a:spLocks noChangeArrowheads="1"/>
            </p:cNvSpPr>
            <p:nvPr/>
          </p:nvSpPr>
          <p:spPr bwMode="auto">
            <a:xfrm>
              <a:off x="974725" y="5319713"/>
              <a:ext cx="6746875" cy="15875"/>
            </a:xfrm>
            <a:prstGeom prst="rect">
              <a:avLst/>
            </a:prstGeom>
            <a:solidFill>
              <a:srgbClr val="0F1923"/>
            </a:solidFill>
            <a:ln w="7938" cap="flat">
              <a:solidFill>
                <a:srgbClr val="0F1923"/>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295" name="Freeform 186"/>
            <p:cNvSpPr>
              <a:spLocks noEditPoints="1"/>
            </p:cNvSpPr>
            <p:nvPr/>
          </p:nvSpPr>
          <p:spPr bwMode="auto">
            <a:xfrm>
              <a:off x="5413375" y="4759326"/>
              <a:ext cx="2303463" cy="163513"/>
            </a:xfrm>
            <a:custGeom>
              <a:avLst/>
              <a:gdLst>
                <a:gd name="T0" fmla="*/ 145 w 4742"/>
                <a:gd name="T1" fmla="*/ 39 h 336"/>
                <a:gd name="T2" fmla="*/ 2 w 4742"/>
                <a:gd name="T3" fmla="*/ 23 h 336"/>
                <a:gd name="T4" fmla="*/ 314 w 4742"/>
                <a:gd name="T5" fmla="*/ 33 h 336"/>
                <a:gd name="T6" fmla="*/ 214 w 4742"/>
                <a:gd name="T7" fmla="*/ 71 h 336"/>
                <a:gd name="T8" fmla="*/ 410 w 4742"/>
                <a:gd name="T9" fmla="*/ 45 h 336"/>
                <a:gd name="T10" fmla="*/ 500 w 4742"/>
                <a:gd name="T11" fmla="*/ 104 h 336"/>
                <a:gd name="T12" fmla="*/ 410 w 4742"/>
                <a:gd name="T13" fmla="*/ 45 h 336"/>
                <a:gd name="T14" fmla="*/ 717 w 4742"/>
                <a:gd name="T15" fmla="*/ 105 h 336"/>
                <a:gd name="T16" fmla="*/ 574 w 4742"/>
                <a:gd name="T17" fmla="*/ 88 h 336"/>
                <a:gd name="T18" fmla="*/ 860 w 4742"/>
                <a:gd name="T19" fmla="*/ 98 h 336"/>
                <a:gd name="T20" fmla="*/ 881 w 4742"/>
                <a:gd name="T21" fmla="*/ 148 h 336"/>
                <a:gd name="T22" fmla="*/ 765 w 4742"/>
                <a:gd name="T23" fmla="*/ 111 h 336"/>
                <a:gd name="T24" fmla="*/ 1077 w 4742"/>
                <a:gd name="T25" fmla="*/ 122 h 336"/>
                <a:gd name="T26" fmla="*/ 977 w 4742"/>
                <a:gd name="T27" fmla="*/ 159 h 336"/>
                <a:gd name="T28" fmla="*/ 1172 w 4742"/>
                <a:gd name="T29" fmla="*/ 131 h 336"/>
                <a:gd name="T30" fmla="*/ 1265 w 4742"/>
                <a:gd name="T31" fmla="*/ 185 h 336"/>
                <a:gd name="T32" fmla="*/ 1172 w 4742"/>
                <a:gd name="T33" fmla="*/ 131 h 336"/>
                <a:gd name="T34" fmla="*/ 1459 w 4742"/>
                <a:gd name="T35" fmla="*/ 148 h 336"/>
                <a:gd name="T36" fmla="*/ 1416 w 4742"/>
                <a:gd name="T37" fmla="*/ 193 h 336"/>
                <a:gd name="T38" fmla="*/ 1363 w 4742"/>
                <a:gd name="T39" fmla="*/ 142 h 336"/>
                <a:gd name="T40" fmla="*/ 1673 w 4742"/>
                <a:gd name="T41" fmla="*/ 184 h 336"/>
                <a:gd name="T42" fmla="*/ 1530 w 4742"/>
                <a:gd name="T43" fmla="*/ 176 h 336"/>
                <a:gd name="T44" fmla="*/ 1842 w 4742"/>
                <a:gd name="T45" fmla="*/ 169 h 336"/>
                <a:gd name="T46" fmla="*/ 1744 w 4742"/>
                <a:gd name="T47" fmla="*/ 212 h 336"/>
                <a:gd name="T48" fmla="*/ 1938 w 4742"/>
                <a:gd name="T49" fmla="*/ 175 h 336"/>
                <a:gd name="T50" fmla="*/ 2057 w 4742"/>
                <a:gd name="T51" fmla="*/ 206 h 336"/>
                <a:gd name="T52" fmla="*/ 1935 w 4742"/>
                <a:gd name="T53" fmla="*/ 223 h 336"/>
                <a:gd name="T54" fmla="*/ 2130 w 4742"/>
                <a:gd name="T55" fmla="*/ 186 h 336"/>
                <a:gd name="T56" fmla="*/ 2223 w 4742"/>
                <a:gd name="T57" fmla="*/ 240 h 336"/>
                <a:gd name="T58" fmla="*/ 2130 w 4742"/>
                <a:gd name="T59" fmla="*/ 186 h 336"/>
                <a:gd name="T60" fmla="*/ 2440 w 4742"/>
                <a:gd name="T61" fmla="*/ 228 h 336"/>
                <a:gd name="T62" fmla="*/ 2296 w 4742"/>
                <a:gd name="T63" fmla="*/ 220 h 336"/>
                <a:gd name="T64" fmla="*/ 2539 w 4742"/>
                <a:gd name="T65" fmla="*/ 210 h 336"/>
                <a:gd name="T66" fmla="*/ 2606 w 4742"/>
                <a:gd name="T67" fmla="*/ 262 h 336"/>
                <a:gd name="T68" fmla="*/ 2488 w 4742"/>
                <a:gd name="T69" fmla="*/ 231 h 336"/>
                <a:gd name="T70" fmla="*/ 2801 w 4742"/>
                <a:gd name="T71" fmla="*/ 225 h 336"/>
                <a:gd name="T72" fmla="*/ 2702 w 4742"/>
                <a:gd name="T73" fmla="*/ 267 h 336"/>
                <a:gd name="T74" fmla="*/ 2895 w 4742"/>
                <a:gd name="T75" fmla="*/ 225 h 336"/>
                <a:gd name="T76" fmla="*/ 2991 w 4742"/>
                <a:gd name="T77" fmla="*/ 273 h 336"/>
                <a:gd name="T78" fmla="*/ 2895 w 4742"/>
                <a:gd name="T79" fmla="*/ 225 h 336"/>
                <a:gd name="T80" fmla="*/ 3207 w 4742"/>
                <a:gd name="T81" fmla="*/ 256 h 336"/>
                <a:gd name="T82" fmla="*/ 3063 w 4742"/>
                <a:gd name="T83" fmla="*/ 248 h 336"/>
                <a:gd name="T84" fmla="*/ 3371 w 4742"/>
                <a:gd name="T85" fmla="*/ 242 h 336"/>
                <a:gd name="T86" fmla="*/ 3374 w 4742"/>
                <a:gd name="T87" fmla="*/ 290 h 336"/>
                <a:gd name="T88" fmla="*/ 3255 w 4742"/>
                <a:gd name="T89" fmla="*/ 259 h 336"/>
                <a:gd name="T90" fmla="*/ 3568 w 4742"/>
                <a:gd name="T91" fmla="*/ 253 h 336"/>
                <a:gd name="T92" fmla="*/ 3469 w 4742"/>
                <a:gd name="T93" fmla="*/ 295 h 336"/>
                <a:gd name="T94" fmla="*/ 3662 w 4742"/>
                <a:gd name="T95" fmla="*/ 257 h 336"/>
                <a:gd name="T96" fmla="*/ 3758 w 4742"/>
                <a:gd name="T97" fmla="*/ 305 h 336"/>
                <a:gd name="T98" fmla="*/ 3662 w 4742"/>
                <a:gd name="T99" fmla="*/ 257 h 336"/>
                <a:gd name="T100" fmla="*/ 3952 w 4742"/>
                <a:gd name="T101" fmla="*/ 260 h 336"/>
                <a:gd name="T102" fmla="*/ 3913 w 4742"/>
                <a:gd name="T103" fmla="*/ 305 h 336"/>
                <a:gd name="T104" fmla="*/ 3854 w 4742"/>
                <a:gd name="T105" fmla="*/ 257 h 336"/>
                <a:gd name="T106" fmla="*/ 4166 w 4742"/>
                <a:gd name="T107" fmla="*/ 296 h 336"/>
                <a:gd name="T108" fmla="*/ 4022 w 4742"/>
                <a:gd name="T109" fmla="*/ 288 h 336"/>
                <a:gd name="T110" fmla="*/ 4334 w 4742"/>
                <a:gd name="T111" fmla="*/ 273 h 336"/>
                <a:gd name="T112" fmla="*/ 4238 w 4742"/>
                <a:gd name="T113" fmla="*/ 321 h 336"/>
                <a:gd name="T114" fmla="*/ 4430 w 4742"/>
                <a:gd name="T115" fmla="*/ 273 h 336"/>
                <a:gd name="T116" fmla="*/ 4550 w 4742"/>
                <a:gd name="T117" fmla="*/ 302 h 336"/>
                <a:gd name="T118" fmla="*/ 4430 w 4742"/>
                <a:gd name="T119" fmla="*/ 321 h 336"/>
                <a:gd name="T120" fmla="*/ 4623 w 4742"/>
                <a:gd name="T121" fmla="*/ 282 h 336"/>
                <a:gd name="T122" fmla="*/ 4716 w 4742"/>
                <a:gd name="T123" fmla="*/ 335 h 336"/>
                <a:gd name="T124" fmla="*/ 4623 w 4742"/>
                <a:gd name="T125" fmla="*/ 282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2" h="336">
                  <a:moveTo>
                    <a:pt x="28" y="2"/>
                  </a:moveTo>
                  <a:lnTo>
                    <a:pt x="124" y="12"/>
                  </a:lnTo>
                  <a:cubicBezTo>
                    <a:pt x="137" y="14"/>
                    <a:pt x="146" y="26"/>
                    <a:pt x="145" y="39"/>
                  </a:cubicBezTo>
                  <a:cubicBezTo>
                    <a:pt x="143" y="52"/>
                    <a:pt x="131" y="61"/>
                    <a:pt x="118" y="60"/>
                  </a:cubicBezTo>
                  <a:lnTo>
                    <a:pt x="23" y="49"/>
                  </a:lnTo>
                  <a:cubicBezTo>
                    <a:pt x="10" y="48"/>
                    <a:pt x="0" y="36"/>
                    <a:pt x="2" y="23"/>
                  </a:cubicBezTo>
                  <a:cubicBezTo>
                    <a:pt x="3" y="10"/>
                    <a:pt x="15" y="0"/>
                    <a:pt x="28" y="2"/>
                  </a:cubicBezTo>
                  <a:close/>
                  <a:moveTo>
                    <a:pt x="219" y="23"/>
                  </a:moveTo>
                  <a:lnTo>
                    <a:pt x="314" y="33"/>
                  </a:lnTo>
                  <a:cubicBezTo>
                    <a:pt x="328" y="35"/>
                    <a:pt x="337" y="47"/>
                    <a:pt x="336" y="60"/>
                  </a:cubicBezTo>
                  <a:cubicBezTo>
                    <a:pt x="334" y="73"/>
                    <a:pt x="322" y="83"/>
                    <a:pt x="309" y="81"/>
                  </a:cubicBezTo>
                  <a:lnTo>
                    <a:pt x="214" y="71"/>
                  </a:lnTo>
                  <a:cubicBezTo>
                    <a:pt x="200" y="69"/>
                    <a:pt x="191" y="57"/>
                    <a:pt x="192" y="44"/>
                  </a:cubicBezTo>
                  <a:cubicBezTo>
                    <a:pt x="194" y="31"/>
                    <a:pt x="206" y="21"/>
                    <a:pt x="219" y="23"/>
                  </a:cubicBezTo>
                  <a:close/>
                  <a:moveTo>
                    <a:pt x="410" y="45"/>
                  </a:moveTo>
                  <a:lnTo>
                    <a:pt x="505" y="56"/>
                  </a:lnTo>
                  <a:cubicBezTo>
                    <a:pt x="518" y="57"/>
                    <a:pt x="528" y="69"/>
                    <a:pt x="526" y="82"/>
                  </a:cubicBezTo>
                  <a:cubicBezTo>
                    <a:pt x="525" y="96"/>
                    <a:pt x="513" y="105"/>
                    <a:pt x="500" y="104"/>
                  </a:cubicBezTo>
                  <a:lnTo>
                    <a:pt x="404" y="92"/>
                  </a:lnTo>
                  <a:cubicBezTo>
                    <a:pt x="391" y="91"/>
                    <a:pt x="382" y="79"/>
                    <a:pt x="383" y="66"/>
                  </a:cubicBezTo>
                  <a:cubicBezTo>
                    <a:pt x="385" y="53"/>
                    <a:pt x="397" y="43"/>
                    <a:pt x="410" y="45"/>
                  </a:cubicBezTo>
                  <a:close/>
                  <a:moveTo>
                    <a:pt x="601" y="67"/>
                  </a:moveTo>
                  <a:lnTo>
                    <a:pt x="696" y="78"/>
                  </a:lnTo>
                  <a:cubicBezTo>
                    <a:pt x="709" y="80"/>
                    <a:pt x="718" y="92"/>
                    <a:pt x="717" y="105"/>
                  </a:cubicBezTo>
                  <a:cubicBezTo>
                    <a:pt x="715" y="118"/>
                    <a:pt x="703" y="128"/>
                    <a:pt x="690" y="126"/>
                  </a:cubicBezTo>
                  <a:lnTo>
                    <a:pt x="595" y="115"/>
                  </a:lnTo>
                  <a:cubicBezTo>
                    <a:pt x="582" y="113"/>
                    <a:pt x="572" y="101"/>
                    <a:pt x="574" y="88"/>
                  </a:cubicBezTo>
                  <a:cubicBezTo>
                    <a:pt x="575" y="75"/>
                    <a:pt x="587" y="66"/>
                    <a:pt x="601" y="67"/>
                  </a:cubicBezTo>
                  <a:close/>
                  <a:moveTo>
                    <a:pt x="791" y="90"/>
                  </a:moveTo>
                  <a:lnTo>
                    <a:pt x="860" y="98"/>
                  </a:lnTo>
                  <a:lnTo>
                    <a:pt x="886" y="101"/>
                  </a:lnTo>
                  <a:cubicBezTo>
                    <a:pt x="900" y="102"/>
                    <a:pt x="909" y="114"/>
                    <a:pt x="908" y="127"/>
                  </a:cubicBezTo>
                  <a:cubicBezTo>
                    <a:pt x="906" y="140"/>
                    <a:pt x="894" y="150"/>
                    <a:pt x="881" y="148"/>
                  </a:cubicBezTo>
                  <a:lnTo>
                    <a:pt x="855" y="145"/>
                  </a:lnTo>
                  <a:lnTo>
                    <a:pt x="786" y="137"/>
                  </a:lnTo>
                  <a:cubicBezTo>
                    <a:pt x="772" y="136"/>
                    <a:pt x="763" y="124"/>
                    <a:pt x="765" y="111"/>
                  </a:cubicBezTo>
                  <a:cubicBezTo>
                    <a:pt x="766" y="97"/>
                    <a:pt x="778" y="88"/>
                    <a:pt x="791" y="90"/>
                  </a:cubicBezTo>
                  <a:close/>
                  <a:moveTo>
                    <a:pt x="982" y="111"/>
                  </a:moveTo>
                  <a:lnTo>
                    <a:pt x="1077" y="122"/>
                  </a:lnTo>
                  <a:cubicBezTo>
                    <a:pt x="1090" y="123"/>
                    <a:pt x="1100" y="135"/>
                    <a:pt x="1098" y="148"/>
                  </a:cubicBezTo>
                  <a:cubicBezTo>
                    <a:pt x="1097" y="161"/>
                    <a:pt x="1085" y="171"/>
                    <a:pt x="1072" y="169"/>
                  </a:cubicBezTo>
                  <a:lnTo>
                    <a:pt x="977" y="159"/>
                  </a:lnTo>
                  <a:cubicBezTo>
                    <a:pt x="963" y="157"/>
                    <a:pt x="954" y="146"/>
                    <a:pt x="955" y="132"/>
                  </a:cubicBezTo>
                  <a:cubicBezTo>
                    <a:pt x="957" y="119"/>
                    <a:pt x="969" y="110"/>
                    <a:pt x="982" y="111"/>
                  </a:cubicBezTo>
                  <a:close/>
                  <a:moveTo>
                    <a:pt x="1172" y="131"/>
                  </a:moveTo>
                  <a:lnTo>
                    <a:pt x="1267" y="137"/>
                  </a:lnTo>
                  <a:cubicBezTo>
                    <a:pt x="1281" y="137"/>
                    <a:pt x="1291" y="149"/>
                    <a:pt x="1290" y="162"/>
                  </a:cubicBezTo>
                  <a:cubicBezTo>
                    <a:pt x="1289" y="175"/>
                    <a:pt x="1278" y="185"/>
                    <a:pt x="1265" y="185"/>
                  </a:cubicBezTo>
                  <a:lnTo>
                    <a:pt x="1169" y="179"/>
                  </a:lnTo>
                  <a:cubicBezTo>
                    <a:pt x="1155" y="178"/>
                    <a:pt x="1145" y="167"/>
                    <a:pt x="1146" y="154"/>
                  </a:cubicBezTo>
                  <a:cubicBezTo>
                    <a:pt x="1147" y="140"/>
                    <a:pt x="1158" y="130"/>
                    <a:pt x="1172" y="131"/>
                  </a:cubicBezTo>
                  <a:close/>
                  <a:moveTo>
                    <a:pt x="1363" y="142"/>
                  </a:moveTo>
                  <a:lnTo>
                    <a:pt x="1419" y="146"/>
                  </a:lnTo>
                  <a:lnTo>
                    <a:pt x="1459" y="148"/>
                  </a:lnTo>
                  <a:cubicBezTo>
                    <a:pt x="1472" y="148"/>
                    <a:pt x="1482" y="160"/>
                    <a:pt x="1482" y="173"/>
                  </a:cubicBezTo>
                  <a:cubicBezTo>
                    <a:pt x="1481" y="186"/>
                    <a:pt x="1470" y="196"/>
                    <a:pt x="1456" y="196"/>
                  </a:cubicBezTo>
                  <a:lnTo>
                    <a:pt x="1416" y="193"/>
                  </a:lnTo>
                  <a:lnTo>
                    <a:pt x="1360" y="190"/>
                  </a:lnTo>
                  <a:cubicBezTo>
                    <a:pt x="1347" y="189"/>
                    <a:pt x="1337" y="178"/>
                    <a:pt x="1338" y="165"/>
                  </a:cubicBezTo>
                  <a:cubicBezTo>
                    <a:pt x="1339" y="152"/>
                    <a:pt x="1350" y="141"/>
                    <a:pt x="1363" y="142"/>
                  </a:cubicBezTo>
                  <a:close/>
                  <a:moveTo>
                    <a:pt x="1555" y="153"/>
                  </a:moveTo>
                  <a:lnTo>
                    <a:pt x="1651" y="158"/>
                  </a:lnTo>
                  <a:cubicBezTo>
                    <a:pt x="1664" y="159"/>
                    <a:pt x="1674" y="170"/>
                    <a:pt x="1673" y="184"/>
                  </a:cubicBezTo>
                  <a:cubicBezTo>
                    <a:pt x="1673" y="197"/>
                    <a:pt x="1661" y="207"/>
                    <a:pt x="1648" y="206"/>
                  </a:cubicBezTo>
                  <a:lnTo>
                    <a:pt x="1552" y="201"/>
                  </a:lnTo>
                  <a:cubicBezTo>
                    <a:pt x="1539" y="200"/>
                    <a:pt x="1529" y="189"/>
                    <a:pt x="1530" y="176"/>
                  </a:cubicBezTo>
                  <a:cubicBezTo>
                    <a:pt x="1530" y="162"/>
                    <a:pt x="1542" y="152"/>
                    <a:pt x="1555" y="153"/>
                  </a:cubicBezTo>
                  <a:close/>
                  <a:moveTo>
                    <a:pt x="1747" y="164"/>
                  </a:moveTo>
                  <a:lnTo>
                    <a:pt x="1842" y="169"/>
                  </a:lnTo>
                  <a:cubicBezTo>
                    <a:pt x="1856" y="170"/>
                    <a:pt x="1866" y="182"/>
                    <a:pt x="1865" y="195"/>
                  </a:cubicBezTo>
                  <a:cubicBezTo>
                    <a:pt x="1864" y="208"/>
                    <a:pt x="1853" y="218"/>
                    <a:pt x="1840" y="217"/>
                  </a:cubicBezTo>
                  <a:lnTo>
                    <a:pt x="1744" y="212"/>
                  </a:lnTo>
                  <a:cubicBezTo>
                    <a:pt x="1731" y="211"/>
                    <a:pt x="1720" y="200"/>
                    <a:pt x="1721" y="186"/>
                  </a:cubicBezTo>
                  <a:cubicBezTo>
                    <a:pt x="1722" y="173"/>
                    <a:pt x="1733" y="163"/>
                    <a:pt x="1747" y="164"/>
                  </a:cubicBezTo>
                  <a:close/>
                  <a:moveTo>
                    <a:pt x="1938" y="175"/>
                  </a:moveTo>
                  <a:lnTo>
                    <a:pt x="1979" y="178"/>
                  </a:lnTo>
                  <a:lnTo>
                    <a:pt x="2034" y="181"/>
                  </a:lnTo>
                  <a:cubicBezTo>
                    <a:pt x="2047" y="182"/>
                    <a:pt x="2057" y="193"/>
                    <a:pt x="2057" y="206"/>
                  </a:cubicBezTo>
                  <a:cubicBezTo>
                    <a:pt x="2056" y="219"/>
                    <a:pt x="2045" y="229"/>
                    <a:pt x="2031" y="229"/>
                  </a:cubicBezTo>
                  <a:lnTo>
                    <a:pt x="1976" y="225"/>
                  </a:lnTo>
                  <a:lnTo>
                    <a:pt x="1935" y="223"/>
                  </a:lnTo>
                  <a:cubicBezTo>
                    <a:pt x="1922" y="222"/>
                    <a:pt x="1912" y="211"/>
                    <a:pt x="1913" y="198"/>
                  </a:cubicBezTo>
                  <a:cubicBezTo>
                    <a:pt x="1914" y="184"/>
                    <a:pt x="1925" y="174"/>
                    <a:pt x="1938" y="175"/>
                  </a:cubicBezTo>
                  <a:close/>
                  <a:moveTo>
                    <a:pt x="2130" y="186"/>
                  </a:moveTo>
                  <a:lnTo>
                    <a:pt x="2226" y="192"/>
                  </a:lnTo>
                  <a:cubicBezTo>
                    <a:pt x="2239" y="193"/>
                    <a:pt x="2249" y="204"/>
                    <a:pt x="2248" y="217"/>
                  </a:cubicBezTo>
                  <a:cubicBezTo>
                    <a:pt x="2248" y="231"/>
                    <a:pt x="2236" y="241"/>
                    <a:pt x="2223" y="240"/>
                  </a:cubicBezTo>
                  <a:lnTo>
                    <a:pt x="2127" y="234"/>
                  </a:lnTo>
                  <a:cubicBezTo>
                    <a:pt x="2114" y="234"/>
                    <a:pt x="2104" y="222"/>
                    <a:pt x="2105" y="209"/>
                  </a:cubicBezTo>
                  <a:cubicBezTo>
                    <a:pt x="2105" y="196"/>
                    <a:pt x="2117" y="186"/>
                    <a:pt x="2130" y="186"/>
                  </a:cubicBezTo>
                  <a:close/>
                  <a:moveTo>
                    <a:pt x="2322" y="197"/>
                  </a:moveTo>
                  <a:lnTo>
                    <a:pt x="2417" y="203"/>
                  </a:lnTo>
                  <a:cubicBezTo>
                    <a:pt x="2431" y="203"/>
                    <a:pt x="2441" y="215"/>
                    <a:pt x="2440" y="228"/>
                  </a:cubicBezTo>
                  <a:cubicBezTo>
                    <a:pt x="2439" y="241"/>
                    <a:pt x="2428" y="251"/>
                    <a:pt x="2415" y="251"/>
                  </a:cubicBezTo>
                  <a:lnTo>
                    <a:pt x="2319" y="245"/>
                  </a:lnTo>
                  <a:cubicBezTo>
                    <a:pt x="2306" y="245"/>
                    <a:pt x="2296" y="233"/>
                    <a:pt x="2296" y="220"/>
                  </a:cubicBezTo>
                  <a:cubicBezTo>
                    <a:pt x="2297" y="207"/>
                    <a:pt x="2308" y="197"/>
                    <a:pt x="2322" y="197"/>
                  </a:cubicBezTo>
                  <a:close/>
                  <a:moveTo>
                    <a:pt x="2513" y="208"/>
                  </a:moveTo>
                  <a:lnTo>
                    <a:pt x="2539" y="210"/>
                  </a:lnTo>
                  <a:lnTo>
                    <a:pt x="2609" y="214"/>
                  </a:lnTo>
                  <a:cubicBezTo>
                    <a:pt x="2622" y="214"/>
                    <a:pt x="2632" y="226"/>
                    <a:pt x="2632" y="239"/>
                  </a:cubicBezTo>
                  <a:cubicBezTo>
                    <a:pt x="2631" y="252"/>
                    <a:pt x="2620" y="262"/>
                    <a:pt x="2606" y="262"/>
                  </a:cubicBezTo>
                  <a:lnTo>
                    <a:pt x="2536" y="257"/>
                  </a:lnTo>
                  <a:lnTo>
                    <a:pt x="2511" y="256"/>
                  </a:lnTo>
                  <a:cubicBezTo>
                    <a:pt x="2497" y="255"/>
                    <a:pt x="2487" y="244"/>
                    <a:pt x="2488" y="231"/>
                  </a:cubicBezTo>
                  <a:cubicBezTo>
                    <a:pt x="2489" y="217"/>
                    <a:pt x="2500" y="207"/>
                    <a:pt x="2513" y="208"/>
                  </a:cubicBezTo>
                  <a:close/>
                  <a:moveTo>
                    <a:pt x="2705" y="219"/>
                  </a:moveTo>
                  <a:lnTo>
                    <a:pt x="2801" y="225"/>
                  </a:lnTo>
                  <a:cubicBezTo>
                    <a:pt x="2814" y="226"/>
                    <a:pt x="2824" y="237"/>
                    <a:pt x="2823" y="250"/>
                  </a:cubicBezTo>
                  <a:cubicBezTo>
                    <a:pt x="2823" y="264"/>
                    <a:pt x="2811" y="274"/>
                    <a:pt x="2798" y="273"/>
                  </a:cubicBezTo>
                  <a:lnTo>
                    <a:pt x="2702" y="267"/>
                  </a:lnTo>
                  <a:cubicBezTo>
                    <a:pt x="2689" y="266"/>
                    <a:pt x="2679" y="255"/>
                    <a:pt x="2680" y="242"/>
                  </a:cubicBezTo>
                  <a:cubicBezTo>
                    <a:pt x="2680" y="229"/>
                    <a:pt x="2692" y="219"/>
                    <a:pt x="2705" y="219"/>
                  </a:cubicBezTo>
                  <a:close/>
                  <a:moveTo>
                    <a:pt x="2895" y="225"/>
                  </a:moveTo>
                  <a:lnTo>
                    <a:pt x="2991" y="225"/>
                  </a:lnTo>
                  <a:cubicBezTo>
                    <a:pt x="3005" y="225"/>
                    <a:pt x="3015" y="236"/>
                    <a:pt x="3015" y="249"/>
                  </a:cubicBezTo>
                  <a:cubicBezTo>
                    <a:pt x="3015" y="263"/>
                    <a:pt x="3005" y="273"/>
                    <a:pt x="2991" y="273"/>
                  </a:cubicBezTo>
                  <a:lnTo>
                    <a:pt x="2895" y="273"/>
                  </a:lnTo>
                  <a:cubicBezTo>
                    <a:pt x="2882" y="273"/>
                    <a:pt x="2871" y="263"/>
                    <a:pt x="2871" y="249"/>
                  </a:cubicBezTo>
                  <a:cubicBezTo>
                    <a:pt x="2871" y="236"/>
                    <a:pt x="2882" y="225"/>
                    <a:pt x="2895" y="225"/>
                  </a:cubicBezTo>
                  <a:close/>
                  <a:moveTo>
                    <a:pt x="3089" y="226"/>
                  </a:moveTo>
                  <a:lnTo>
                    <a:pt x="3185" y="231"/>
                  </a:lnTo>
                  <a:cubicBezTo>
                    <a:pt x="3198" y="232"/>
                    <a:pt x="3208" y="243"/>
                    <a:pt x="3207" y="256"/>
                  </a:cubicBezTo>
                  <a:cubicBezTo>
                    <a:pt x="3206" y="270"/>
                    <a:pt x="3195" y="280"/>
                    <a:pt x="3182" y="279"/>
                  </a:cubicBezTo>
                  <a:lnTo>
                    <a:pt x="3086" y="274"/>
                  </a:lnTo>
                  <a:cubicBezTo>
                    <a:pt x="3073" y="273"/>
                    <a:pt x="3063" y="262"/>
                    <a:pt x="3063" y="248"/>
                  </a:cubicBezTo>
                  <a:cubicBezTo>
                    <a:pt x="3064" y="235"/>
                    <a:pt x="3075" y="225"/>
                    <a:pt x="3089" y="226"/>
                  </a:cubicBezTo>
                  <a:close/>
                  <a:moveTo>
                    <a:pt x="3280" y="236"/>
                  </a:moveTo>
                  <a:lnTo>
                    <a:pt x="3371" y="242"/>
                  </a:lnTo>
                  <a:lnTo>
                    <a:pt x="3376" y="242"/>
                  </a:lnTo>
                  <a:cubicBezTo>
                    <a:pt x="3390" y="243"/>
                    <a:pt x="3400" y="254"/>
                    <a:pt x="3399" y="267"/>
                  </a:cubicBezTo>
                  <a:cubicBezTo>
                    <a:pt x="3398" y="280"/>
                    <a:pt x="3387" y="291"/>
                    <a:pt x="3374" y="290"/>
                  </a:cubicBezTo>
                  <a:lnTo>
                    <a:pt x="3368" y="289"/>
                  </a:lnTo>
                  <a:lnTo>
                    <a:pt x="3278" y="284"/>
                  </a:lnTo>
                  <a:cubicBezTo>
                    <a:pt x="3265" y="284"/>
                    <a:pt x="3254" y="272"/>
                    <a:pt x="3255" y="259"/>
                  </a:cubicBezTo>
                  <a:cubicBezTo>
                    <a:pt x="3256" y="246"/>
                    <a:pt x="3267" y="236"/>
                    <a:pt x="3280" y="236"/>
                  </a:cubicBezTo>
                  <a:close/>
                  <a:moveTo>
                    <a:pt x="3472" y="247"/>
                  </a:moveTo>
                  <a:lnTo>
                    <a:pt x="3568" y="253"/>
                  </a:lnTo>
                  <a:cubicBezTo>
                    <a:pt x="3581" y="254"/>
                    <a:pt x="3591" y="265"/>
                    <a:pt x="3591" y="278"/>
                  </a:cubicBezTo>
                  <a:cubicBezTo>
                    <a:pt x="3590" y="292"/>
                    <a:pt x="3578" y="302"/>
                    <a:pt x="3565" y="301"/>
                  </a:cubicBezTo>
                  <a:lnTo>
                    <a:pt x="3469" y="295"/>
                  </a:lnTo>
                  <a:cubicBezTo>
                    <a:pt x="3456" y="295"/>
                    <a:pt x="3446" y="283"/>
                    <a:pt x="3447" y="270"/>
                  </a:cubicBezTo>
                  <a:cubicBezTo>
                    <a:pt x="3448" y="257"/>
                    <a:pt x="3459" y="247"/>
                    <a:pt x="3472" y="247"/>
                  </a:cubicBezTo>
                  <a:close/>
                  <a:moveTo>
                    <a:pt x="3662" y="257"/>
                  </a:moveTo>
                  <a:lnTo>
                    <a:pt x="3758" y="257"/>
                  </a:lnTo>
                  <a:cubicBezTo>
                    <a:pt x="3772" y="257"/>
                    <a:pt x="3782" y="268"/>
                    <a:pt x="3782" y="281"/>
                  </a:cubicBezTo>
                  <a:cubicBezTo>
                    <a:pt x="3782" y="295"/>
                    <a:pt x="3772" y="305"/>
                    <a:pt x="3758" y="305"/>
                  </a:cubicBezTo>
                  <a:lnTo>
                    <a:pt x="3662" y="305"/>
                  </a:lnTo>
                  <a:cubicBezTo>
                    <a:pt x="3649" y="305"/>
                    <a:pt x="3638" y="295"/>
                    <a:pt x="3638" y="281"/>
                  </a:cubicBezTo>
                  <a:cubicBezTo>
                    <a:pt x="3638" y="268"/>
                    <a:pt x="3649" y="257"/>
                    <a:pt x="3662" y="257"/>
                  </a:cubicBezTo>
                  <a:close/>
                  <a:moveTo>
                    <a:pt x="3854" y="257"/>
                  </a:moveTo>
                  <a:lnTo>
                    <a:pt x="3913" y="257"/>
                  </a:lnTo>
                  <a:lnTo>
                    <a:pt x="3952" y="260"/>
                  </a:lnTo>
                  <a:cubicBezTo>
                    <a:pt x="3965" y="260"/>
                    <a:pt x="3975" y="272"/>
                    <a:pt x="3974" y="285"/>
                  </a:cubicBezTo>
                  <a:cubicBezTo>
                    <a:pt x="3974" y="298"/>
                    <a:pt x="3962" y="308"/>
                    <a:pt x="3949" y="307"/>
                  </a:cubicBezTo>
                  <a:lnTo>
                    <a:pt x="3913" y="305"/>
                  </a:lnTo>
                  <a:lnTo>
                    <a:pt x="3854" y="305"/>
                  </a:lnTo>
                  <a:cubicBezTo>
                    <a:pt x="3841" y="305"/>
                    <a:pt x="3830" y="295"/>
                    <a:pt x="3830" y="281"/>
                  </a:cubicBezTo>
                  <a:cubicBezTo>
                    <a:pt x="3830" y="268"/>
                    <a:pt x="3841" y="257"/>
                    <a:pt x="3854" y="257"/>
                  </a:cubicBezTo>
                  <a:close/>
                  <a:moveTo>
                    <a:pt x="4048" y="265"/>
                  </a:moveTo>
                  <a:lnTo>
                    <a:pt x="4143" y="270"/>
                  </a:lnTo>
                  <a:cubicBezTo>
                    <a:pt x="4157" y="271"/>
                    <a:pt x="4167" y="282"/>
                    <a:pt x="4166" y="296"/>
                  </a:cubicBezTo>
                  <a:cubicBezTo>
                    <a:pt x="4165" y="309"/>
                    <a:pt x="4154" y="319"/>
                    <a:pt x="4141" y="318"/>
                  </a:cubicBezTo>
                  <a:lnTo>
                    <a:pt x="4045" y="313"/>
                  </a:lnTo>
                  <a:cubicBezTo>
                    <a:pt x="4032" y="312"/>
                    <a:pt x="4022" y="301"/>
                    <a:pt x="4022" y="288"/>
                  </a:cubicBezTo>
                  <a:cubicBezTo>
                    <a:pt x="4023" y="274"/>
                    <a:pt x="4034" y="264"/>
                    <a:pt x="4048" y="265"/>
                  </a:cubicBezTo>
                  <a:close/>
                  <a:moveTo>
                    <a:pt x="4238" y="273"/>
                  </a:moveTo>
                  <a:lnTo>
                    <a:pt x="4334" y="273"/>
                  </a:lnTo>
                  <a:cubicBezTo>
                    <a:pt x="4347" y="273"/>
                    <a:pt x="4358" y="284"/>
                    <a:pt x="4358" y="297"/>
                  </a:cubicBezTo>
                  <a:cubicBezTo>
                    <a:pt x="4358" y="311"/>
                    <a:pt x="4347" y="321"/>
                    <a:pt x="4334" y="321"/>
                  </a:cubicBezTo>
                  <a:lnTo>
                    <a:pt x="4238" y="321"/>
                  </a:lnTo>
                  <a:cubicBezTo>
                    <a:pt x="4225" y="321"/>
                    <a:pt x="4214" y="311"/>
                    <a:pt x="4214" y="297"/>
                  </a:cubicBezTo>
                  <a:cubicBezTo>
                    <a:pt x="4214" y="284"/>
                    <a:pt x="4225" y="273"/>
                    <a:pt x="4238" y="273"/>
                  </a:cubicBezTo>
                  <a:close/>
                  <a:moveTo>
                    <a:pt x="4430" y="273"/>
                  </a:moveTo>
                  <a:lnTo>
                    <a:pt x="4473" y="273"/>
                  </a:lnTo>
                  <a:lnTo>
                    <a:pt x="4527" y="276"/>
                  </a:lnTo>
                  <a:cubicBezTo>
                    <a:pt x="4541" y="277"/>
                    <a:pt x="4551" y="288"/>
                    <a:pt x="4550" y="302"/>
                  </a:cubicBezTo>
                  <a:cubicBezTo>
                    <a:pt x="4549" y="315"/>
                    <a:pt x="4538" y="325"/>
                    <a:pt x="4525" y="324"/>
                  </a:cubicBezTo>
                  <a:lnTo>
                    <a:pt x="4473" y="321"/>
                  </a:lnTo>
                  <a:lnTo>
                    <a:pt x="4430" y="321"/>
                  </a:lnTo>
                  <a:cubicBezTo>
                    <a:pt x="4417" y="321"/>
                    <a:pt x="4406" y="311"/>
                    <a:pt x="4406" y="297"/>
                  </a:cubicBezTo>
                  <a:cubicBezTo>
                    <a:pt x="4406" y="284"/>
                    <a:pt x="4417" y="273"/>
                    <a:pt x="4430" y="273"/>
                  </a:cubicBezTo>
                  <a:close/>
                  <a:moveTo>
                    <a:pt x="4623" y="282"/>
                  </a:moveTo>
                  <a:lnTo>
                    <a:pt x="4719" y="287"/>
                  </a:lnTo>
                  <a:cubicBezTo>
                    <a:pt x="4732" y="288"/>
                    <a:pt x="4742" y="299"/>
                    <a:pt x="4742" y="312"/>
                  </a:cubicBezTo>
                  <a:cubicBezTo>
                    <a:pt x="4741" y="326"/>
                    <a:pt x="4730" y="336"/>
                    <a:pt x="4716" y="335"/>
                  </a:cubicBezTo>
                  <a:lnTo>
                    <a:pt x="4620" y="330"/>
                  </a:lnTo>
                  <a:cubicBezTo>
                    <a:pt x="4607" y="329"/>
                    <a:pt x="4597" y="318"/>
                    <a:pt x="4598" y="304"/>
                  </a:cubicBezTo>
                  <a:cubicBezTo>
                    <a:pt x="4599" y="291"/>
                    <a:pt x="4610" y="281"/>
                    <a:pt x="4623" y="282"/>
                  </a:cubicBezTo>
                  <a:close/>
                </a:path>
              </a:pathLst>
            </a:custGeom>
            <a:solidFill>
              <a:srgbClr val="005777"/>
            </a:solidFill>
            <a:ln w="7938" cap="flat">
              <a:solidFill>
                <a:srgbClr val="00577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sp>
          <p:nvSpPr>
            <p:cNvPr id="296" name="Freeform 187"/>
            <p:cNvSpPr>
              <a:spLocks/>
            </p:cNvSpPr>
            <p:nvPr/>
          </p:nvSpPr>
          <p:spPr bwMode="auto">
            <a:xfrm>
              <a:off x="1230313" y="2405063"/>
              <a:ext cx="4206875" cy="2379663"/>
            </a:xfrm>
            <a:custGeom>
              <a:avLst/>
              <a:gdLst>
                <a:gd name="T0" fmla="*/ 322 w 8660"/>
                <a:gd name="T1" fmla="*/ 1028 h 4900"/>
                <a:gd name="T2" fmla="*/ 606 w 8660"/>
                <a:gd name="T3" fmla="*/ 1997 h 4900"/>
                <a:gd name="T4" fmla="*/ 870 w 8660"/>
                <a:gd name="T5" fmla="*/ 2389 h 4900"/>
                <a:gd name="T6" fmla="*/ 1154 w 8660"/>
                <a:gd name="T7" fmla="*/ 2548 h 4900"/>
                <a:gd name="T8" fmla="*/ 1423 w 8660"/>
                <a:gd name="T9" fmla="*/ 2643 h 4900"/>
                <a:gd name="T10" fmla="*/ 1984 w 8660"/>
                <a:gd name="T11" fmla="*/ 2755 h 4900"/>
                <a:gd name="T12" fmla="*/ 2528 w 8660"/>
                <a:gd name="T13" fmla="*/ 2899 h 4900"/>
                <a:gd name="T14" fmla="*/ 3090 w 8660"/>
                <a:gd name="T15" fmla="*/ 3092 h 4900"/>
                <a:gd name="T16" fmla="*/ 3367 w 8660"/>
                <a:gd name="T17" fmla="*/ 3190 h 4900"/>
                <a:gd name="T18" fmla="*/ 3652 w 8660"/>
                <a:gd name="T19" fmla="*/ 3364 h 4900"/>
                <a:gd name="T20" fmla="*/ 4211 w 8660"/>
                <a:gd name="T21" fmla="*/ 3588 h 4900"/>
                <a:gd name="T22" fmla="*/ 4757 w 8660"/>
                <a:gd name="T23" fmla="*/ 3861 h 4900"/>
                <a:gd name="T24" fmla="*/ 5317 w 8660"/>
                <a:gd name="T25" fmla="*/ 4101 h 4900"/>
                <a:gd name="T26" fmla="*/ 5585 w 8660"/>
                <a:gd name="T27" fmla="*/ 4179 h 4900"/>
                <a:gd name="T28" fmla="*/ 6144 w 8660"/>
                <a:gd name="T29" fmla="*/ 4323 h 4900"/>
                <a:gd name="T30" fmla="*/ 6704 w 8660"/>
                <a:gd name="T31" fmla="*/ 4467 h 4900"/>
                <a:gd name="T32" fmla="*/ 7264 w 8660"/>
                <a:gd name="T33" fmla="*/ 4611 h 4900"/>
                <a:gd name="T34" fmla="*/ 7807 w 8660"/>
                <a:gd name="T35" fmla="*/ 4723 h 4900"/>
                <a:gd name="T36" fmla="*/ 8367 w 8660"/>
                <a:gd name="T37" fmla="*/ 4819 h 4900"/>
                <a:gd name="T38" fmla="*/ 8658 w 8660"/>
                <a:gd name="T39" fmla="*/ 4877 h 4900"/>
                <a:gd name="T40" fmla="*/ 8358 w 8660"/>
                <a:gd name="T41" fmla="*/ 4866 h 4900"/>
                <a:gd name="T42" fmla="*/ 7798 w 8660"/>
                <a:gd name="T43" fmla="*/ 4770 h 4900"/>
                <a:gd name="T44" fmla="*/ 7253 w 8660"/>
                <a:gd name="T45" fmla="*/ 4658 h 4900"/>
                <a:gd name="T46" fmla="*/ 6693 w 8660"/>
                <a:gd name="T47" fmla="*/ 4514 h 4900"/>
                <a:gd name="T48" fmla="*/ 6133 w 8660"/>
                <a:gd name="T49" fmla="*/ 4370 h 4900"/>
                <a:gd name="T50" fmla="*/ 5572 w 8660"/>
                <a:gd name="T51" fmla="*/ 4225 h 4900"/>
                <a:gd name="T52" fmla="*/ 5296 w 8660"/>
                <a:gd name="T53" fmla="*/ 4144 h 4900"/>
                <a:gd name="T54" fmla="*/ 4736 w 8660"/>
                <a:gd name="T55" fmla="*/ 3904 h 4900"/>
                <a:gd name="T56" fmla="*/ 4194 w 8660"/>
                <a:gd name="T57" fmla="*/ 3633 h 4900"/>
                <a:gd name="T58" fmla="*/ 3633 w 8660"/>
                <a:gd name="T59" fmla="*/ 3409 h 4900"/>
                <a:gd name="T60" fmla="*/ 3342 w 8660"/>
                <a:gd name="T61" fmla="*/ 3231 h 4900"/>
                <a:gd name="T62" fmla="*/ 3074 w 8660"/>
                <a:gd name="T63" fmla="*/ 3137 h 4900"/>
                <a:gd name="T64" fmla="*/ 2517 w 8660"/>
                <a:gd name="T65" fmla="*/ 2946 h 4900"/>
                <a:gd name="T66" fmla="*/ 1973 w 8660"/>
                <a:gd name="T67" fmla="*/ 2802 h 4900"/>
                <a:gd name="T68" fmla="*/ 1414 w 8660"/>
                <a:gd name="T69" fmla="*/ 2690 h 4900"/>
                <a:gd name="T70" fmla="*/ 1138 w 8660"/>
                <a:gd name="T71" fmla="*/ 2593 h 4900"/>
                <a:gd name="T72" fmla="*/ 847 w 8660"/>
                <a:gd name="T73" fmla="*/ 2431 h 4900"/>
                <a:gd name="T74" fmla="*/ 567 w 8660"/>
                <a:gd name="T75" fmla="*/ 2024 h 4900"/>
                <a:gd name="T76" fmla="*/ 275 w 8660"/>
                <a:gd name="T77" fmla="*/ 1041 h 4900"/>
                <a:gd name="T78" fmla="*/ 20 w 8660"/>
                <a:gd name="T79" fmla="*/ 3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60" h="4900">
                  <a:moveTo>
                    <a:pt x="50" y="20"/>
                  </a:moveTo>
                  <a:lnTo>
                    <a:pt x="322" y="1028"/>
                  </a:lnTo>
                  <a:lnTo>
                    <a:pt x="609" y="2004"/>
                  </a:lnTo>
                  <a:lnTo>
                    <a:pt x="606" y="1997"/>
                  </a:lnTo>
                  <a:lnTo>
                    <a:pt x="878" y="2397"/>
                  </a:lnTo>
                  <a:lnTo>
                    <a:pt x="870" y="2389"/>
                  </a:lnTo>
                  <a:lnTo>
                    <a:pt x="1158" y="2549"/>
                  </a:lnTo>
                  <a:lnTo>
                    <a:pt x="1154" y="2548"/>
                  </a:lnTo>
                  <a:lnTo>
                    <a:pt x="1426" y="2644"/>
                  </a:lnTo>
                  <a:lnTo>
                    <a:pt x="1423" y="2643"/>
                  </a:lnTo>
                  <a:lnTo>
                    <a:pt x="1695" y="2691"/>
                  </a:lnTo>
                  <a:lnTo>
                    <a:pt x="1984" y="2755"/>
                  </a:lnTo>
                  <a:lnTo>
                    <a:pt x="2257" y="2835"/>
                  </a:lnTo>
                  <a:lnTo>
                    <a:pt x="2528" y="2899"/>
                  </a:lnTo>
                  <a:lnTo>
                    <a:pt x="2818" y="2996"/>
                  </a:lnTo>
                  <a:lnTo>
                    <a:pt x="3090" y="3092"/>
                  </a:lnTo>
                  <a:lnTo>
                    <a:pt x="3362" y="3188"/>
                  </a:lnTo>
                  <a:cubicBezTo>
                    <a:pt x="3364" y="3188"/>
                    <a:pt x="3366" y="3189"/>
                    <a:pt x="3367" y="3190"/>
                  </a:cubicBezTo>
                  <a:lnTo>
                    <a:pt x="3655" y="3366"/>
                  </a:lnTo>
                  <a:lnTo>
                    <a:pt x="3652" y="3364"/>
                  </a:lnTo>
                  <a:lnTo>
                    <a:pt x="3924" y="3476"/>
                  </a:lnTo>
                  <a:lnTo>
                    <a:pt x="4211" y="3588"/>
                  </a:lnTo>
                  <a:lnTo>
                    <a:pt x="4486" y="3733"/>
                  </a:lnTo>
                  <a:lnTo>
                    <a:pt x="4757" y="3861"/>
                  </a:lnTo>
                  <a:lnTo>
                    <a:pt x="5043" y="3972"/>
                  </a:lnTo>
                  <a:lnTo>
                    <a:pt x="5317" y="4101"/>
                  </a:lnTo>
                  <a:lnTo>
                    <a:pt x="5313" y="4099"/>
                  </a:lnTo>
                  <a:lnTo>
                    <a:pt x="5585" y="4179"/>
                  </a:lnTo>
                  <a:lnTo>
                    <a:pt x="5873" y="4259"/>
                  </a:lnTo>
                  <a:lnTo>
                    <a:pt x="6144" y="4323"/>
                  </a:lnTo>
                  <a:lnTo>
                    <a:pt x="6417" y="4403"/>
                  </a:lnTo>
                  <a:lnTo>
                    <a:pt x="6704" y="4467"/>
                  </a:lnTo>
                  <a:lnTo>
                    <a:pt x="6977" y="4547"/>
                  </a:lnTo>
                  <a:lnTo>
                    <a:pt x="7264" y="4611"/>
                  </a:lnTo>
                  <a:lnTo>
                    <a:pt x="7536" y="4675"/>
                  </a:lnTo>
                  <a:lnTo>
                    <a:pt x="7807" y="4723"/>
                  </a:lnTo>
                  <a:lnTo>
                    <a:pt x="8094" y="4771"/>
                  </a:lnTo>
                  <a:lnTo>
                    <a:pt x="8367" y="4819"/>
                  </a:lnTo>
                  <a:lnTo>
                    <a:pt x="8637" y="4851"/>
                  </a:lnTo>
                  <a:cubicBezTo>
                    <a:pt x="8650" y="4852"/>
                    <a:pt x="8660" y="4864"/>
                    <a:pt x="8658" y="4877"/>
                  </a:cubicBezTo>
                  <a:cubicBezTo>
                    <a:pt x="8657" y="4890"/>
                    <a:pt x="8645" y="4900"/>
                    <a:pt x="8632" y="4898"/>
                  </a:cubicBezTo>
                  <a:lnTo>
                    <a:pt x="8358" y="4866"/>
                  </a:lnTo>
                  <a:lnTo>
                    <a:pt x="8087" y="4818"/>
                  </a:lnTo>
                  <a:lnTo>
                    <a:pt x="7798" y="4770"/>
                  </a:lnTo>
                  <a:lnTo>
                    <a:pt x="7525" y="4722"/>
                  </a:lnTo>
                  <a:lnTo>
                    <a:pt x="7253" y="4658"/>
                  </a:lnTo>
                  <a:lnTo>
                    <a:pt x="6964" y="4593"/>
                  </a:lnTo>
                  <a:lnTo>
                    <a:pt x="6693" y="4514"/>
                  </a:lnTo>
                  <a:lnTo>
                    <a:pt x="6404" y="4449"/>
                  </a:lnTo>
                  <a:lnTo>
                    <a:pt x="6133" y="4370"/>
                  </a:lnTo>
                  <a:lnTo>
                    <a:pt x="5860" y="4306"/>
                  </a:lnTo>
                  <a:lnTo>
                    <a:pt x="5572" y="4225"/>
                  </a:lnTo>
                  <a:lnTo>
                    <a:pt x="5300" y="4145"/>
                  </a:lnTo>
                  <a:cubicBezTo>
                    <a:pt x="5299" y="4145"/>
                    <a:pt x="5297" y="4145"/>
                    <a:pt x="5296" y="4144"/>
                  </a:cubicBezTo>
                  <a:lnTo>
                    <a:pt x="5026" y="4017"/>
                  </a:lnTo>
                  <a:lnTo>
                    <a:pt x="4736" y="3904"/>
                  </a:lnTo>
                  <a:lnTo>
                    <a:pt x="4463" y="3776"/>
                  </a:lnTo>
                  <a:lnTo>
                    <a:pt x="4194" y="3633"/>
                  </a:lnTo>
                  <a:lnTo>
                    <a:pt x="3905" y="3521"/>
                  </a:lnTo>
                  <a:lnTo>
                    <a:pt x="3633" y="3409"/>
                  </a:lnTo>
                  <a:cubicBezTo>
                    <a:pt x="3632" y="3408"/>
                    <a:pt x="3631" y="3408"/>
                    <a:pt x="3630" y="3407"/>
                  </a:cubicBezTo>
                  <a:lnTo>
                    <a:pt x="3342" y="3231"/>
                  </a:lnTo>
                  <a:lnTo>
                    <a:pt x="3346" y="3233"/>
                  </a:lnTo>
                  <a:lnTo>
                    <a:pt x="3074" y="3137"/>
                  </a:lnTo>
                  <a:lnTo>
                    <a:pt x="2803" y="3041"/>
                  </a:lnTo>
                  <a:lnTo>
                    <a:pt x="2517" y="2946"/>
                  </a:lnTo>
                  <a:lnTo>
                    <a:pt x="2244" y="2881"/>
                  </a:lnTo>
                  <a:lnTo>
                    <a:pt x="1973" y="2802"/>
                  </a:lnTo>
                  <a:lnTo>
                    <a:pt x="1686" y="2738"/>
                  </a:lnTo>
                  <a:lnTo>
                    <a:pt x="1414" y="2690"/>
                  </a:lnTo>
                  <a:cubicBezTo>
                    <a:pt x="1413" y="2690"/>
                    <a:pt x="1412" y="2690"/>
                    <a:pt x="1410" y="2689"/>
                  </a:cubicBezTo>
                  <a:lnTo>
                    <a:pt x="1138" y="2593"/>
                  </a:lnTo>
                  <a:cubicBezTo>
                    <a:pt x="1137" y="2593"/>
                    <a:pt x="1136" y="2592"/>
                    <a:pt x="1135" y="2591"/>
                  </a:cubicBezTo>
                  <a:lnTo>
                    <a:pt x="847" y="2431"/>
                  </a:lnTo>
                  <a:cubicBezTo>
                    <a:pt x="844" y="2430"/>
                    <a:pt x="841" y="2427"/>
                    <a:pt x="839" y="2424"/>
                  </a:cubicBezTo>
                  <a:lnTo>
                    <a:pt x="567" y="2024"/>
                  </a:lnTo>
                  <a:cubicBezTo>
                    <a:pt x="565" y="2022"/>
                    <a:pt x="564" y="2020"/>
                    <a:pt x="563" y="2017"/>
                  </a:cubicBezTo>
                  <a:lnTo>
                    <a:pt x="275" y="1041"/>
                  </a:lnTo>
                  <a:lnTo>
                    <a:pt x="3" y="33"/>
                  </a:lnTo>
                  <a:cubicBezTo>
                    <a:pt x="0" y="20"/>
                    <a:pt x="7" y="7"/>
                    <a:pt x="20" y="3"/>
                  </a:cubicBezTo>
                  <a:cubicBezTo>
                    <a:pt x="33" y="0"/>
                    <a:pt x="46" y="7"/>
                    <a:pt x="50" y="20"/>
                  </a:cubicBezTo>
                  <a:close/>
                </a:path>
              </a:pathLst>
            </a:custGeom>
            <a:solidFill>
              <a:srgbClr val="006487"/>
            </a:solidFill>
            <a:ln w="7938" cap="flat">
              <a:solidFill>
                <a:srgbClr val="006487"/>
              </a:solidFill>
              <a:prstDash val="solid"/>
              <a:bevel/>
              <a:headEnd/>
              <a:tailEnd/>
            </a:ln>
          </p:spPr>
          <p:txBody>
            <a:bodyPr vert="horz" wrap="square" lIns="91440" tIns="45720" rIns="91440" bIns="45720" numCol="1" anchor="t" anchorCtr="0" compatLnSpc="1">
              <a:prstTxWarp prst="textNoShape">
                <a:avLst/>
              </a:prstTxWarp>
            </a:bodyPr>
            <a:lstStyle/>
            <a:p>
              <a:endParaRPr lang="en-GB"/>
            </a:p>
          </p:txBody>
        </p:sp>
      </p:grpSp>
      <p:pic>
        <p:nvPicPr>
          <p:cNvPr id="298" name="Bild 1" descr="Grafik_Folie26.png"/>
          <p:cNvPicPr>
            <a:picLocks noChangeAspect="1"/>
          </p:cNvPicPr>
          <p:nvPr/>
        </p:nvPicPr>
        <p:blipFill rotWithShape="1">
          <a:blip r:embed="rId262" cstate="print">
            <a:extLst>
              <a:ext uri="{28A0092B-C50C-407E-A947-70E740481C1C}">
                <a14:useLocalDpi xmlns:a14="http://schemas.microsoft.com/office/drawing/2010/main" val="0"/>
              </a:ext>
            </a:extLst>
          </a:blip>
          <a:srcRect/>
          <a:stretch/>
        </p:blipFill>
        <p:spPr>
          <a:xfrm>
            <a:off x="589816" y="3982046"/>
            <a:ext cx="1012664" cy="701517"/>
          </a:xfrm>
          <a:prstGeom prst="rect">
            <a:avLst/>
          </a:prstGeom>
        </p:spPr>
      </p:pic>
      <p:pic>
        <p:nvPicPr>
          <p:cNvPr id="299" name="Bild 1" descr="Grafik_Folie26.png"/>
          <p:cNvPicPr>
            <a:picLocks noChangeAspect="1"/>
          </p:cNvPicPr>
          <p:nvPr/>
        </p:nvPicPr>
        <p:blipFill rotWithShape="1">
          <a:blip r:embed="rId263" cstate="print">
            <a:extLst>
              <a:ext uri="{28A0092B-C50C-407E-A947-70E740481C1C}">
                <a14:useLocalDpi xmlns:a14="http://schemas.microsoft.com/office/drawing/2010/main" val="0"/>
              </a:ext>
            </a:extLst>
          </a:blip>
          <a:srcRect/>
          <a:stretch/>
        </p:blipFill>
        <p:spPr>
          <a:xfrm>
            <a:off x="1086756" y="4153568"/>
            <a:ext cx="684295" cy="494094"/>
          </a:xfrm>
          <a:prstGeom prst="rect">
            <a:avLst/>
          </a:prstGeom>
        </p:spPr>
      </p:pic>
      <p:pic>
        <p:nvPicPr>
          <p:cNvPr id="300" name="Picture 186"/>
          <p:cNvPicPr>
            <a:picLocks noChangeAspect="1" noChangeArrowheads="1"/>
          </p:cNvPicPr>
          <p:nvPr/>
        </p:nvPicPr>
        <p:blipFill>
          <a:blip r:embed="rId264">
            <a:extLst>
              <a:ext uri="{28A0092B-C50C-407E-A947-70E740481C1C}">
                <a14:useLocalDpi xmlns:a14="http://schemas.microsoft.com/office/drawing/2010/main" val="0"/>
              </a:ext>
            </a:extLst>
          </a:blip>
          <a:srcRect/>
          <a:stretch>
            <a:fillRect/>
          </a:stretch>
        </p:blipFill>
        <p:spPr bwMode="auto">
          <a:xfrm>
            <a:off x="722757" y="3534832"/>
            <a:ext cx="976471" cy="709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7398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p:bldP spid="22" grpId="0" animBg="1"/>
      <p:bldP spid="23" grpId="0" animBg="1"/>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bdbcade-3cc6-402a-ad15-7b17c3305b8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MAPWIZARD_ID" val="NC"/>
  <p:tag name="EE4P_MAPWIZARD" val="New Caledonia"/>
</p:tagLst>
</file>

<file path=ppt/tags/tag101.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102.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103.xml><?xml version="1.0" encoding="utf-8"?>
<p:tagLst xmlns:a="http://schemas.openxmlformats.org/drawingml/2006/main" xmlns:r="http://schemas.openxmlformats.org/officeDocument/2006/relationships" xmlns:p="http://schemas.openxmlformats.org/presentationml/2006/main">
  <p:tag name="EE4P_MAPWIZARD_ID" val="PG"/>
  <p:tag name="EE4P_MAPWIZARD" val="Papua New Guinea"/>
</p:tagLst>
</file>

<file path=ppt/tags/tag104.xml><?xml version="1.0" encoding="utf-8"?>
<p:tagLst xmlns:a="http://schemas.openxmlformats.org/drawingml/2006/main" xmlns:r="http://schemas.openxmlformats.org/officeDocument/2006/relationships" xmlns:p="http://schemas.openxmlformats.org/presentationml/2006/main">
  <p:tag name="EE4P_MAPWIZARD_ID" val="AU"/>
  <p:tag name="EE4P_MAPWIZARD" val="Australia"/>
</p:tagLst>
</file>

<file path=ppt/tags/tag105.xml><?xml version="1.0" encoding="utf-8"?>
<p:tagLst xmlns:a="http://schemas.openxmlformats.org/drawingml/2006/main" xmlns:r="http://schemas.openxmlformats.org/officeDocument/2006/relationships" xmlns:p="http://schemas.openxmlformats.org/presentationml/2006/main">
  <p:tag name="EE4P_MAPWIZARD_ID" val="AU"/>
  <p:tag name="EE4P_MAPWIZARD" val="Australia"/>
</p:tagLst>
</file>

<file path=ppt/tags/tag106.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7.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8.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09.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11.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12.xml><?xml version="1.0" encoding="utf-8"?>
<p:tagLst xmlns:a="http://schemas.openxmlformats.org/drawingml/2006/main" xmlns:r="http://schemas.openxmlformats.org/officeDocument/2006/relationships" xmlns:p="http://schemas.openxmlformats.org/presentationml/2006/main">
  <p:tag name="EE4P_MAPWIZARD_ID" val="PH"/>
  <p:tag name="EE4P_MAPWIZARD" val="Philippines"/>
</p:tagLst>
</file>

<file path=ppt/tags/tag113.xml><?xml version="1.0" encoding="utf-8"?>
<p:tagLst xmlns:a="http://schemas.openxmlformats.org/drawingml/2006/main" xmlns:r="http://schemas.openxmlformats.org/officeDocument/2006/relationships" xmlns:p="http://schemas.openxmlformats.org/presentationml/2006/main">
  <p:tag name="EE4P_MAPWIZARD_ID" val="VN"/>
  <p:tag name="EE4P_MAPWIZARD" val="Viet Nam"/>
</p:tagLst>
</file>

<file path=ppt/tags/tag114.xml><?xml version="1.0" encoding="utf-8"?>
<p:tagLst xmlns:a="http://schemas.openxmlformats.org/drawingml/2006/main" xmlns:r="http://schemas.openxmlformats.org/officeDocument/2006/relationships" xmlns:p="http://schemas.openxmlformats.org/presentationml/2006/main">
  <p:tag name="EE4P_MAPWIZARD_ID" val="MY"/>
  <p:tag name="EE4P_MAPWIZARD" val="Malaysia"/>
</p:tagLst>
</file>

<file path=ppt/tags/tag115.xml><?xml version="1.0" encoding="utf-8"?>
<p:tagLst xmlns:a="http://schemas.openxmlformats.org/drawingml/2006/main" xmlns:r="http://schemas.openxmlformats.org/officeDocument/2006/relationships" xmlns:p="http://schemas.openxmlformats.org/presentationml/2006/main">
  <p:tag name="EE4P_MAPWIZARD_ID" val="MY"/>
  <p:tag name="EE4P_MAPWIZARD" val="Malaysia"/>
</p:tagLst>
</file>

<file path=ppt/tags/tag116.xml><?xml version="1.0" encoding="utf-8"?>
<p:tagLst xmlns:a="http://schemas.openxmlformats.org/drawingml/2006/main" xmlns:r="http://schemas.openxmlformats.org/officeDocument/2006/relationships" xmlns:p="http://schemas.openxmlformats.org/presentationml/2006/main">
  <p:tag name="EE4P_MAPWIZARD_ID" val="TH"/>
  <p:tag name="EE4P_MAPWIZARD" val="Thailand"/>
</p:tagLst>
</file>

<file path=ppt/tags/tag117.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8.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19.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1.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2.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3.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4.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5.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6.xml><?xml version="1.0" encoding="utf-8"?>
<p:tagLst xmlns:a="http://schemas.openxmlformats.org/drawingml/2006/main" xmlns:r="http://schemas.openxmlformats.org/officeDocument/2006/relationships" xmlns:p="http://schemas.openxmlformats.org/presentationml/2006/main">
  <p:tag name="EE4P_MAPWIZARD_ID" val="ID"/>
  <p:tag name="EE4P_MAPWIZARD" val="Indonesia"/>
</p:tagLst>
</file>

<file path=ppt/tags/tag127.xml><?xml version="1.0" encoding="utf-8"?>
<p:tagLst xmlns:a="http://schemas.openxmlformats.org/drawingml/2006/main" xmlns:r="http://schemas.openxmlformats.org/officeDocument/2006/relationships" xmlns:p="http://schemas.openxmlformats.org/presentationml/2006/main">
  <p:tag name="EE4P_MAPWIZARD_ID" val="MM"/>
  <p:tag name="EE4P_MAPWIZARD" val="Myanmar"/>
</p:tagLst>
</file>

<file path=ppt/tags/tag128.xml><?xml version="1.0" encoding="utf-8"?>
<p:tagLst xmlns:a="http://schemas.openxmlformats.org/drawingml/2006/main" xmlns:r="http://schemas.openxmlformats.org/officeDocument/2006/relationships" xmlns:p="http://schemas.openxmlformats.org/presentationml/2006/main">
  <p:tag name="EE4P_MAPWIZARD_ID" val="LA"/>
  <p:tag name="EE4P_MAPWIZARD" val="Lao People's Democratic Republic"/>
</p:tagLst>
</file>

<file path=ppt/tags/tag129.xml><?xml version="1.0" encoding="utf-8"?>
<p:tagLst xmlns:a="http://schemas.openxmlformats.org/drawingml/2006/main" xmlns:r="http://schemas.openxmlformats.org/officeDocument/2006/relationships" xmlns:p="http://schemas.openxmlformats.org/presentationml/2006/main">
  <p:tag name="EE4P_MAPWIZARD_ID" val="KH"/>
  <p:tag name="EE4P_MAPWIZARD" val="Cambodia"/>
</p:tagLst>
</file>

<file path=ppt/tags/tag1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30.xml><?xml version="1.0" encoding="utf-8"?>
<p:tagLst xmlns:a="http://schemas.openxmlformats.org/drawingml/2006/main" xmlns:r="http://schemas.openxmlformats.org/officeDocument/2006/relationships" xmlns:p="http://schemas.openxmlformats.org/presentationml/2006/main">
  <p:tag name="EE4P_MAPWIZARD_ID" val="KR"/>
  <p:tag name="EE4P_MAPWIZARD" val="Korea, Republic of"/>
</p:tagLst>
</file>

<file path=ppt/tags/tag131.xml><?xml version="1.0" encoding="utf-8"?>
<p:tagLst xmlns:a="http://schemas.openxmlformats.org/drawingml/2006/main" xmlns:r="http://schemas.openxmlformats.org/officeDocument/2006/relationships" xmlns:p="http://schemas.openxmlformats.org/presentationml/2006/main">
  <p:tag name="EE4P_MAPWIZARD_ID" val="KP"/>
  <p:tag name="EE4P_MAPWIZARD" val="Korea, Democratic People's Republic of"/>
</p:tagLst>
</file>

<file path=ppt/tags/tag132.xml><?xml version="1.0" encoding="utf-8"?>
<p:tagLst xmlns:a="http://schemas.openxmlformats.org/drawingml/2006/main" xmlns:r="http://schemas.openxmlformats.org/officeDocument/2006/relationships" xmlns:p="http://schemas.openxmlformats.org/presentationml/2006/main">
  <p:tag name="EE4P_MAPWIZARD_ID" val="PK"/>
  <p:tag name="EE4P_MAPWIZARD" val="Pakistan"/>
</p:tagLst>
</file>

<file path=ppt/tags/tag133.xml><?xml version="1.0" encoding="utf-8"?>
<p:tagLst xmlns:a="http://schemas.openxmlformats.org/drawingml/2006/main" xmlns:r="http://schemas.openxmlformats.org/officeDocument/2006/relationships" xmlns:p="http://schemas.openxmlformats.org/presentationml/2006/main">
  <p:tag name="EE4P_MAPWIZARD_ID" val="AF"/>
  <p:tag name="EE4P_MAPWIZARD" val="Afghanistan"/>
</p:tagLst>
</file>

<file path=ppt/tags/tag134.xml><?xml version="1.0" encoding="utf-8"?>
<p:tagLst xmlns:a="http://schemas.openxmlformats.org/drawingml/2006/main" xmlns:r="http://schemas.openxmlformats.org/officeDocument/2006/relationships" xmlns:p="http://schemas.openxmlformats.org/presentationml/2006/main">
  <p:tag name="EE4P_MAPWIZARD_ID" val="AE"/>
  <p:tag name="EE4P_MAPWIZARD" val="United Arab Emirates"/>
</p:tagLst>
</file>

<file path=ppt/tags/tag135.xml><?xml version="1.0" encoding="utf-8"?>
<p:tagLst xmlns:a="http://schemas.openxmlformats.org/drawingml/2006/main" xmlns:r="http://schemas.openxmlformats.org/officeDocument/2006/relationships" xmlns:p="http://schemas.openxmlformats.org/presentationml/2006/main">
  <p:tag name="EE4P_MAPWIZARD_ID" val="OM"/>
  <p:tag name="EE4P_MAPWIZARD" val="Oman"/>
</p:tagLst>
</file>

<file path=ppt/tags/tag136.xml><?xml version="1.0" encoding="utf-8"?>
<p:tagLst xmlns:a="http://schemas.openxmlformats.org/drawingml/2006/main" xmlns:r="http://schemas.openxmlformats.org/officeDocument/2006/relationships" xmlns:p="http://schemas.openxmlformats.org/presentationml/2006/main">
  <p:tag name="EE4P_MAPWIZARD_ID" val="KW"/>
  <p:tag name="EE4P_MAPWIZARD" val="Kuwait"/>
</p:tagLst>
</file>

<file path=ppt/tags/tag137.xml><?xml version="1.0" encoding="utf-8"?>
<p:tagLst xmlns:a="http://schemas.openxmlformats.org/drawingml/2006/main" xmlns:r="http://schemas.openxmlformats.org/officeDocument/2006/relationships" xmlns:p="http://schemas.openxmlformats.org/presentationml/2006/main">
  <p:tag name="EE4P_MAPWIZARD_ID" val="IR"/>
  <p:tag name="EE4P_MAPWIZARD" val="Iran, Islamic Republic of"/>
</p:tagLst>
</file>

<file path=ppt/tags/tag138.xml><?xml version="1.0" encoding="utf-8"?>
<p:tagLst xmlns:a="http://schemas.openxmlformats.org/drawingml/2006/main" xmlns:r="http://schemas.openxmlformats.org/officeDocument/2006/relationships" xmlns:p="http://schemas.openxmlformats.org/presentationml/2006/main">
  <p:tag name="EE4P_MAPWIZARD_ID" val="YE"/>
  <p:tag name="EE4P_MAPWIZARD" val="Yemen"/>
</p:tagLst>
</file>

<file path=ppt/tags/tag139.xml><?xml version="1.0" encoding="utf-8"?>
<p:tagLst xmlns:a="http://schemas.openxmlformats.org/drawingml/2006/main" xmlns:r="http://schemas.openxmlformats.org/officeDocument/2006/relationships" xmlns:p="http://schemas.openxmlformats.org/presentationml/2006/main">
  <p:tag name="EE4P_MAPWIZARD_ID" val="IQ"/>
  <p:tag name="EE4P_MAPWIZARD" val="Iraq"/>
</p:tagLst>
</file>

<file path=ppt/tags/tag1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40.xml><?xml version="1.0" encoding="utf-8"?>
<p:tagLst xmlns:a="http://schemas.openxmlformats.org/drawingml/2006/main" xmlns:r="http://schemas.openxmlformats.org/officeDocument/2006/relationships" xmlns:p="http://schemas.openxmlformats.org/presentationml/2006/main">
  <p:tag name="EE4P_MAPWIZARD_ID" val="SY"/>
  <p:tag name="EE4P_MAPWIZARD" val="Syrian Arab Republic"/>
</p:tagLst>
</file>

<file path=ppt/tags/tag141.xml><?xml version="1.0" encoding="utf-8"?>
<p:tagLst xmlns:a="http://schemas.openxmlformats.org/drawingml/2006/main" xmlns:r="http://schemas.openxmlformats.org/officeDocument/2006/relationships" xmlns:p="http://schemas.openxmlformats.org/presentationml/2006/main">
  <p:tag name="EE4P_MAPWIZARD_ID" val="LB"/>
  <p:tag name="EE4P_MAPWIZARD" val="Lebanon"/>
</p:tagLst>
</file>

<file path=ppt/tags/tag142.xml><?xml version="1.0" encoding="utf-8"?>
<p:tagLst xmlns:a="http://schemas.openxmlformats.org/drawingml/2006/main" xmlns:r="http://schemas.openxmlformats.org/officeDocument/2006/relationships" xmlns:p="http://schemas.openxmlformats.org/presentationml/2006/main">
  <p:tag name="EE4P_MAPWIZARD_ID" val="JO"/>
  <p:tag name="EE4P_MAPWIZARD" val="Jordan"/>
</p:tagLst>
</file>

<file path=ppt/tags/tag143.xml><?xml version="1.0" encoding="utf-8"?>
<p:tagLst xmlns:a="http://schemas.openxmlformats.org/drawingml/2006/main" xmlns:r="http://schemas.openxmlformats.org/officeDocument/2006/relationships" xmlns:p="http://schemas.openxmlformats.org/presentationml/2006/main">
  <p:tag name="EE4P_MAPWIZARD_ID" val="SA"/>
  <p:tag name="EE4P_MAPWIZARD" val="Saudi Arabia"/>
</p:tagLst>
</file>

<file path=ppt/tags/tag144.xml><?xml version="1.0" encoding="utf-8"?>
<p:tagLst xmlns:a="http://schemas.openxmlformats.org/drawingml/2006/main" xmlns:r="http://schemas.openxmlformats.org/officeDocument/2006/relationships" xmlns:p="http://schemas.openxmlformats.org/presentationml/2006/main">
  <p:tag name="EE4P_MAPWIZARD_ID" val="EG"/>
  <p:tag name="EE4P_MAPWIZARD" val="Egypt"/>
</p:tagLst>
</file>

<file path=ppt/tags/tag145.xml><?xml version="1.0" encoding="utf-8"?>
<p:tagLst xmlns:a="http://schemas.openxmlformats.org/drawingml/2006/main" xmlns:r="http://schemas.openxmlformats.org/officeDocument/2006/relationships" xmlns:p="http://schemas.openxmlformats.org/presentationml/2006/main">
  <p:tag name="EE4P_MAPWIZARD_ID" val="LY"/>
  <p:tag name="EE4P_MAPWIZARD" val="Libya"/>
</p:tagLst>
</file>

<file path=ppt/tags/tag146.xml><?xml version="1.0" encoding="utf-8"?>
<p:tagLst xmlns:a="http://schemas.openxmlformats.org/drawingml/2006/main" xmlns:r="http://schemas.openxmlformats.org/officeDocument/2006/relationships" xmlns:p="http://schemas.openxmlformats.org/presentationml/2006/main">
  <p:tag name="EE4P_MAPWIZARD_ID" val="KG"/>
  <p:tag name="EE4P_MAPWIZARD" val="Kyrgyzstan"/>
</p:tagLst>
</file>

<file path=ppt/tags/tag147.xml><?xml version="1.0" encoding="utf-8"?>
<p:tagLst xmlns:a="http://schemas.openxmlformats.org/drawingml/2006/main" xmlns:r="http://schemas.openxmlformats.org/officeDocument/2006/relationships" xmlns:p="http://schemas.openxmlformats.org/presentationml/2006/main">
  <p:tag name="EE4P_MAPWIZARD_ID" val="TJ"/>
  <p:tag name="EE4P_MAPWIZARD" val="Tajikistan"/>
</p:tagLst>
</file>

<file path=ppt/tags/tag148.xml><?xml version="1.0" encoding="utf-8"?>
<p:tagLst xmlns:a="http://schemas.openxmlformats.org/drawingml/2006/main" xmlns:r="http://schemas.openxmlformats.org/officeDocument/2006/relationships" xmlns:p="http://schemas.openxmlformats.org/presentationml/2006/main">
  <p:tag name="EE4P_MAPWIZARD_ID" val="UZ"/>
  <p:tag name="EE4P_MAPWIZARD" val="Uzbekistan"/>
</p:tagLst>
</file>

<file path=ppt/tags/tag149.xml><?xml version="1.0" encoding="utf-8"?>
<p:tagLst xmlns:a="http://schemas.openxmlformats.org/drawingml/2006/main" xmlns:r="http://schemas.openxmlformats.org/officeDocument/2006/relationships" xmlns:p="http://schemas.openxmlformats.org/presentationml/2006/main">
  <p:tag name="EE4P_MAPWIZARD_ID" val="TM"/>
  <p:tag name="EE4P_MAPWIZARD" val="Turkmenistan"/>
</p:tagLst>
</file>

<file path=ppt/tags/tag1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50.xml><?xml version="1.0" encoding="utf-8"?>
<p:tagLst xmlns:a="http://schemas.openxmlformats.org/drawingml/2006/main" xmlns:r="http://schemas.openxmlformats.org/officeDocument/2006/relationships" xmlns:p="http://schemas.openxmlformats.org/presentationml/2006/main">
  <p:tag name="EE4P_MAPWIZARD_ID" val="KZ"/>
  <p:tag name="EE4P_MAPWIZARD" val="Kazakhstan"/>
</p:tagLst>
</file>

<file path=ppt/tags/tag151.xml><?xml version="1.0" encoding="utf-8"?>
<p:tagLst xmlns:a="http://schemas.openxmlformats.org/drawingml/2006/main" xmlns:r="http://schemas.openxmlformats.org/officeDocument/2006/relationships" xmlns:p="http://schemas.openxmlformats.org/presentationml/2006/main">
  <p:tag name="EE4P_MAPWIZARD_ID" val="BY"/>
  <p:tag name="EE4P_MAPWIZARD" val="Belarus"/>
</p:tagLst>
</file>

<file path=ppt/tags/tag152.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3.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4.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5.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6.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7.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8.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59.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60.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61.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62.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63.xml><?xml version="1.0" encoding="utf-8"?>
<p:tagLst xmlns:a="http://schemas.openxmlformats.org/drawingml/2006/main" xmlns:r="http://schemas.openxmlformats.org/officeDocument/2006/relationships" xmlns:p="http://schemas.openxmlformats.org/presentationml/2006/main">
  <p:tag name="EE4P_MAPWIZARD_ID" val="RU"/>
  <p:tag name="EE4P_MAPWIZARD" val="Russian Federation"/>
</p:tagLst>
</file>

<file path=ppt/tags/tag164.xml><?xml version="1.0" encoding="utf-8"?>
<p:tagLst xmlns:a="http://schemas.openxmlformats.org/drawingml/2006/main" xmlns:r="http://schemas.openxmlformats.org/officeDocument/2006/relationships" xmlns:p="http://schemas.openxmlformats.org/presentationml/2006/main">
  <p:tag name="EE4P_MAPWIZARD_ID" val="AZ"/>
  <p:tag name="EE4P_MAPWIZARD" val="Azerbaijan"/>
</p:tagLst>
</file>

<file path=ppt/tags/tag165.xml><?xml version="1.0" encoding="utf-8"?>
<p:tagLst xmlns:a="http://schemas.openxmlformats.org/drawingml/2006/main" xmlns:r="http://schemas.openxmlformats.org/officeDocument/2006/relationships" xmlns:p="http://schemas.openxmlformats.org/presentationml/2006/main">
  <p:tag name="EE4P_MAPWIZARD_ID" val="AM"/>
  <p:tag name="EE4P_MAPWIZARD" val="Armenia"/>
</p:tagLst>
</file>

<file path=ppt/tags/tag166.xml><?xml version="1.0" encoding="utf-8"?>
<p:tagLst xmlns:a="http://schemas.openxmlformats.org/drawingml/2006/main" xmlns:r="http://schemas.openxmlformats.org/officeDocument/2006/relationships" xmlns:p="http://schemas.openxmlformats.org/presentationml/2006/main">
  <p:tag name="EE4P_MAPWIZARD_ID" val="GE"/>
  <p:tag name="EE4P_MAPWIZARD" val="Georgia"/>
</p:tagLst>
</file>

<file path=ppt/tags/tag167.xml><?xml version="1.0" encoding="utf-8"?>
<p:tagLst xmlns:a="http://schemas.openxmlformats.org/drawingml/2006/main" xmlns:r="http://schemas.openxmlformats.org/officeDocument/2006/relationships" xmlns:p="http://schemas.openxmlformats.org/presentationml/2006/main">
  <p:tag name="EE4P_MAPWIZARD_ID" val="IL"/>
  <p:tag name="EE4P_MAPWIZARD" val="Israel"/>
</p:tagLst>
</file>

<file path=ppt/tags/tag168.xml><?xml version="1.0" encoding="utf-8"?>
<p:tagLst xmlns:a="http://schemas.openxmlformats.org/drawingml/2006/main" xmlns:r="http://schemas.openxmlformats.org/officeDocument/2006/relationships" xmlns:p="http://schemas.openxmlformats.org/presentationml/2006/main">
  <p:tag name="EE4P_MAPWIZARD_ID" val="MD"/>
  <p:tag name="EE4P_MAPWIZARD" val="Moldova, Republic of"/>
</p:tagLst>
</file>

<file path=ppt/tags/tag169.xml><?xml version="1.0" encoding="utf-8"?>
<p:tagLst xmlns:a="http://schemas.openxmlformats.org/drawingml/2006/main" xmlns:r="http://schemas.openxmlformats.org/officeDocument/2006/relationships" xmlns:p="http://schemas.openxmlformats.org/presentationml/2006/main">
  <p:tag name="EE4P_MAPWIZARD_ID" val="TR"/>
  <p:tag name="EE4P_MAPWIZARD" val="Turkey"/>
</p:tagLst>
</file>

<file path=ppt/tags/tag1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70.xml><?xml version="1.0" encoding="utf-8"?>
<p:tagLst xmlns:a="http://schemas.openxmlformats.org/drawingml/2006/main" xmlns:r="http://schemas.openxmlformats.org/officeDocument/2006/relationships" xmlns:p="http://schemas.openxmlformats.org/presentationml/2006/main">
  <p:tag name="EE4P_MAPWIZARD_ID" val="TR"/>
  <p:tag name="EE4P_MAPWIZARD" val="Turkey"/>
</p:tagLst>
</file>

<file path=ppt/tags/tag171.xml><?xml version="1.0" encoding="utf-8"?>
<p:tagLst xmlns:a="http://schemas.openxmlformats.org/drawingml/2006/main" xmlns:r="http://schemas.openxmlformats.org/officeDocument/2006/relationships" xmlns:p="http://schemas.openxmlformats.org/presentationml/2006/main">
  <p:tag name="EE4P_MAPWIZARD_ID" val="UA"/>
  <p:tag name="EE4P_MAPWIZARD" val="Ukraine"/>
</p:tagLst>
</file>

<file path=ppt/tags/tag172.xml><?xml version="1.0" encoding="utf-8"?>
<p:tagLst xmlns:a="http://schemas.openxmlformats.org/drawingml/2006/main" xmlns:r="http://schemas.openxmlformats.org/officeDocument/2006/relationships" xmlns:p="http://schemas.openxmlformats.org/presentationml/2006/main">
  <p:tag name="EE4P_MAPWIZARD_ID" val="BG"/>
  <p:tag name="EE4P_MAPWIZARD" val="Bulgaria"/>
</p:tagLst>
</file>

<file path=ppt/tags/tag173.xml><?xml version="1.0" encoding="utf-8"?>
<p:tagLst xmlns:a="http://schemas.openxmlformats.org/drawingml/2006/main" xmlns:r="http://schemas.openxmlformats.org/officeDocument/2006/relationships" xmlns:p="http://schemas.openxmlformats.org/presentationml/2006/main">
  <p:tag name="EE4P_MAPWIZARD_ID" val="RO"/>
  <p:tag name="EE4P_MAPWIZARD" val="Romania"/>
</p:tagLst>
</file>

<file path=ppt/tags/tag174.xml><?xml version="1.0" encoding="utf-8"?>
<p:tagLst xmlns:a="http://schemas.openxmlformats.org/drawingml/2006/main" xmlns:r="http://schemas.openxmlformats.org/officeDocument/2006/relationships" xmlns:p="http://schemas.openxmlformats.org/presentationml/2006/main">
  <p:tag name="EE4P_MAPWIZARD_ID" val="RS"/>
  <p:tag name="EE4P_MAPWIZARD" val="Serb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ME"/>
  <p:tag name="EE4P_MAPWIZARD" val="Montenegro"/>
</p:tagLst>
</file>

<file path=ppt/tags/tag176.xml><?xml version="1.0" encoding="utf-8"?>
<p:tagLst xmlns:a="http://schemas.openxmlformats.org/drawingml/2006/main" xmlns:r="http://schemas.openxmlformats.org/officeDocument/2006/relationships" xmlns:p="http://schemas.openxmlformats.org/presentationml/2006/main">
  <p:tag name="EE4P_MAPWIZARD_ID" val="SK"/>
  <p:tag name="EE4P_MAPWIZARD" val="Slovakia"/>
</p:tagLst>
</file>

<file path=ppt/tags/tag177.xml><?xml version="1.0" encoding="utf-8"?>
<p:tagLst xmlns:a="http://schemas.openxmlformats.org/drawingml/2006/main" xmlns:r="http://schemas.openxmlformats.org/officeDocument/2006/relationships" xmlns:p="http://schemas.openxmlformats.org/presentationml/2006/main">
  <p:tag name="EE4P_MAPWIZARD_ID" val="HU"/>
  <p:tag name="EE4P_MAPWIZARD" val="Hungary"/>
</p:tagLst>
</file>

<file path=ppt/tags/tag178.xml><?xml version="1.0" encoding="utf-8"?>
<p:tagLst xmlns:a="http://schemas.openxmlformats.org/drawingml/2006/main" xmlns:r="http://schemas.openxmlformats.org/officeDocument/2006/relationships" xmlns:p="http://schemas.openxmlformats.org/presentationml/2006/main">
  <p:tag name="EE4P_MAPWIZARD_ID" val="BA"/>
  <p:tag name="EE4P_MAPWIZARD" val="Bosnia and Herzegovina"/>
</p:tagLst>
</file>

<file path=ppt/tags/tag179.xml><?xml version="1.0" encoding="utf-8"?>
<p:tagLst xmlns:a="http://schemas.openxmlformats.org/drawingml/2006/main" xmlns:r="http://schemas.openxmlformats.org/officeDocument/2006/relationships" xmlns:p="http://schemas.openxmlformats.org/presentationml/2006/main">
  <p:tag name="EE4P_MAPWIZARD_ID" val="CZ"/>
  <p:tag name="EE4P_MAPWIZARD" val="Czech Republic"/>
</p:tagLst>
</file>

<file path=ppt/tags/tag1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80.xml><?xml version="1.0" encoding="utf-8"?>
<p:tagLst xmlns:a="http://schemas.openxmlformats.org/drawingml/2006/main" xmlns:r="http://schemas.openxmlformats.org/officeDocument/2006/relationships" xmlns:p="http://schemas.openxmlformats.org/presentationml/2006/main">
  <p:tag name="EE4P_MAPWIZARD_ID" val="HR"/>
  <p:tag name="EE4P_MAPWIZARD" val="Croatia"/>
</p:tagLst>
</file>

<file path=ppt/tags/tag181.xml><?xml version="1.0" encoding="utf-8"?>
<p:tagLst xmlns:a="http://schemas.openxmlformats.org/drawingml/2006/main" xmlns:r="http://schemas.openxmlformats.org/officeDocument/2006/relationships" xmlns:p="http://schemas.openxmlformats.org/presentationml/2006/main">
  <p:tag name="EE4P_MAPWIZARD_ID" val="SI"/>
  <p:tag name="EE4P_MAPWIZARD" val="Slovenia"/>
</p:tagLst>
</file>

<file path=ppt/tags/tag182.xml><?xml version="1.0" encoding="utf-8"?>
<p:tagLst xmlns:a="http://schemas.openxmlformats.org/drawingml/2006/main" xmlns:r="http://schemas.openxmlformats.org/officeDocument/2006/relationships" xmlns:p="http://schemas.openxmlformats.org/presentationml/2006/main">
  <p:tag name="EE4P_MAPWIZARD_ID" val="AT"/>
  <p:tag name="EE4P_MAPWIZARD" val="Austria"/>
</p:tagLst>
</file>

<file path=ppt/tags/tag183.xml><?xml version="1.0" encoding="utf-8"?>
<p:tagLst xmlns:a="http://schemas.openxmlformats.org/drawingml/2006/main" xmlns:r="http://schemas.openxmlformats.org/officeDocument/2006/relationships" xmlns:p="http://schemas.openxmlformats.org/presentationml/2006/main">
  <p:tag name="EE4P_MAPWIZARD_ID" val="DE"/>
  <p:tag name="EE4P_MAPWIZARD" val="Germany"/>
</p:tagLst>
</file>

<file path=ppt/tags/tag184.xml><?xml version="1.0" encoding="utf-8"?>
<p:tagLst xmlns:a="http://schemas.openxmlformats.org/drawingml/2006/main" xmlns:r="http://schemas.openxmlformats.org/officeDocument/2006/relationships" xmlns:p="http://schemas.openxmlformats.org/presentationml/2006/main">
  <p:tag name="EE4P_MAPWIZARD_ID" val="CH"/>
  <p:tag name="EE4P_MAPWIZARD" val="Switzerland"/>
</p:tagLst>
</file>

<file path=ppt/tags/tag185.xml><?xml version="1.0" encoding="utf-8"?>
<p:tagLst xmlns:a="http://schemas.openxmlformats.org/drawingml/2006/main" xmlns:r="http://schemas.openxmlformats.org/officeDocument/2006/relationships" xmlns:p="http://schemas.openxmlformats.org/presentationml/2006/main">
  <p:tag name="EE4P_MAPWIZARD_ID" val="CY"/>
  <p:tag name="EE4P_MAPWIZARD" val="Cyprus"/>
</p:tagLst>
</file>

<file path=ppt/tags/tag186.xml><?xml version="1.0" encoding="utf-8"?>
<p:tagLst xmlns:a="http://schemas.openxmlformats.org/drawingml/2006/main" xmlns:r="http://schemas.openxmlformats.org/officeDocument/2006/relationships" xmlns:p="http://schemas.openxmlformats.org/presentationml/2006/main">
  <p:tag name="EE4P_MAPWIZARD_ID" val="GR"/>
  <p:tag name="EE4P_MAPWIZARD" val="Greece"/>
</p:tagLst>
</file>

<file path=ppt/tags/tag187.xml><?xml version="1.0" encoding="utf-8"?>
<p:tagLst xmlns:a="http://schemas.openxmlformats.org/drawingml/2006/main" xmlns:r="http://schemas.openxmlformats.org/officeDocument/2006/relationships" xmlns:p="http://schemas.openxmlformats.org/presentationml/2006/main">
  <p:tag name="EE4P_MAPWIZARD_ID" val="GR"/>
  <p:tag name="EE4P_MAPWIZARD" val="Greece"/>
</p:tagLst>
</file>

<file path=ppt/tags/tag188.xml><?xml version="1.0" encoding="utf-8"?>
<p:tagLst xmlns:a="http://schemas.openxmlformats.org/drawingml/2006/main" xmlns:r="http://schemas.openxmlformats.org/officeDocument/2006/relationships" xmlns:p="http://schemas.openxmlformats.org/presentationml/2006/main">
  <p:tag name="EE4P_MAPWIZARD_ID" val="MK"/>
  <p:tag name="EE4P_MAPWIZARD" val="Macedonia, The Former Yugoslav Republic of"/>
</p:tagLst>
</file>

<file path=ppt/tags/tag189.xml><?xml version="1.0" encoding="utf-8"?>
<p:tagLst xmlns:a="http://schemas.openxmlformats.org/drawingml/2006/main" xmlns:r="http://schemas.openxmlformats.org/officeDocument/2006/relationships" xmlns:p="http://schemas.openxmlformats.org/presentationml/2006/main">
  <p:tag name="EE4P_MAPWIZARD_ID" val="AL"/>
  <p:tag name="EE4P_MAPWIZARD" val="Albania"/>
</p:tagLst>
</file>

<file path=ppt/tags/tag1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190.xml><?xml version="1.0" encoding="utf-8"?>
<p:tagLst xmlns:a="http://schemas.openxmlformats.org/drawingml/2006/main" xmlns:r="http://schemas.openxmlformats.org/officeDocument/2006/relationships" xmlns:p="http://schemas.openxmlformats.org/presentationml/2006/main">
  <p:tag name="EE4P_MAPWIZARD_ID" val="IT"/>
  <p:tag name="EE4P_MAPWIZARD" val="Italy"/>
</p:tagLst>
</file>

<file path=ppt/tags/tag191.xml><?xml version="1.0" encoding="utf-8"?>
<p:tagLst xmlns:a="http://schemas.openxmlformats.org/drawingml/2006/main" xmlns:r="http://schemas.openxmlformats.org/officeDocument/2006/relationships" xmlns:p="http://schemas.openxmlformats.org/presentationml/2006/main">
  <p:tag name="EE4P_MAPWIZARD_ID" val="IT"/>
  <p:tag name="EE4P_MAPWIZARD" val="Italy"/>
</p:tagLst>
</file>

<file path=ppt/tags/tag192.xml><?xml version="1.0" encoding="utf-8"?>
<p:tagLst xmlns:a="http://schemas.openxmlformats.org/drawingml/2006/main" xmlns:r="http://schemas.openxmlformats.org/officeDocument/2006/relationships" xmlns:p="http://schemas.openxmlformats.org/presentationml/2006/main">
  <p:tag name="EE4P_MAPWIZARD_ID" val="BE"/>
  <p:tag name="EE4P_MAPWIZARD" val="Belgium"/>
</p:tagLst>
</file>

<file path=ppt/tags/tag193.xml><?xml version="1.0" encoding="utf-8"?>
<p:tagLst xmlns:a="http://schemas.openxmlformats.org/drawingml/2006/main" xmlns:r="http://schemas.openxmlformats.org/officeDocument/2006/relationships" xmlns:p="http://schemas.openxmlformats.org/presentationml/2006/main">
  <p:tag name="EE4P_MAPWIZARD_ID" val="FR"/>
  <p:tag name="EE4P_MAPWIZARD" val="France"/>
</p:tagLst>
</file>

<file path=ppt/tags/tag194.xml><?xml version="1.0" encoding="utf-8"?>
<p:tagLst xmlns:a="http://schemas.openxmlformats.org/drawingml/2006/main" xmlns:r="http://schemas.openxmlformats.org/officeDocument/2006/relationships" xmlns:p="http://schemas.openxmlformats.org/presentationml/2006/main">
  <p:tag name="EE4P_MAPWIZARD_ID" val="FR"/>
  <p:tag name="EE4P_MAPWIZARD" val="France"/>
</p:tagLst>
</file>

<file path=ppt/tags/tag195.xml><?xml version="1.0" encoding="utf-8"?>
<p:tagLst xmlns:a="http://schemas.openxmlformats.org/drawingml/2006/main" xmlns:r="http://schemas.openxmlformats.org/officeDocument/2006/relationships" xmlns:p="http://schemas.openxmlformats.org/presentationml/2006/main">
  <p:tag name="EE4P_MAPWIZARD_ID" val="PT"/>
  <p:tag name="EE4P_MAPWIZARD" val="Portugal"/>
</p:tagLst>
</file>

<file path=ppt/tags/tag196.xml><?xml version="1.0" encoding="utf-8"?>
<p:tagLst xmlns:a="http://schemas.openxmlformats.org/drawingml/2006/main" xmlns:r="http://schemas.openxmlformats.org/officeDocument/2006/relationships" xmlns:p="http://schemas.openxmlformats.org/presentationml/2006/main">
  <p:tag name="EE4P_MAPWIZARD_ID" val="ES"/>
  <p:tag name="EE4P_MAPWIZARD" val="Spain"/>
</p:tagLst>
</file>

<file path=ppt/tags/tag197.xml><?xml version="1.0" encoding="utf-8"?>
<p:tagLst xmlns:a="http://schemas.openxmlformats.org/drawingml/2006/main" xmlns:r="http://schemas.openxmlformats.org/officeDocument/2006/relationships" xmlns:p="http://schemas.openxmlformats.org/presentationml/2006/main">
  <p:tag name="EE4P_MAPWIZARD_ID" val="ES"/>
  <p:tag name="EE4P_MAPWIZARD" val="Spain"/>
</p:tagLst>
</file>

<file path=ppt/tags/tag198.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199.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00.xml><?xml version="1.0" encoding="utf-8"?>
<p:tagLst xmlns:a="http://schemas.openxmlformats.org/drawingml/2006/main" xmlns:r="http://schemas.openxmlformats.org/officeDocument/2006/relationships" xmlns:p="http://schemas.openxmlformats.org/presentationml/2006/main">
  <p:tag name="EE4P_MAPWIZARD_ID" val="SJ"/>
  <p:tag name="EE4P_MAPWIZARD" val="Svalbard and Jan Mayen"/>
</p:tagLst>
</file>

<file path=ppt/tags/tag201.xml><?xml version="1.0" encoding="utf-8"?>
<p:tagLst xmlns:a="http://schemas.openxmlformats.org/drawingml/2006/main" xmlns:r="http://schemas.openxmlformats.org/officeDocument/2006/relationships" xmlns:p="http://schemas.openxmlformats.org/presentationml/2006/main">
  <p:tag name="EE4P_MAPWIZARD_ID" val="EE"/>
  <p:tag name="EE4P_MAPWIZARD" val="Estonia"/>
</p:tagLst>
</file>

<file path=ppt/tags/tag202.xml><?xml version="1.0" encoding="utf-8"?>
<p:tagLst xmlns:a="http://schemas.openxmlformats.org/drawingml/2006/main" xmlns:r="http://schemas.openxmlformats.org/officeDocument/2006/relationships" xmlns:p="http://schemas.openxmlformats.org/presentationml/2006/main">
  <p:tag name="EE4P_MAPWIZARD_ID" val="LT"/>
  <p:tag name="EE4P_MAPWIZARD" val="Lithuania"/>
</p:tagLst>
</file>

<file path=ppt/tags/tag203.xml><?xml version="1.0" encoding="utf-8"?>
<p:tagLst xmlns:a="http://schemas.openxmlformats.org/drawingml/2006/main" xmlns:r="http://schemas.openxmlformats.org/officeDocument/2006/relationships" xmlns:p="http://schemas.openxmlformats.org/presentationml/2006/main">
  <p:tag name="EE4P_MAPWIZARD_ID" val="LV"/>
  <p:tag name="EE4P_MAPWIZARD" val="Latvia"/>
</p:tagLst>
</file>

<file path=ppt/tags/tag204.xml><?xml version="1.0" encoding="utf-8"?>
<p:tagLst xmlns:a="http://schemas.openxmlformats.org/drawingml/2006/main" xmlns:r="http://schemas.openxmlformats.org/officeDocument/2006/relationships" xmlns:p="http://schemas.openxmlformats.org/presentationml/2006/main">
  <p:tag name="EE4P_MAPWIZARD_ID" val="FI"/>
  <p:tag name="EE4P_MAPWIZARD" val="Finland"/>
</p:tagLst>
</file>

<file path=ppt/tags/tag205.xml><?xml version="1.0" encoding="utf-8"?>
<p:tagLst xmlns:a="http://schemas.openxmlformats.org/drawingml/2006/main" xmlns:r="http://schemas.openxmlformats.org/officeDocument/2006/relationships" xmlns:p="http://schemas.openxmlformats.org/presentationml/2006/main">
  <p:tag name="EE4P_MAPWIZARD_ID" val="PL"/>
  <p:tag name="EE4P_MAPWIZARD" val="Poland"/>
</p:tagLst>
</file>

<file path=ppt/tags/tag206.xml><?xml version="1.0" encoding="utf-8"?>
<p:tagLst xmlns:a="http://schemas.openxmlformats.org/drawingml/2006/main" xmlns:r="http://schemas.openxmlformats.org/officeDocument/2006/relationships" xmlns:p="http://schemas.openxmlformats.org/presentationml/2006/main">
  <p:tag name="EE4P_MAPWIZARD_ID" val="SE"/>
  <p:tag name="EE4P_MAPWIZARD" val="Sweden"/>
</p:tagLst>
</file>

<file path=ppt/tags/tag207.xml><?xml version="1.0" encoding="utf-8"?>
<p:tagLst xmlns:a="http://schemas.openxmlformats.org/drawingml/2006/main" xmlns:r="http://schemas.openxmlformats.org/officeDocument/2006/relationships" xmlns:p="http://schemas.openxmlformats.org/presentationml/2006/main">
  <p:tag name="EE4P_MAPWIZARD_ID" val="SE"/>
  <p:tag name="EE4P_MAPWIZARD" val="Sweden"/>
</p:tagLst>
</file>

<file path=ppt/tags/tag208.xml><?xml version="1.0" encoding="utf-8"?>
<p:tagLst xmlns:a="http://schemas.openxmlformats.org/drawingml/2006/main" xmlns:r="http://schemas.openxmlformats.org/officeDocument/2006/relationships" xmlns:p="http://schemas.openxmlformats.org/presentationml/2006/main">
  <p:tag name="EE4P_MAPWIZARD_ID" val="DK"/>
  <p:tag name="EE4P_MAPWIZARD" val="Denmark"/>
</p:tagLst>
</file>

<file path=ppt/tags/tag209.xml><?xml version="1.0" encoding="utf-8"?>
<p:tagLst xmlns:a="http://schemas.openxmlformats.org/drawingml/2006/main" xmlns:r="http://schemas.openxmlformats.org/officeDocument/2006/relationships" xmlns:p="http://schemas.openxmlformats.org/presentationml/2006/main">
  <p:tag name="EE4P_MAPWIZARD_ID" val="DK"/>
  <p:tag name="EE4P_MAPWIZARD" val="Denmark"/>
</p:tagLst>
</file>

<file path=ppt/tags/tag2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10.xml><?xml version="1.0" encoding="utf-8"?>
<p:tagLst xmlns:a="http://schemas.openxmlformats.org/drawingml/2006/main" xmlns:r="http://schemas.openxmlformats.org/officeDocument/2006/relationships" xmlns:p="http://schemas.openxmlformats.org/presentationml/2006/main">
  <p:tag name="EE4P_MAPWIZARD_ID" val="NL"/>
  <p:tag name="EE4P_MAPWIZARD" val="Netherlands"/>
</p:tagLst>
</file>

<file path=ppt/tags/tag211.xml><?xml version="1.0" encoding="utf-8"?>
<p:tagLst xmlns:a="http://schemas.openxmlformats.org/drawingml/2006/main" xmlns:r="http://schemas.openxmlformats.org/officeDocument/2006/relationships" xmlns:p="http://schemas.openxmlformats.org/presentationml/2006/main">
  <p:tag name="EE4P_MAPWIZARD_ID" val="NO"/>
  <p:tag name="EE4P_MAPWIZARD" val="Norway"/>
</p:tagLst>
</file>

<file path=ppt/tags/tag212.xml><?xml version="1.0" encoding="utf-8"?>
<p:tagLst xmlns:a="http://schemas.openxmlformats.org/drawingml/2006/main" xmlns:r="http://schemas.openxmlformats.org/officeDocument/2006/relationships" xmlns:p="http://schemas.openxmlformats.org/presentationml/2006/main">
  <p:tag name="EE4P_MAPWIZARD_ID" val="IS"/>
  <p:tag name="EE4P_MAPWIZARD" val="Iceland"/>
</p:tagLst>
</file>

<file path=ppt/tags/tag213.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14.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15.xml><?xml version="1.0" encoding="utf-8"?>
<p:tagLst xmlns:a="http://schemas.openxmlformats.org/drawingml/2006/main" xmlns:r="http://schemas.openxmlformats.org/officeDocument/2006/relationships" xmlns:p="http://schemas.openxmlformats.org/presentationml/2006/main">
  <p:tag name="EE4P_MAPWIZARD_ID" val="GB"/>
  <p:tag name="EE4P_MAPWIZARD" val="United Kingdom"/>
</p:tagLst>
</file>

<file path=ppt/tags/tag216.xml><?xml version="1.0" encoding="utf-8"?>
<p:tagLst xmlns:a="http://schemas.openxmlformats.org/drawingml/2006/main" xmlns:r="http://schemas.openxmlformats.org/officeDocument/2006/relationships" xmlns:p="http://schemas.openxmlformats.org/presentationml/2006/main">
  <p:tag name="EE4P_MAPWIZARD_ID" val="IE"/>
  <p:tag name="EE4P_MAPWIZARD" val="Ireland"/>
</p:tagLst>
</file>

<file path=ppt/tags/tag217.xml><?xml version="1.0" encoding="utf-8"?>
<p:tagLst xmlns:a="http://schemas.openxmlformats.org/drawingml/2006/main" xmlns:r="http://schemas.openxmlformats.org/officeDocument/2006/relationships" xmlns:p="http://schemas.openxmlformats.org/presentationml/2006/main">
  <p:tag name="EE4P_MAPWIZARD_ID" val="MG"/>
  <p:tag name="EE4P_MAPWIZARD" val="Madagascar"/>
</p:tagLst>
</file>

<file path=ppt/tags/tag218.xml><?xml version="1.0" encoding="utf-8"?>
<p:tagLst xmlns:a="http://schemas.openxmlformats.org/drawingml/2006/main" xmlns:r="http://schemas.openxmlformats.org/officeDocument/2006/relationships" xmlns:p="http://schemas.openxmlformats.org/presentationml/2006/main">
  <p:tag name="EE4P_MAPWIZARD_ID" val="SO"/>
  <p:tag name="EE4P_MAPWIZARD" val="Somalia"/>
</p:tagLst>
</file>

<file path=ppt/tags/tag219.xml><?xml version="1.0" encoding="utf-8"?>
<p:tagLst xmlns:a="http://schemas.openxmlformats.org/drawingml/2006/main" xmlns:r="http://schemas.openxmlformats.org/officeDocument/2006/relationships" xmlns:p="http://schemas.openxmlformats.org/presentationml/2006/main">
  <p:tag name="EE4P_MAPWIZARD_ID" val="ET"/>
  <p:tag name="EE4P_MAPWIZARD" val="Ethiopia"/>
</p:tagLst>
</file>

<file path=ppt/tags/tag2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20.xml><?xml version="1.0" encoding="utf-8"?>
<p:tagLst xmlns:a="http://schemas.openxmlformats.org/drawingml/2006/main" xmlns:r="http://schemas.openxmlformats.org/officeDocument/2006/relationships" xmlns:p="http://schemas.openxmlformats.org/presentationml/2006/main">
  <p:tag name="EE4P_MAPWIZARD_ID" val="ER"/>
  <p:tag name="EE4P_MAPWIZARD" val="Eritrea"/>
</p:tagLst>
</file>

<file path=ppt/tags/tag221.xml><?xml version="1.0" encoding="utf-8"?>
<p:tagLst xmlns:a="http://schemas.openxmlformats.org/drawingml/2006/main" xmlns:r="http://schemas.openxmlformats.org/officeDocument/2006/relationships" xmlns:p="http://schemas.openxmlformats.org/presentationml/2006/main">
  <p:tag name="EE4P_MAPWIZARD_ID" val="KE"/>
  <p:tag name="EE4P_MAPWIZARD" val="Kenya"/>
</p:tagLst>
</file>

<file path=ppt/tags/tag222.xml><?xml version="1.0" encoding="utf-8"?>
<p:tagLst xmlns:a="http://schemas.openxmlformats.org/drawingml/2006/main" xmlns:r="http://schemas.openxmlformats.org/officeDocument/2006/relationships" xmlns:p="http://schemas.openxmlformats.org/presentationml/2006/main">
  <p:tag name="EE4P_MAPWIZARD_ID" val="MW"/>
  <p:tag name="EE4P_MAPWIZARD" val="Malawi"/>
</p:tagLst>
</file>

<file path=ppt/tags/tag223.xml><?xml version="1.0" encoding="utf-8"?>
<p:tagLst xmlns:a="http://schemas.openxmlformats.org/drawingml/2006/main" xmlns:r="http://schemas.openxmlformats.org/officeDocument/2006/relationships" xmlns:p="http://schemas.openxmlformats.org/presentationml/2006/main">
  <p:tag name="EE4P_MAPWIZARD_ID" val="SZ"/>
  <p:tag name="EE4P_MAPWIZARD" val="Swaziland"/>
</p:tagLst>
</file>

<file path=ppt/tags/tag224.xml><?xml version="1.0" encoding="utf-8"?>
<p:tagLst xmlns:a="http://schemas.openxmlformats.org/drawingml/2006/main" xmlns:r="http://schemas.openxmlformats.org/officeDocument/2006/relationships" xmlns:p="http://schemas.openxmlformats.org/presentationml/2006/main">
  <p:tag name="EE4P_MAPWIZARD_ID" val="MZ"/>
  <p:tag name="EE4P_MAPWIZARD" val="Mozambique"/>
</p:tagLst>
</file>

<file path=ppt/tags/tag225.xml><?xml version="1.0" encoding="utf-8"?>
<p:tagLst xmlns:a="http://schemas.openxmlformats.org/drawingml/2006/main" xmlns:r="http://schemas.openxmlformats.org/officeDocument/2006/relationships" xmlns:p="http://schemas.openxmlformats.org/presentationml/2006/main">
  <p:tag name="EE4P_MAPWIZARD_ID" val="UG"/>
  <p:tag name="EE4P_MAPWIZARD" val="Uganda"/>
</p:tagLst>
</file>

<file path=ppt/tags/tag226.xml><?xml version="1.0" encoding="utf-8"?>
<p:tagLst xmlns:a="http://schemas.openxmlformats.org/drawingml/2006/main" xmlns:r="http://schemas.openxmlformats.org/officeDocument/2006/relationships" xmlns:p="http://schemas.openxmlformats.org/presentationml/2006/main">
  <p:tag name="EE4P_MAPWIZARD_ID" val="BI"/>
  <p:tag name="EE4P_MAPWIZARD" val="Burundi"/>
</p:tagLst>
</file>

<file path=ppt/tags/tag227.xml><?xml version="1.0" encoding="utf-8"?>
<p:tagLst xmlns:a="http://schemas.openxmlformats.org/drawingml/2006/main" xmlns:r="http://schemas.openxmlformats.org/officeDocument/2006/relationships" xmlns:p="http://schemas.openxmlformats.org/presentationml/2006/main">
  <p:tag name="EE4P_MAPWIZARD_ID" val="TZ"/>
  <p:tag name="EE4P_MAPWIZARD" val="Tanzania, United Republic of"/>
</p:tagLst>
</file>

<file path=ppt/tags/tag228.xml><?xml version="1.0" encoding="utf-8"?>
<p:tagLst xmlns:a="http://schemas.openxmlformats.org/drawingml/2006/main" xmlns:r="http://schemas.openxmlformats.org/officeDocument/2006/relationships" xmlns:p="http://schemas.openxmlformats.org/presentationml/2006/main">
  <p:tag name="EE4P_MAPWIZARD_ID" val="RW"/>
  <p:tag name="EE4P_MAPWIZARD" val="Rwanda"/>
</p:tagLst>
</file>

<file path=ppt/tags/tag229.xml><?xml version="1.0" encoding="utf-8"?>
<p:tagLst xmlns:a="http://schemas.openxmlformats.org/drawingml/2006/main" xmlns:r="http://schemas.openxmlformats.org/officeDocument/2006/relationships" xmlns:p="http://schemas.openxmlformats.org/presentationml/2006/main">
  <p:tag name="EE4P_MAPWIZARD_ID" val="LS"/>
  <p:tag name="EE4P_MAPWIZARD" val="Lesotho"/>
</p:tagLst>
</file>

<file path=ppt/tags/tag2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30.xml><?xml version="1.0" encoding="utf-8"?>
<p:tagLst xmlns:a="http://schemas.openxmlformats.org/drawingml/2006/main" xmlns:r="http://schemas.openxmlformats.org/officeDocument/2006/relationships" xmlns:p="http://schemas.openxmlformats.org/presentationml/2006/main">
  <p:tag name="EE4P_MAPWIZARD_ID" val="ZW"/>
  <p:tag name="EE4P_MAPWIZARD" val="Zimbabwe"/>
</p:tagLst>
</file>

<file path=ppt/tags/tag231.xml><?xml version="1.0" encoding="utf-8"?>
<p:tagLst xmlns:a="http://schemas.openxmlformats.org/drawingml/2006/main" xmlns:r="http://schemas.openxmlformats.org/officeDocument/2006/relationships" xmlns:p="http://schemas.openxmlformats.org/presentationml/2006/main">
  <p:tag name="EE4P_MAPWIZARD_ID" val="ZM"/>
  <p:tag name="EE4P_MAPWIZARD" val="Zambia"/>
</p:tagLst>
</file>

<file path=ppt/tags/tag232.xml><?xml version="1.0" encoding="utf-8"?>
<p:tagLst xmlns:a="http://schemas.openxmlformats.org/drawingml/2006/main" xmlns:r="http://schemas.openxmlformats.org/officeDocument/2006/relationships" xmlns:p="http://schemas.openxmlformats.org/presentationml/2006/main">
  <p:tag name="EE4P_MAPWIZARD_ID" val="ZM"/>
  <p:tag name="EE4P_MAPWIZARD" val="Zambia"/>
</p:tagLst>
</file>

<file path=ppt/tags/tag233.xml><?xml version="1.0" encoding="utf-8"?>
<p:tagLst xmlns:a="http://schemas.openxmlformats.org/drawingml/2006/main" xmlns:r="http://schemas.openxmlformats.org/officeDocument/2006/relationships" xmlns:p="http://schemas.openxmlformats.org/presentationml/2006/main">
  <p:tag name="EE4P_MAPWIZARD_ID" val="BW"/>
  <p:tag name="EE4P_MAPWIZARD" val="Botswana"/>
</p:tagLst>
</file>

<file path=ppt/tags/tag234.xml><?xml version="1.0" encoding="utf-8"?>
<p:tagLst xmlns:a="http://schemas.openxmlformats.org/drawingml/2006/main" xmlns:r="http://schemas.openxmlformats.org/officeDocument/2006/relationships" xmlns:p="http://schemas.openxmlformats.org/presentationml/2006/main">
  <p:tag name="EE4P_MAPWIZARD_ID" val="ZA"/>
  <p:tag name="EE4P_MAPWIZARD" val="South Africa"/>
</p:tagLst>
</file>

<file path=ppt/tags/tag235.xml><?xml version="1.0" encoding="utf-8"?>
<p:tagLst xmlns:a="http://schemas.openxmlformats.org/drawingml/2006/main" xmlns:r="http://schemas.openxmlformats.org/officeDocument/2006/relationships" xmlns:p="http://schemas.openxmlformats.org/presentationml/2006/main">
  <p:tag name="EE4P_MAPWIZARD_ID" val="CF"/>
  <p:tag name="EE4P_MAPWIZARD" val="Central African Republic"/>
</p:tagLst>
</file>

<file path=ppt/tags/tag236.xml><?xml version="1.0" encoding="utf-8"?>
<p:tagLst xmlns:a="http://schemas.openxmlformats.org/drawingml/2006/main" xmlns:r="http://schemas.openxmlformats.org/officeDocument/2006/relationships" xmlns:p="http://schemas.openxmlformats.org/presentationml/2006/main">
  <p:tag name="EE4P_MAPWIZARD_ID" val="TD"/>
  <p:tag name="EE4P_MAPWIZARD" val="Chad"/>
</p:tagLst>
</file>

<file path=ppt/tags/tag237.xml><?xml version="1.0" encoding="utf-8"?>
<p:tagLst xmlns:a="http://schemas.openxmlformats.org/drawingml/2006/main" xmlns:r="http://schemas.openxmlformats.org/officeDocument/2006/relationships" xmlns:p="http://schemas.openxmlformats.org/presentationml/2006/main">
  <p:tag name="EE4P_MAPWIZARD_ID" val="CD"/>
  <p:tag name="EE4P_MAPWIZARD" val="Congo, the Democratic Republic of the"/>
</p:tagLst>
</file>

<file path=ppt/tags/tag238.xml><?xml version="1.0" encoding="utf-8"?>
<p:tagLst xmlns:a="http://schemas.openxmlformats.org/drawingml/2006/main" xmlns:r="http://schemas.openxmlformats.org/officeDocument/2006/relationships" xmlns:p="http://schemas.openxmlformats.org/presentationml/2006/main">
  <p:tag name="EE4P_MAPWIZARD_ID" val="NA"/>
  <p:tag name="EE4P_MAPWIZARD" val="Namibia"/>
</p:tagLst>
</file>

<file path=ppt/tags/tag239.xml><?xml version="1.0" encoding="utf-8"?>
<p:tagLst xmlns:a="http://schemas.openxmlformats.org/drawingml/2006/main" xmlns:r="http://schemas.openxmlformats.org/officeDocument/2006/relationships" xmlns:p="http://schemas.openxmlformats.org/presentationml/2006/main">
  <p:tag name="EE4P_MAPWIZARD_ID" val="AO"/>
  <p:tag name="EE4P_MAPWIZARD" val="Angola"/>
</p:tagLst>
</file>

<file path=ppt/tags/tag2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40.xml><?xml version="1.0" encoding="utf-8"?>
<p:tagLst xmlns:a="http://schemas.openxmlformats.org/drawingml/2006/main" xmlns:r="http://schemas.openxmlformats.org/officeDocument/2006/relationships" xmlns:p="http://schemas.openxmlformats.org/presentationml/2006/main">
  <p:tag name="EE4P_MAPWIZARD_ID" val="CG"/>
  <p:tag name="EE4P_MAPWIZARD" val="Congo"/>
</p:tagLst>
</file>

<file path=ppt/tags/tag241.xml><?xml version="1.0" encoding="utf-8"?>
<p:tagLst xmlns:a="http://schemas.openxmlformats.org/drawingml/2006/main" xmlns:r="http://schemas.openxmlformats.org/officeDocument/2006/relationships" xmlns:p="http://schemas.openxmlformats.org/presentationml/2006/main">
  <p:tag name="EE4P_MAPWIZARD_ID" val="GA"/>
  <p:tag name="EE4P_MAPWIZARD" val="Gabon"/>
</p:tagLst>
</file>

<file path=ppt/tags/tag242.xml><?xml version="1.0" encoding="utf-8"?>
<p:tagLst xmlns:a="http://schemas.openxmlformats.org/drawingml/2006/main" xmlns:r="http://schemas.openxmlformats.org/officeDocument/2006/relationships" xmlns:p="http://schemas.openxmlformats.org/presentationml/2006/main">
  <p:tag name="EE4P_MAPWIZARD_ID" val="CM"/>
  <p:tag name="EE4P_MAPWIZARD" val="Cameroon"/>
</p:tagLst>
</file>

<file path=ppt/tags/tag243.xml><?xml version="1.0" encoding="utf-8"?>
<p:tagLst xmlns:a="http://schemas.openxmlformats.org/drawingml/2006/main" xmlns:r="http://schemas.openxmlformats.org/officeDocument/2006/relationships" xmlns:p="http://schemas.openxmlformats.org/presentationml/2006/main">
  <p:tag name="EE4P_MAPWIZARD_ID" val="TN"/>
  <p:tag name="EE4P_MAPWIZARD" val="Tunisia"/>
</p:tagLst>
</file>

<file path=ppt/tags/tag244.xml><?xml version="1.0" encoding="utf-8"?>
<p:tagLst xmlns:a="http://schemas.openxmlformats.org/drawingml/2006/main" xmlns:r="http://schemas.openxmlformats.org/officeDocument/2006/relationships" xmlns:p="http://schemas.openxmlformats.org/presentationml/2006/main">
  <p:tag name="EE4P_MAPWIZARD_ID" val="NE"/>
  <p:tag name="EE4P_MAPWIZARD" val="Niger"/>
</p:tagLst>
</file>

<file path=ppt/tags/tag245.xml><?xml version="1.0" encoding="utf-8"?>
<p:tagLst xmlns:a="http://schemas.openxmlformats.org/drawingml/2006/main" xmlns:r="http://schemas.openxmlformats.org/officeDocument/2006/relationships" xmlns:p="http://schemas.openxmlformats.org/presentationml/2006/main">
  <p:tag name="EE4P_MAPWIZARD_ID" val="NG"/>
  <p:tag name="EE4P_MAPWIZARD" val="Nigeria"/>
</p:tagLst>
</file>

<file path=ppt/tags/tag246.xml><?xml version="1.0" encoding="utf-8"?>
<p:tagLst xmlns:a="http://schemas.openxmlformats.org/drawingml/2006/main" xmlns:r="http://schemas.openxmlformats.org/officeDocument/2006/relationships" xmlns:p="http://schemas.openxmlformats.org/presentationml/2006/main">
  <p:tag name="EE4P_MAPWIZARD_ID" val="BJ"/>
  <p:tag name="EE4P_MAPWIZARD" val="Benin"/>
</p:tagLst>
</file>

<file path=ppt/tags/tag247.xml><?xml version="1.0" encoding="utf-8"?>
<p:tagLst xmlns:a="http://schemas.openxmlformats.org/drawingml/2006/main" xmlns:r="http://schemas.openxmlformats.org/officeDocument/2006/relationships" xmlns:p="http://schemas.openxmlformats.org/presentationml/2006/main">
  <p:tag name="EE4P_MAPWIZARD_ID" val="TG"/>
  <p:tag name="EE4P_MAPWIZARD" val="Togo"/>
</p:tagLst>
</file>

<file path=ppt/tags/tag248.xml><?xml version="1.0" encoding="utf-8"?>
<p:tagLst xmlns:a="http://schemas.openxmlformats.org/drawingml/2006/main" xmlns:r="http://schemas.openxmlformats.org/officeDocument/2006/relationships" xmlns:p="http://schemas.openxmlformats.org/presentationml/2006/main">
  <p:tag name="EE4P_MAPWIZARD_ID" val="GH"/>
  <p:tag name="EE4P_MAPWIZARD" val="Ghana"/>
</p:tagLst>
</file>

<file path=ppt/tags/tag249.xml><?xml version="1.0" encoding="utf-8"?>
<p:tagLst xmlns:a="http://schemas.openxmlformats.org/drawingml/2006/main" xmlns:r="http://schemas.openxmlformats.org/officeDocument/2006/relationships" xmlns:p="http://schemas.openxmlformats.org/presentationml/2006/main">
  <p:tag name="EE4P_MAPWIZARD_ID" val="BF"/>
  <p:tag name="EE4P_MAPWIZARD" val="Burkina Faso"/>
</p:tagLst>
</file>

<file path=ppt/tags/tag2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50.xml><?xml version="1.0" encoding="utf-8"?>
<p:tagLst xmlns:a="http://schemas.openxmlformats.org/drawingml/2006/main" xmlns:r="http://schemas.openxmlformats.org/officeDocument/2006/relationships" xmlns:p="http://schemas.openxmlformats.org/presentationml/2006/main">
  <p:tag name="EE4P_MAPWIZARD_ID" val="DZ"/>
  <p:tag name="EE4P_MAPWIZARD" val="Algeria"/>
</p:tagLst>
</file>

<file path=ppt/tags/tag251.xml><?xml version="1.0" encoding="utf-8"?>
<p:tagLst xmlns:a="http://schemas.openxmlformats.org/drawingml/2006/main" xmlns:r="http://schemas.openxmlformats.org/officeDocument/2006/relationships" xmlns:p="http://schemas.openxmlformats.org/presentationml/2006/main">
  <p:tag name="EE4P_MAPWIZARD_ID" val="CI"/>
  <p:tag name="EE4P_MAPWIZARD" val="Côte d'Ivoire"/>
</p:tagLst>
</file>

<file path=ppt/tags/tag252.xml><?xml version="1.0" encoding="utf-8"?>
<p:tagLst xmlns:a="http://schemas.openxmlformats.org/drawingml/2006/main" xmlns:r="http://schemas.openxmlformats.org/officeDocument/2006/relationships" xmlns:p="http://schemas.openxmlformats.org/presentationml/2006/main">
  <p:tag name="EE4P_MAPWIZARD_ID" val="LR"/>
  <p:tag name="EE4P_MAPWIZARD" val="Liberia"/>
</p:tagLst>
</file>

<file path=ppt/tags/tag253.xml><?xml version="1.0" encoding="utf-8"?>
<p:tagLst xmlns:a="http://schemas.openxmlformats.org/drawingml/2006/main" xmlns:r="http://schemas.openxmlformats.org/officeDocument/2006/relationships" xmlns:p="http://schemas.openxmlformats.org/presentationml/2006/main">
  <p:tag name="EE4P_MAPWIZARD_ID" val="ML"/>
  <p:tag name="EE4P_MAPWIZARD" val="Mali"/>
</p:tagLst>
</file>

<file path=ppt/tags/tag254.xml><?xml version="1.0" encoding="utf-8"?>
<p:tagLst xmlns:a="http://schemas.openxmlformats.org/drawingml/2006/main" xmlns:r="http://schemas.openxmlformats.org/officeDocument/2006/relationships" xmlns:p="http://schemas.openxmlformats.org/presentationml/2006/main">
  <p:tag name="EE4P_MAPWIZARD_ID" val="MA"/>
  <p:tag name="EE4P_MAPWIZARD" val="Morocco"/>
</p:tagLst>
</file>

<file path=ppt/tags/tag255.xml><?xml version="1.0" encoding="utf-8"?>
<p:tagLst xmlns:a="http://schemas.openxmlformats.org/drawingml/2006/main" xmlns:r="http://schemas.openxmlformats.org/officeDocument/2006/relationships" xmlns:p="http://schemas.openxmlformats.org/presentationml/2006/main">
  <p:tag name="EE4P_MAPWIZARD_ID" val="SL"/>
  <p:tag name="EE4P_MAPWIZARD" val="Sierra Leone"/>
</p:tagLst>
</file>

<file path=ppt/tags/tag256.xml><?xml version="1.0" encoding="utf-8"?>
<p:tagLst xmlns:a="http://schemas.openxmlformats.org/drawingml/2006/main" xmlns:r="http://schemas.openxmlformats.org/officeDocument/2006/relationships" xmlns:p="http://schemas.openxmlformats.org/presentationml/2006/main">
  <p:tag name="EE4P_MAPWIZARD_ID" val="GN"/>
  <p:tag name="EE4P_MAPWIZARD" val="Guinea"/>
</p:tagLst>
</file>

<file path=ppt/tags/tag257.xml><?xml version="1.0" encoding="utf-8"?>
<p:tagLst xmlns:a="http://schemas.openxmlformats.org/drawingml/2006/main" xmlns:r="http://schemas.openxmlformats.org/officeDocument/2006/relationships" xmlns:p="http://schemas.openxmlformats.org/presentationml/2006/main">
  <p:tag name="EE4P_MAPWIZARD_ID" val="EH"/>
  <p:tag name="EE4P_MAPWIZARD" val="Western Sahara"/>
</p:tagLst>
</file>

<file path=ppt/tags/tag258.xml><?xml version="1.0" encoding="utf-8"?>
<p:tagLst xmlns:a="http://schemas.openxmlformats.org/drawingml/2006/main" xmlns:r="http://schemas.openxmlformats.org/officeDocument/2006/relationships" xmlns:p="http://schemas.openxmlformats.org/presentationml/2006/main">
  <p:tag name="EE4P_MAPWIZARD_ID" val="GW"/>
  <p:tag name="EE4P_MAPWIZARD" val="Guinea-Bissau"/>
</p:tagLst>
</file>

<file path=ppt/tags/tag259.xml><?xml version="1.0" encoding="utf-8"?>
<p:tagLst xmlns:a="http://schemas.openxmlformats.org/drawingml/2006/main" xmlns:r="http://schemas.openxmlformats.org/officeDocument/2006/relationships" xmlns:p="http://schemas.openxmlformats.org/presentationml/2006/main">
  <p:tag name="EE4P_MAPWIZARD_ID" val="SN"/>
  <p:tag name="EE4P_MAPWIZARD" val="Senegal"/>
</p:tagLst>
</file>

<file path=ppt/tags/tag2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60.xml><?xml version="1.0" encoding="utf-8"?>
<p:tagLst xmlns:a="http://schemas.openxmlformats.org/drawingml/2006/main" xmlns:r="http://schemas.openxmlformats.org/officeDocument/2006/relationships" xmlns:p="http://schemas.openxmlformats.org/presentationml/2006/main">
  <p:tag name="EE4P_MAPWIZARD_ID" val="MR"/>
  <p:tag name="EE4P_MAPWIZARD" val="Mauritania"/>
</p:tagLst>
</file>

<file path=ppt/tags/tag261.xml><?xml version="1.0" encoding="utf-8"?>
<p:tagLst xmlns:a="http://schemas.openxmlformats.org/drawingml/2006/main" xmlns:r="http://schemas.openxmlformats.org/officeDocument/2006/relationships" xmlns:p="http://schemas.openxmlformats.org/presentationml/2006/main">
  <p:tag name="EE4P_MAPWIZARD_ID" val="SS"/>
  <p:tag name="EE4P_MAPWIZARD" val="South Sudan"/>
</p:tagLst>
</file>

<file path=ppt/tags/tag262.xml><?xml version="1.0" encoding="utf-8"?>
<p:tagLst xmlns:a="http://schemas.openxmlformats.org/drawingml/2006/main" xmlns:r="http://schemas.openxmlformats.org/officeDocument/2006/relationships" xmlns:p="http://schemas.openxmlformats.org/presentationml/2006/main">
  <p:tag name="EE4P_MAPWIZARD_ID" val="SD"/>
  <p:tag name="EE4P_MAPWIZARD" val="Sudan"/>
</p:tagLst>
</file>

<file path=ppt/tags/tag263.xml><?xml version="1.0" encoding="utf-8"?>
<p:tagLst xmlns:a="http://schemas.openxmlformats.org/drawingml/2006/main" xmlns:r="http://schemas.openxmlformats.org/officeDocument/2006/relationships" xmlns:p="http://schemas.openxmlformats.org/presentationml/2006/main">
  <p:tag name="EE4P_MAPWIZARD_ID" val="GQ"/>
  <p:tag name="EE4P_MAPWIZARD" val="Equatorial Guinea"/>
</p:tagLst>
</file>

<file path=ppt/tags/tag264.xml><?xml version="1.0" encoding="utf-8"?>
<p:tagLst xmlns:a="http://schemas.openxmlformats.org/drawingml/2006/main" xmlns:r="http://schemas.openxmlformats.org/officeDocument/2006/relationships" xmlns:p="http://schemas.openxmlformats.org/presentationml/2006/main">
  <p:tag name="EE4P_MAPWIZARD_ID" val="DJ"/>
  <p:tag name="EE4P_MAPWIZARD" val="Djibouti"/>
</p:tagLst>
</file>

<file path=ppt/tags/tag265.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6.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7.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8.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69.xml><?xml version="1.0" encoding="utf-8"?>
<p:tagLst xmlns:a="http://schemas.openxmlformats.org/drawingml/2006/main" xmlns:r="http://schemas.openxmlformats.org/officeDocument/2006/relationships" xmlns:p="http://schemas.openxmlformats.org/presentationml/2006/main">
  <p:tag name="EE4P_MAPWIZARD_ID" val="US"/>
  <p:tag name="EE4P_MAPWIZARD" val="United States"/>
</p:tagLst>
</file>

<file path=ppt/tags/tag2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70.xml><?xml version="1.0" encoding="utf-8"?>
<p:tagLst xmlns:a="http://schemas.openxmlformats.org/drawingml/2006/main" xmlns:r="http://schemas.openxmlformats.org/officeDocument/2006/relationships" xmlns:p="http://schemas.openxmlformats.org/presentationml/2006/main">
  <p:tag name="EE4P_MAPWIZARD_ID" val="BS"/>
  <p:tag name="EE4P_MAPWIZARD" val="Bahamas"/>
</p:tagLst>
</file>

<file path=ppt/tags/tag271.xml><?xml version="1.0" encoding="utf-8"?>
<p:tagLst xmlns:a="http://schemas.openxmlformats.org/drawingml/2006/main" xmlns:r="http://schemas.openxmlformats.org/officeDocument/2006/relationships" xmlns:p="http://schemas.openxmlformats.org/presentationml/2006/main">
  <p:tag name="EE4P_MAPWIZARD_ID" val="BS"/>
  <p:tag name="EE4P_MAPWIZARD" val="Bahamas"/>
</p:tagLst>
</file>

<file path=ppt/tags/tag2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2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8.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39.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1.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2.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3.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4.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5.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6.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7.xml><?xml version="1.0" encoding="utf-8"?>
<p:tagLst xmlns:a="http://schemas.openxmlformats.org/drawingml/2006/main" xmlns:r="http://schemas.openxmlformats.org/officeDocument/2006/relationships" xmlns:p="http://schemas.openxmlformats.org/presentationml/2006/main">
  <p:tag name="EE4P_MAPWIZARD_ID" val="CA"/>
  <p:tag name="EE4P_MAPWIZARD" val="Canada"/>
</p:tagLst>
</file>

<file path=ppt/tags/tag48.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49.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51.xml><?xml version="1.0" encoding="utf-8"?>
<p:tagLst xmlns:a="http://schemas.openxmlformats.org/drawingml/2006/main" xmlns:r="http://schemas.openxmlformats.org/officeDocument/2006/relationships" xmlns:p="http://schemas.openxmlformats.org/presentationml/2006/main">
  <p:tag name="EE4P_MAPWIZARD_ID" val="GL"/>
  <p:tag name="EE4P_MAPWIZARD" val="Greenland"/>
</p:tagLst>
</file>

<file path=ppt/tags/tag52.xml><?xml version="1.0" encoding="utf-8"?>
<p:tagLst xmlns:a="http://schemas.openxmlformats.org/drawingml/2006/main" xmlns:r="http://schemas.openxmlformats.org/officeDocument/2006/relationships" xmlns:p="http://schemas.openxmlformats.org/presentationml/2006/main">
  <p:tag name="EE4P_MAPWIZARD_ID" val="BR"/>
  <p:tag name="EE4P_MAPWIZARD" val="Brazil"/>
</p:tagLst>
</file>

<file path=ppt/tags/tag53.xml><?xml version="1.0" encoding="utf-8"?>
<p:tagLst xmlns:a="http://schemas.openxmlformats.org/drawingml/2006/main" xmlns:r="http://schemas.openxmlformats.org/officeDocument/2006/relationships" xmlns:p="http://schemas.openxmlformats.org/presentationml/2006/main">
  <p:tag name="EE4P_MAPWIZARD_ID" val="PY"/>
  <p:tag name="EE4P_MAPWIZARD" val="Paraguay"/>
</p:tagLst>
</file>

<file path=ppt/tags/tag54.xml><?xml version="1.0" encoding="utf-8"?>
<p:tagLst xmlns:a="http://schemas.openxmlformats.org/drawingml/2006/main" xmlns:r="http://schemas.openxmlformats.org/officeDocument/2006/relationships" xmlns:p="http://schemas.openxmlformats.org/presentationml/2006/main">
  <p:tag name="EE4P_MAPWIZARD_ID" val="GF"/>
  <p:tag name="EE4P_MAPWIZARD" val="French Guiana"/>
</p:tagLst>
</file>

<file path=ppt/tags/tag55.xml><?xml version="1.0" encoding="utf-8"?>
<p:tagLst xmlns:a="http://schemas.openxmlformats.org/drawingml/2006/main" xmlns:r="http://schemas.openxmlformats.org/officeDocument/2006/relationships" xmlns:p="http://schemas.openxmlformats.org/presentationml/2006/main">
  <p:tag name="EE4P_MAPWIZARD_ID" val="SR"/>
  <p:tag name="EE4P_MAPWIZARD" val="Suriname"/>
</p:tagLst>
</file>

<file path=ppt/tags/tag56.xml><?xml version="1.0" encoding="utf-8"?>
<p:tagLst xmlns:a="http://schemas.openxmlformats.org/drawingml/2006/main" xmlns:r="http://schemas.openxmlformats.org/officeDocument/2006/relationships" xmlns:p="http://schemas.openxmlformats.org/presentationml/2006/main">
  <p:tag name="EE4P_MAPWIZARD_ID" val="GY"/>
  <p:tag name="EE4P_MAPWIZARD" val="Guyana"/>
</p:tagLst>
</file>

<file path=ppt/tags/tag57.xml><?xml version="1.0" encoding="utf-8"?>
<p:tagLst xmlns:a="http://schemas.openxmlformats.org/drawingml/2006/main" xmlns:r="http://schemas.openxmlformats.org/officeDocument/2006/relationships" xmlns:p="http://schemas.openxmlformats.org/presentationml/2006/main">
  <p:tag name="EE4P_MAPWIZARD_ID" val="UY"/>
  <p:tag name="EE4P_MAPWIZARD" val="Uruguay"/>
</p:tagLst>
</file>

<file path=ppt/tags/tag58.xml><?xml version="1.0" encoding="utf-8"?>
<p:tagLst xmlns:a="http://schemas.openxmlformats.org/drawingml/2006/main" xmlns:r="http://schemas.openxmlformats.org/officeDocument/2006/relationships" xmlns:p="http://schemas.openxmlformats.org/presentationml/2006/main">
  <p:tag name="EE4P_MAPWIZARD_ID" val="FK"/>
  <p:tag name="EE4P_MAPWIZARD" val="Falkland Islands (Malvinas)"/>
</p:tagLst>
</file>

<file path=ppt/tags/tag59.xml><?xml version="1.0" encoding="utf-8"?>
<p:tagLst xmlns:a="http://schemas.openxmlformats.org/drawingml/2006/main" xmlns:r="http://schemas.openxmlformats.org/officeDocument/2006/relationships" xmlns:p="http://schemas.openxmlformats.org/presentationml/2006/main">
  <p:tag name="EE4P_MAPWIZARD_ID" val="FK"/>
  <p:tag name="EE4P_MAPWIZARD" val="Falkland Islands (Malvina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PWIZARD_ID" val="BO"/>
  <p:tag name="EE4P_MAPWIZARD" val="Bolivia, Plurinational State of"/>
</p:tagLst>
</file>

<file path=ppt/tags/tag61.xml><?xml version="1.0" encoding="utf-8"?>
<p:tagLst xmlns:a="http://schemas.openxmlformats.org/drawingml/2006/main" xmlns:r="http://schemas.openxmlformats.org/officeDocument/2006/relationships" xmlns:p="http://schemas.openxmlformats.org/presentationml/2006/main">
  <p:tag name="EE4P_MAPWIZARD_ID" val="VE"/>
  <p:tag name="EE4P_MAPWIZARD" val="Venezuela, Bolivarian Republic of"/>
</p:tagLst>
</file>

<file path=ppt/tags/tag62.xml><?xml version="1.0" encoding="utf-8"?>
<p:tagLst xmlns:a="http://schemas.openxmlformats.org/drawingml/2006/main" xmlns:r="http://schemas.openxmlformats.org/officeDocument/2006/relationships" xmlns:p="http://schemas.openxmlformats.org/presentationml/2006/main">
  <p:tag name="EE4P_MAPWIZARD_ID" val="AR"/>
  <p:tag name="EE4P_MAPWIZARD" val="Argentina"/>
</p:tagLst>
</file>

<file path=ppt/tags/tag63.xml><?xml version="1.0" encoding="utf-8"?>
<p:tagLst xmlns:a="http://schemas.openxmlformats.org/drawingml/2006/main" xmlns:r="http://schemas.openxmlformats.org/officeDocument/2006/relationships" xmlns:p="http://schemas.openxmlformats.org/presentationml/2006/main">
  <p:tag name="EE4P_MAPWIZARD_ID" val="AR"/>
  <p:tag name="EE4P_MAPWIZARD" val="Argentina"/>
</p:tagLst>
</file>

<file path=ppt/tags/tag64.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65.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66.xml><?xml version="1.0" encoding="utf-8"?>
<p:tagLst xmlns:a="http://schemas.openxmlformats.org/drawingml/2006/main" xmlns:r="http://schemas.openxmlformats.org/officeDocument/2006/relationships" xmlns:p="http://schemas.openxmlformats.org/presentationml/2006/main">
  <p:tag name="EE4P_MAPWIZARD_ID" val="CL"/>
  <p:tag name="EE4P_MAPWIZARD" val="Chile"/>
</p:tagLst>
</file>

<file path=ppt/tags/tag67.xml><?xml version="1.0" encoding="utf-8"?>
<p:tagLst xmlns:a="http://schemas.openxmlformats.org/drawingml/2006/main" xmlns:r="http://schemas.openxmlformats.org/officeDocument/2006/relationships" xmlns:p="http://schemas.openxmlformats.org/presentationml/2006/main">
  <p:tag name="EE4P_MAPWIZARD_ID" val="CO"/>
  <p:tag name="EE4P_MAPWIZARD" val="Colombia"/>
</p:tagLst>
</file>

<file path=ppt/tags/tag68.xml><?xml version="1.0" encoding="utf-8"?>
<p:tagLst xmlns:a="http://schemas.openxmlformats.org/drawingml/2006/main" xmlns:r="http://schemas.openxmlformats.org/officeDocument/2006/relationships" xmlns:p="http://schemas.openxmlformats.org/presentationml/2006/main">
  <p:tag name="EE4P_MAPWIZARD_ID" val="EC"/>
  <p:tag name="EE4P_MAPWIZARD" val="Ecuador"/>
</p:tagLst>
</file>

<file path=ppt/tags/tag69.xml><?xml version="1.0" encoding="utf-8"?>
<p:tagLst xmlns:a="http://schemas.openxmlformats.org/drawingml/2006/main" xmlns:r="http://schemas.openxmlformats.org/officeDocument/2006/relationships" xmlns:p="http://schemas.openxmlformats.org/presentationml/2006/main">
  <p:tag name="EE4P_MAPWIZARD_ID" val="PE"/>
  <p:tag name="EE4P_MAPWIZARD" val="Peru"/>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PWIZARD_ID" val="JM"/>
  <p:tag name="EE4P_MAPWIZARD" val="Jamaica"/>
</p:tagLst>
</file>

<file path=ppt/tags/tag71.xml><?xml version="1.0" encoding="utf-8"?>
<p:tagLst xmlns:a="http://schemas.openxmlformats.org/drawingml/2006/main" xmlns:r="http://schemas.openxmlformats.org/officeDocument/2006/relationships" xmlns:p="http://schemas.openxmlformats.org/presentationml/2006/main">
  <p:tag name="EE4P_MAPWIZARD_ID" val="PA"/>
  <p:tag name="EE4P_MAPWIZARD" val="Panama"/>
</p:tagLst>
</file>

<file path=ppt/tags/tag72.xml><?xml version="1.0" encoding="utf-8"?>
<p:tagLst xmlns:a="http://schemas.openxmlformats.org/drawingml/2006/main" xmlns:r="http://schemas.openxmlformats.org/officeDocument/2006/relationships" xmlns:p="http://schemas.openxmlformats.org/presentationml/2006/main">
  <p:tag name="EE4P_MAPWIZARD_ID" val="CU"/>
  <p:tag name="EE4P_MAPWIZARD" val="Cuba"/>
</p:tagLst>
</file>

<file path=ppt/tags/tag73.xml><?xml version="1.0" encoding="utf-8"?>
<p:tagLst xmlns:a="http://schemas.openxmlformats.org/drawingml/2006/main" xmlns:r="http://schemas.openxmlformats.org/officeDocument/2006/relationships" xmlns:p="http://schemas.openxmlformats.org/presentationml/2006/main">
  <p:tag name="EE4P_MAPWIZARD_ID" val="CR"/>
  <p:tag name="EE4P_MAPWIZARD" val="Costa Rica"/>
</p:tagLst>
</file>

<file path=ppt/tags/tag74.xml><?xml version="1.0" encoding="utf-8"?>
<p:tagLst xmlns:a="http://schemas.openxmlformats.org/drawingml/2006/main" xmlns:r="http://schemas.openxmlformats.org/officeDocument/2006/relationships" xmlns:p="http://schemas.openxmlformats.org/presentationml/2006/main">
  <p:tag name="EE4P_MAPWIZARD_ID" val="NI"/>
  <p:tag name="EE4P_MAPWIZARD" val="Nicaragua"/>
</p:tagLst>
</file>

<file path=ppt/tags/tag75.xml><?xml version="1.0" encoding="utf-8"?>
<p:tagLst xmlns:a="http://schemas.openxmlformats.org/drawingml/2006/main" xmlns:r="http://schemas.openxmlformats.org/officeDocument/2006/relationships" xmlns:p="http://schemas.openxmlformats.org/presentationml/2006/main">
  <p:tag name="EE4P_MAPWIZARD_ID" val="HN"/>
  <p:tag name="EE4P_MAPWIZARD" val="Honduras"/>
</p:tagLst>
</file>

<file path=ppt/tags/tag76.xml><?xml version="1.0" encoding="utf-8"?>
<p:tagLst xmlns:a="http://schemas.openxmlformats.org/drawingml/2006/main" xmlns:r="http://schemas.openxmlformats.org/officeDocument/2006/relationships" xmlns:p="http://schemas.openxmlformats.org/presentationml/2006/main">
  <p:tag name="EE4P_MAPWIZARD_ID" val="SV"/>
  <p:tag name="EE4P_MAPWIZARD" val="El Salvador"/>
</p:tagLst>
</file>

<file path=ppt/tags/tag77.xml><?xml version="1.0" encoding="utf-8"?>
<p:tagLst xmlns:a="http://schemas.openxmlformats.org/drawingml/2006/main" xmlns:r="http://schemas.openxmlformats.org/officeDocument/2006/relationships" xmlns:p="http://schemas.openxmlformats.org/presentationml/2006/main">
  <p:tag name="EE4P_MAPWIZARD_ID" val="BZ"/>
  <p:tag name="EE4P_MAPWIZARD" val="Belize"/>
</p:tagLst>
</file>

<file path=ppt/tags/tag78.xml><?xml version="1.0" encoding="utf-8"?>
<p:tagLst xmlns:a="http://schemas.openxmlformats.org/drawingml/2006/main" xmlns:r="http://schemas.openxmlformats.org/officeDocument/2006/relationships" xmlns:p="http://schemas.openxmlformats.org/presentationml/2006/main">
  <p:tag name="EE4P_MAPWIZARD_ID" val="GT"/>
  <p:tag name="EE4P_MAPWIZARD" val="Guatemala"/>
</p:tagLst>
</file>

<file path=ppt/tags/tag79.xml><?xml version="1.0" encoding="utf-8"?>
<p:tagLst xmlns:a="http://schemas.openxmlformats.org/drawingml/2006/main" xmlns:r="http://schemas.openxmlformats.org/officeDocument/2006/relationships" xmlns:p="http://schemas.openxmlformats.org/presentationml/2006/main">
  <p:tag name="EE4P_MAPWIZARD_ID" val="MX"/>
  <p:tag name="EE4P_MAPWIZARD" val="Mexico"/>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MAPWIZARD_ID" val="PR"/>
  <p:tag name="EE4P_MAPWIZARD" val="Puerto Rico"/>
</p:tagLst>
</file>

<file path=ppt/tags/tag81.xml><?xml version="1.0" encoding="utf-8"?>
<p:tagLst xmlns:a="http://schemas.openxmlformats.org/drawingml/2006/main" xmlns:r="http://schemas.openxmlformats.org/officeDocument/2006/relationships" xmlns:p="http://schemas.openxmlformats.org/presentationml/2006/main">
  <p:tag name="EE4P_MAPWIZARD_ID" val="DO"/>
  <p:tag name="EE4P_MAPWIZARD" val="Dominican Republic"/>
</p:tagLst>
</file>

<file path=ppt/tags/tag82.xml><?xml version="1.0" encoding="utf-8"?>
<p:tagLst xmlns:a="http://schemas.openxmlformats.org/drawingml/2006/main" xmlns:r="http://schemas.openxmlformats.org/officeDocument/2006/relationships" xmlns:p="http://schemas.openxmlformats.org/presentationml/2006/main">
  <p:tag name="EE4P_MAPWIZARD_ID" val="HT"/>
  <p:tag name="EE4P_MAPWIZARD" val="Haiti"/>
</p:tagLst>
</file>

<file path=ppt/tags/tag83.xml><?xml version="1.0" encoding="utf-8"?>
<p:tagLst xmlns:a="http://schemas.openxmlformats.org/drawingml/2006/main" xmlns:r="http://schemas.openxmlformats.org/officeDocument/2006/relationships" xmlns:p="http://schemas.openxmlformats.org/presentationml/2006/main">
  <p:tag name="EE4P_MAPWIZARD_ID" val="LK"/>
  <p:tag name="EE4P_MAPWIZARD" val="Sri Lanka"/>
</p:tagLst>
</file>

<file path=ppt/tags/tag84.xml><?xml version="1.0" encoding="utf-8"?>
<p:tagLst xmlns:a="http://schemas.openxmlformats.org/drawingml/2006/main" xmlns:r="http://schemas.openxmlformats.org/officeDocument/2006/relationships" xmlns:p="http://schemas.openxmlformats.org/presentationml/2006/main">
  <p:tag name="EE4P_MAPWIZARD_ID" val="BD"/>
  <p:tag name="EE4P_MAPWIZARD" val="Bangladesh"/>
</p:tagLst>
</file>

<file path=ppt/tags/tag85.xml><?xml version="1.0" encoding="utf-8"?>
<p:tagLst xmlns:a="http://schemas.openxmlformats.org/drawingml/2006/main" xmlns:r="http://schemas.openxmlformats.org/officeDocument/2006/relationships" xmlns:p="http://schemas.openxmlformats.org/presentationml/2006/main">
  <p:tag name="EE4P_MAPWIZARD_ID" val="BT"/>
  <p:tag name="EE4P_MAPWIZARD" val="Bhutan"/>
</p:tagLst>
</file>

<file path=ppt/tags/tag86.xml><?xml version="1.0" encoding="utf-8"?>
<p:tagLst xmlns:a="http://schemas.openxmlformats.org/drawingml/2006/main" xmlns:r="http://schemas.openxmlformats.org/officeDocument/2006/relationships" xmlns:p="http://schemas.openxmlformats.org/presentationml/2006/main">
  <p:tag name="EE4P_MAPWIZARD_ID" val="NP"/>
  <p:tag name="EE4P_MAPWIZARD" val="Nepal"/>
</p:tagLst>
</file>

<file path=ppt/tags/tag87.xml><?xml version="1.0" encoding="utf-8"?>
<p:tagLst xmlns:a="http://schemas.openxmlformats.org/drawingml/2006/main" xmlns:r="http://schemas.openxmlformats.org/officeDocument/2006/relationships" xmlns:p="http://schemas.openxmlformats.org/presentationml/2006/main">
  <p:tag name="EE4P_MAPWIZARD_ID" val="IN"/>
  <p:tag name="EE4P_MAPWIZARD" val="India"/>
</p:tagLst>
</file>

<file path=ppt/tags/tag88.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89.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rImA0jiiUGpFD6NcOmdeQ"/>
</p:tagLst>
</file>

<file path=ppt/tags/tag90.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91.xml><?xml version="1.0" encoding="utf-8"?>
<p:tagLst xmlns:a="http://schemas.openxmlformats.org/drawingml/2006/main" xmlns:r="http://schemas.openxmlformats.org/officeDocument/2006/relationships" xmlns:p="http://schemas.openxmlformats.org/presentationml/2006/main">
  <p:tag name="EE4P_MAPWIZARD_ID" val="JP"/>
  <p:tag name="EE4P_MAPWIZARD" val="Japan"/>
</p:tagLst>
</file>

<file path=ppt/tags/tag92.xml><?xml version="1.0" encoding="utf-8"?>
<p:tagLst xmlns:a="http://schemas.openxmlformats.org/drawingml/2006/main" xmlns:r="http://schemas.openxmlformats.org/officeDocument/2006/relationships" xmlns:p="http://schemas.openxmlformats.org/presentationml/2006/main">
  <p:tag name="EE4P_MAPWIZARD_ID" val="TW"/>
  <p:tag name="EE4P_MAPWIZARD" val="Taiwan, Province of China"/>
</p:tagLst>
</file>

<file path=ppt/tags/tag93.xml><?xml version="1.0" encoding="utf-8"?>
<p:tagLst xmlns:a="http://schemas.openxmlformats.org/drawingml/2006/main" xmlns:r="http://schemas.openxmlformats.org/officeDocument/2006/relationships" xmlns:p="http://schemas.openxmlformats.org/presentationml/2006/main">
  <p:tag name="EE4P_MAPWIZARD_ID" val="MN"/>
  <p:tag name="EE4P_MAPWIZARD" val="Mongolia"/>
</p:tagLst>
</file>

<file path=ppt/tags/tag94.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95.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96.xml><?xml version="1.0" encoding="utf-8"?>
<p:tagLst xmlns:a="http://schemas.openxmlformats.org/drawingml/2006/main" xmlns:r="http://schemas.openxmlformats.org/officeDocument/2006/relationships" xmlns:p="http://schemas.openxmlformats.org/presentationml/2006/main">
  <p:tag name="EE4P_MAPWIZARD_ID" val="CN"/>
  <p:tag name="EE4P_MAPWIZARD" val="China"/>
</p:tagLst>
</file>

<file path=ppt/tags/tag97.xml><?xml version="1.0" encoding="utf-8"?>
<p:tagLst xmlns:a="http://schemas.openxmlformats.org/drawingml/2006/main" xmlns:r="http://schemas.openxmlformats.org/officeDocument/2006/relationships" xmlns:p="http://schemas.openxmlformats.org/presentationml/2006/main">
  <p:tag name="EE4P_MAPWIZARD_ID" val="FJ"/>
  <p:tag name="EE4P_MAPWIZARD" val="Fiji"/>
</p:tagLst>
</file>

<file path=ppt/tags/tag98.xml><?xml version="1.0" encoding="utf-8"?>
<p:tagLst xmlns:a="http://schemas.openxmlformats.org/drawingml/2006/main" xmlns:r="http://schemas.openxmlformats.org/officeDocument/2006/relationships" xmlns:p="http://schemas.openxmlformats.org/presentationml/2006/main">
  <p:tag name="EE4P_MAPWIZARD_ID" val="NZ"/>
  <p:tag name="EE4P_MAPWIZARD" val="New Zealand"/>
</p:tagLst>
</file>

<file path=ppt/tags/tag99.xml><?xml version="1.0" encoding="utf-8"?>
<p:tagLst xmlns:a="http://schemas.openxmlformats.org/drawingml/2006/main" xmlns:r="http://schemas.openxmlformats.org/officeDocument/2006/relationships" xmlns:p="http://schemas.openxmlformats.org/presentationml/2006/main">
  <p:tag name="EE4P_MAPWIZARD_ID" val="NZ"/>
  <p:tag name="EE4P_MAPWIZARD" val="New Zealand"/>
</p:tagLst>
</file>

<file path=ppt/theme/theme1.xml><?xml version="1.0" encoding="utf-8"?>
<a:theme xmlns:a="http://schemas.openxmlformats.org/drawingml/2006/main" name="blank">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36000" tIns="36000" rIns="36000" bIns="36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none" lIns="0" tIns="0" rIns="0" bIns="0" rtlCol="0">
        <a:no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1_blank">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36000" tIns="36000" rIns="36000" bIns="36000" numCol="1" spcCol="72000" rtlCol="0" anchor="ctr">
        <a:noAutofit/>
      </a:bodyPr>
      <a:lstStyle>
        <a:defPPr algn="ctr">
          <a:lnSpc>
            <a:spcPct val="110000"/>
          </a:lnSpc>
          <a:spcBef>
            <a:spcPct val="0"/>
          </a:spcBef>
          <a:buFont typeface="Wingdings" charset="0"/>
          <a:buNone/>
          <a:defRPr sz="1800" b="1" dirty="0"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none" lIns="0" tIns="0" rIns="0" bIns="0" rtlCol="0">
        <a:noAutofit/>
      </a:bodyPr>
      <a:lstStyle>
        <a:defPPr>
          <a:lnSpc>
            <a:spcPct val="110000"/>
          </a:lnSpc>
          <a:spcBef>
            <a:spcPts val="0"/>
          </a:spcBef>
          <a:defRPr sz="1200" dirty="0" err="1" smtClean="0">
            <a:solidFill>
              <a:schemeClr val="tx1"/>
            </a:solidFill>
          </a:defRPr>
        </a:defPPr>
      </a:lstStyle>
    </a:tx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527</Words>
  <Application>Microsoft Office PowerPoint</Application>
  <PresentationFormat>On-screen Show (4:3)</PresentationFormat>
  <Paragraphs>171</Paragraphs>
  <Slides>6</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4" baseType="lpstr">
      <vt:lpstr>ＭＳ Ｐゴシック</vt:lpstr>
      <vt:lpstr>Arial</vt:lpstr>
      <vt:lpstr>Siemens Slab</vt:lpstr>
      <vt:lpstr>Wingdings</vt:lpstr>
      <vt:lpstr>ヒラギノ角ゴ Pro W3</vt:lpstr>
      <vt:lpstr>blank</vt:lpstr>
      <vt:lpstr>1_blank</vt:lpstr>
      <vt:lpstr>think-cell Folie</vt:lpstr>
      <vt:lpstr>The road ahead in wind power: Innovation today  for tomorrow’s challenges</vt:lpstr>
      <vt:lpstr>Wind power has proven ist ability to bring down costs. But the real disruptive part is still to come!</vt:lpstr>
      <vt:lpstr>Big is beautiful: Size will continue to matter for bringing down the costs</vt:lpstr>
      <vt:lpstr>Think big, think bigger: Wind power has to acknowledge a larger role – combined with enlarged opportunities!</vt:lpstr>
      <vt:lpstr>Example: Potential from digitalisation Remote diagnostics: using data to increase efficiency and reduce downtime </vt:lpstr>
      <vt:lpstr>Wind power has been a joint success of public sector and industry efforts – let’s continue down that path!</vt:lpstr>
    </vt:vector>
  </TitlesOfParts>
  <Company>Siemens AG</Company>
  <LinksUpToDate>false</LinksUpToDate>
  <SharedDoc>false</SharedDoc>
  <HyperlinkBase>www.siemens.com</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Version 1 Arial Bold 40 pt.</dc:title>
  <dc:creator>Neemann, Christoph Wiard (E W ST)</dc:creator>
  <cp:lastModifiedBy>Amr Seleem</cp:lastModifiedBy>
  <cp:revision>44</cp:revision>
  <cp:lastPrinted>2012-10-29T09:59:01Z</cp:lastPrinted>
  <dcterms:created xsi:type="dcterms:W3CDTF">2016-05-04T13:10:29Z</dcterms:created>
  <dcterms:modified xsi:type="dcterms:W3CDTF">2016-05-19T09:05:17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February 2013</vt:lpwstr>
  </property>
  <property fmtid="{D5CDD505-2E9C-101B-9397-08002B2CF9AE}" pid="4" name="Office version">
    <vt:lpwstr>2007/2010</vt:lpwstr>
  </property>
  <property fmtid="{D5CDD505-2E9C-101B-9397-08002B2CF9AE}" pid="5" name="Release version">
    <vt:lpwstr>1,1</vt:lpwstr>
  </property>
</Properties>
</file>